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2BB_C926FD47.xml" ContentType="application/vnd.ms-powerpoint.comment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01" r:id="rId4"/>
  </p:sldMasterIdLst>
  <p:notesMasterIdLst>
    <p:notesMasterId r:id="rId29"/>
  </p:notesMasterIdLst>
  <p:handoutMasterIdLst>
    <p:handoutMasterId r:id="rId30"/>
  </p:handoutMasterIdLst>
  <p:sldIdLst>
    <p:sldId id="2405" r:id="rId5"/>
    <p:sldId id="2392" r:id="rId6"/>
    <p:sldId id="2363" r:id="rId7"/>
    <p:sldId id="2401" r:id="rId8"/>
    <p:sldId id="2368" r:id="rId9"/>
    <p:sldId id="686" r:id="rId10"/>
    <p:sldId id="699" r:id="rId11"/>
    <p:sldId id="2406" r:id="rId12"/>
    <p:sldId id="510" r:id="rId13"/>
    <p:sldId id="659" r:id="rId14"/>
    <p:sldId id="2394" r:id="rId15"/>
    <p:sldId id="614" r:id="rId16"/>
    <p:sldId id="2400" r:id="rId17"/>
    <p:sldId id="2410" r:id="rId18"/>
    <p:sldId id="1141" r:id="rId19"/>
    <p:sldId id="573" r:id="rId20"/>
    <p:sldId id="525" r:id="rId21"/>
    <p:sldId id="535" r:id="rId22"/>
    <p:sldId id="2398" r:id="rId23"/>
    <p:sldId id="610" r:id="rId24"/>
    <p:sldId id="2408" r:id="rId25"/>
    <p:sldId id="2051" r:id="rId26"/>
    <p:sldId id="521" r:id="rId27"/>
    <p:sldId id="2053" r:id="rId28"/>
  </p:sldIdLst>
  <p:sldSz cx="9144000" cy="5143500" type="screen16x9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53802981-3BC4-4523-B2B1-F99C454A794B}">
          <p14:sldIdLst>
            <p14:sldId id="2405"/>
          </p14:sldIdLst>
        </p14:section>
        <p14:section name="Condor Is Vacation" id="{61D720DE-1F82-4267-A815-14F411D6AA98}">
          <p14:sldIdLst>
            <p14:sldId id="2392"/>
            <p14:sldId id="2363"/>
            <p14:sldId id="2401"/>
            <p14:sldId id="2368"/>
          </p14:sldIdLst>
        </p14:section>
        <p14:section name="Our Fleet" id="{4074D900-18CD-4F30-87BD-1737359968E9}">
          <p14:sldIdLst>
            <p14:sldId id="686"/>
            <p14:sldId id="699"/>
            <p14:sldId id="2406"/>
            <p14:sldId id="510"/>
            <p14:sldId id="659"/>
            <p14:sldId id="2394"/>
            <p14:sldId id="614"/>
            <p14:sldId id="2400"/>
            <p14:sldId id="2410"/>
            <p14:sldId id="1141"/>
            <p14:sldId id="573"/>
          </p14:sldIdLst>
        </p14:section>
        <p14:section name="Travel Classes" id="{DD7CDAFD-37C7-4088-9587-617D4D7D9BA2}">
          <p14:sldIdLst/>
        </p14:section>
        <p14:section name="Our Flight Destinations" id="{0F99F52D-37B7-4518-9467-D9239CE19819}">
          <p14:sldIdLst>
            <p14:sldId id="525"/>
            <p14:sldId id="535"/>
            <p14:sldId id="2398"/>
            <p14:sldId id="610"/>
            <p14:sldId id="2408"/>
            <p14:sldId id="2051"/>
            <p14:sldId id="521"/>
            <p14:sldId id="205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249" userDrawn="1">
          <p15:clr>
            <a:srgbClr val="A4A3A4"/>
          </p15:clr>
        </p15:guide>
        <p15:guide id="4" pos="4059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0E11770-EABC-C3E1-5ECB-02B63FC47C41}" name="Brandt, Rebecca" initials="BR" userId="S::rebecca.brandt@condor.com::fdeba6f0-3693-442b-86b2-c578243b01e5" providerId="AD"/>
  <p188:author id="{1D33277D-A50D-3B29-C2A8-519A03E9A8B9}" name="Sebastian Flügge" initials="SF" userId="Sebastian Flügge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E2EF"/>
    <a:srgbClr val="BACCDC"/>
    <a:srgbClr val="FDFDFD"/>
    <a:srgbClr val="FEFDFD"/>
    <a:srgbClr val="FEFEFD"/>
    <a:srgbClr val="FEFEFE"/>
    <a:srgbClr val="FFFEFF"/>
    <a:srgbClr val="FEFEFF"/>
    <a:srgbClr val="FFFEFE"/>
    <a:srgbClr val="FF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02C7B62-0830-4755-8AC3-7A7D8484AA26}" v="3" dt="2024-07-19T18:53:14.7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47" autoAdjust="0"/>
    <p:restoredTop sz="94660"/>
  </p:normalViewPr>
  <p:slideViewPr>
    <p:cSldViewPr snapToGrid="0">
      <p:cViewPr varScale="1">
        <p:scale>
          <a:sx n="78" d="100"/>
          <a:sy n="78" d="100"/>
        </p:scale>
        <p:origin x="96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pos="249"/>
        <p:guide pos="405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omments/modernComment_2BB_C926FD4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D35E55E-667D-4A15-9A35-EB1014A6642B}" authorId="{70E11770-EABC-C3E1-5ECB-02B63FC47C41}" created="2024-03-26T16:13:05.875">
    <pc:sldMkLst xmlns:pc="http://schemas.microsoft.com/office/powerpoint/2013/main/command">
      <pc:docMk/>
      <pc:sldMk cId="3374775623" sldId="699"/>
    </pc:sldMkLst>
    <p188:txBody>
      <a:bodyPr/>
      <a:lstStyle/>
      <a:p>
        <a:r>
          <a:rPr lang="de-DE"/>
          <a:t>Die Erklärung der Farben passt nicht. Das muss korrigiert werden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CC0C03-0A70-4C90-B9EE-09D0468270A5}" type="datetimeFigureOut">
              <a:rPr lang="en-US" smtClean="0">
                <a:latin typeface="Arial" panose="020B0604020202020204" pitchFamily="34" charset="0"/>
              </a:rPr>
              <a:pPr/>
              <a:t>8/19/2024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92AC24-5714-4D30-BA1E-5F88F4C45BF7}" type="slidenum">
              <a:rPr lang="en-US" smtClean="0">
                <a:latin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953717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246221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246221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algn="r">
              <a:defRPr sz="1000"/>
            </a:lvl1pPr>
          </a:lstStyle>
          <a:p>
            <a:fld id="{C4FE39B9-F249-4860-8781-AB0C11D36CCB}" type="datetimeFigureOut">
              <a:rPr lang="en-GB" smtClean="0"/>
              <a:pPr/>
              <a:t>19/08/2024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4650" y="455613"/>
            <a:ext cx="6108700" cy="3436866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58775" y="4101871"/>
            <a:ext cx="6121400" cy="458492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96192"/>
            <a:ext cx="2971800" cy="246221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896192"/>
            <a:ext cx="2971800" cy="246221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r">
              <a:defRPr sz="1000"/>
            </a:lvl1pPr>
          </a:lstStyle>
          <a:p>
            <a:fld id="{10292348-D4E9-4851-991B-03CD14F422F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58096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80975" indent="-180975" algn="l" defTabSz="914400" rtl="0" eaLnBrk="1" latinLnBrk="0" hangingPunct="1">
      <a:spcBef>
        <a:spcPts val="300"/>
      </a:spcBef>
      <a:buClr>
        <a:schemeClr val="accent2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363" indent="-182563" algn="l" defTabSz="914400" rtl="0" eaLnBrk="1" latinLnBrk="0" hangingPunct="1">
      <a:spcBef>
        <a:spcPts val="300"/>
      </a:spcBef>
      <a:buClr>
        <a:schemeClr val="accent2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38163" indent="-177800" algn="l" defTabSz="914400" rtl="0" eaLnBrk="1" latinLnBrk="0" hangingPunct="1">
      <a:spcBef>
        <a:spcPts val="300"/>
      </a:spcBef>
      <a:buClr>
        <a:schemeClr val="accent2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15963" indent="-177800" algn="l" defTabSz="914400" rtl="0" eaLnBrk="1" latinLnBrk="0" hangingPunct="1">
      <a:spcBef>
        <a:spcPts val="300"/>
      </a:spcBef>
      <a:buClr>
        <a:schemeClr val="accent2"/>
      </a:buClr>
      <a:buFont typeface="Arial" panose="020B0604020202020204" pitchFamily="34" charset="0"/>
      <a:buChar char="•"/>
      <a:tabLst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2160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4082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5FDC0BE5-8237-434B-AB26-F93C2EF449B3}" type="slidenum">
              <a:rPr lang="en-US" altLang="x-none"/>
              <a:pPr/>
              <a:t>2</a:t>
            </a:fld>
            <a:endParaRPr lang="en-US" altLang="x-none"/>
          </a:p>
        </p:txBody>
      </p:sp>
      <p:sp>
        <p:nvSpPr>
          <p:cNvPr id="6145" name="Text Box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687388" y="1143000"/>
            <a:ext cx="5481637" cy="308451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sp>
      <p:sp>
        <p:nvSpPr>
          <p:cNvPr id="6146" name="Text Box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400550"/>
            <a:ext cx="5484813" cy="35988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36582054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" y="455613"/>
            <a:ext cx="6108700" cy="34369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32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77BD35B7-DAF1-5B4D-94FA-36B61FD74AC4}" type="slidenum">
              <a:rPr lang="en-US" altLang="x-none"/>
              <a:pPr/>
              <a:t>4</a:t>
            </a:fld>
            <a:endParaRPr lang="en-US" altLang="x-none"/>
          </a:p>
        </p:txBody>
      </p:sp>
      <p:sp>
        <p:nvSpPr>
          <p:cNvPr id="18433" name="Text Box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688975" y="1143000"/>
            <a:ext cx="5475288" cy="308133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sp>
      <p:sp>
        <p:nvSpPr>
          <p:cNvPr id="18434" name="Text Box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400550"/>
            <a:ext cx="5481638" cy="359568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8168389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FE1903-C949-6A6F-6A65-FDA7656B58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C292CCC-3D6F-C1C0-8385-6ED480566F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74650" y="455613"/>
            <a:ext cx="6108700" cy="3436937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9EDBE7A-86AD-F7DC-015E-467B00E683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4AD2AE-9FF1-271F-A738-FBCC84432C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92348-D4E9-4851-991B-03CD14F422FF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94019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7804696-4140-4ED0-85E7-EDB5B2EEE11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058863"/>
            <a:ext cx="9144000" cy="4084637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A26EB1-BD3C-40F0-AC73-8A6C6AB347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724" y="2014691"/>
            <a:ext cx="4394163" cy="1292662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B3E3E5-C10A-4614-890E-B38DFD8058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87724" y="3435846"/>
            <a:ext cx="4394163" cy="796821"/>
          </a:xfr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200" cap="all" spc="7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br>
              <a:rPr lang="de-DE"/>
            </a:br>
            <a:br>
              <a:rPr lang="de-DE"/>
            </a:b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BECE303-B9D9-44F3-B49C-BB9EFD95A4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81887" y="336359"/>
            <a:ext cx="2358636" cy="504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61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310927A-E3C7-49FD-9478-12BA3D4F01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75684" y="1058863"/>
            <a:ext cx="3960812" cy="374491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90513"/>
            <a:ext cx="6478587" cy="49244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280EF8B-A4D3-4324-B019-44476AEA035B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03238" y="1058863"/>
            <a:ext cx="3960000" cy="37449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A714C8-5F5F-484F-B796-5CA9E0BE89B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AF99F42-4B12-4FC3-9F19-342646F7D6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753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e Br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310927A-E3C7-49FD-9478-12BA3D4F01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000" y="1059582"/>
            <a:ext cx="8134350" cy="374491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F9562E-39DE-44A8-B6C4-B3D73C52FB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D7EF4C-3FCA-459E-9E99-CB447BD019F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498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310927A-E3C7-49FD-9478-12BA3D4F01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000" y="1058862"/>
            <a:ext cx="8134350" cy="1800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280EF8B-A4D3-4324-B019-44476AEA035B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04000" y="3003798"/>
            <a:ext cx="8136000" cy="1800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EB90985-3936-4CCC-9F4C-5BC23D4053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0DD91FA-4532-4DEA-9BC9-7D90A647D1E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245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E8FABBD4-AF1E-46FF-96D9-681171C9B44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5EBE57E-94A9-406B-BF5B-A587BE3000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43774" y="286141"/>
            <a:ext cx="1297421" cy="21914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4A26EB1-BD3C-40F0-AC73-8A6C6AB347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306" y="1399302"/>
            <a:ext cx="6732000" cy="1292662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B3E3E5-C10A-4614-890E-B38DFD8058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8306" y="2780143"/>
            <a:ext cx="6732000" cy="796821"/>
          </a:xfr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200" cap="all" spc="7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br>
              <a:rPr lang="de-DE"/>
            </a:br>
            <a:br>
              <a:rPr lang="de-DE"/>
            </a:b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15332FC-C411-41A9-BD01-AA970D533B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ondor Vertriebspräsentatio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ACB18DC-8928-423B-90CE-044B415312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4907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E8FABBD4-AF1E-46FF-96D9-681171C9B44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5EBE57E-94A9-406B-BF5B-A587BE3000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43774" y="286141"/>
            <a:ext cx="1297421" cy="21914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4A26EB1-BD3C-40F0-AC73-8A6C6AB347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306" y="1399302"/>
            <a:ext cx="6732000" cy="1292662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B3E3E5-C10A-4614-890E-B38DFD8058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8306" y="2780143"/>
            <a:ext cx="6732000" cy="796821"/>
          </a:xfr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200" cap="all" spc="7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br>
              <a:rPr lang="de-DE"/>
            </a:br>
            <a:br>
              <a:rPr lang="de-DE"/>
            </a:br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F10E9809-90CD-494E-9361-3D3A0BCA8445}"/>
              </a:ext>
            </a:extLst>
          </p:cNvPr>
          <p:cNvGrpSpPr/>
          <p:nvPr userDrawn="1"/>
        </p:nvGrpSpPr>
        <p:grpSpPr>
          <a:xfrm>
            <a:off x="0" y="4144960"/>
            <a:ext cx="324000" cy="742950"/>
            <a:chOff x="0" y="4144960"/>
            <a:chExt cx="324000" cy="742950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88EEC8AD-0654-4C9C-88F9-5D7E65832168}"/>
                </a:ext>
              </a:extLst>
            </p:cNvPr>
            <p:cNvGrpSpPr/>
            <p:nvPr userDrawn="1"/>
          </p:nvGrpSpPr>
          <p:grpSpPr>
            <a:xfrm>
              <a:off x="0" y="4144960"/>
              <a:ext cx="324000" cy="742950"/>
              <a:chOff x="0" y="4154488"/>
              <a:chExt cx="324000" cy="742950"/>
            </a:xfrm>
            <a:solidFill>
              <a:schemeClr val="bg2"/>
            </a:solidFill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4D2C6C90-1F38-43E9-BDB9-E2E672AD1E91}"/>
                  </a:ext>
                </a:extLst>
              </p:cNvPr>
              <p:cNvSpPr/>
              <p:nvPr userDrawn="1"/>
            </p:nvSpPr>
            <p:spPr>
              <a:xfrm>
                <a:off x="0" y="41544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88CC7175-F880-4678-BE28-8C4CFBF73B34}"/>
                  </a:ext>
                </a:extLst>
              </p:cNvPr>
              <p:cNvSpPr/>
              <p:nvPr userDrawn="1"/>
            </p:nvSpPr>
            <p:spPr>
              <a:xfrm>
                <a:off x="0" y="43195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7BE4E290-50F8-4C99-97FC-5D91CB766C62}"/>
                  </a:ext>
                </a:extLst>
              </p:cNvPr>
              <p:cNvSpPr/>
              <p:nvPr userDrawn="1"/>
            </p:nvSpPr>
            <p:spPr>
              <a:xfrm>
                <a:off x="0" y="44846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5D983317-C070-4290-A4AB-79E81E3BBEF8}"/>
                  </a:ext>
                </a:extLst>
              </p:cNvPr>
              <p:cNvSpPr/>
              <p:nvPr userDrawn="1"/>
            </p:nvSpPr>
            <p:spPr>
              <a:xfrm>
                <a:off x="0" y="46497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B4F96965-9E5A-430D-AB29-D4369092D055}"/>
                  </a:ext>
                </a:extLst>
              </p:cNvPr>
              <p:cNvSpPr/>
              <p:nvPr userDrawn="1"/>
            </p:nvSpPr>
            <p:spPr>
              <a:xfrm>
                <a:off x="0" y="48148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4529865F-84B7-4ABA-A57D-B4EEC9343817}"/>
                </a:ext>
              </a:extLst>
            </p:cNvPr>
            <p:cNvGrpSpPr/>
            <p:nvPr userDrawn="1"/>
          </p:nvGrpSpPr>
          <p:grpSpPr>
            <a:xfrm>
              <a:off x="0" y="4227510"/>
              <a:ext cx="324000" cy="577850"/>
              <a:chOff x="0" y="4154488"/>
              <a:chExt cx="324000" cy="577850"/>
            </a:xfrm>
            <a:solidFill>
              <a:schemeClr val="bg1"/>
            </a:solidFill>
          </p:grpSpPr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29433F39-8A92-465F-A60B-68A80B2BE29D}"/>
                  </a:ext>
                </a:extLst>
              </p:cNvPr>
              <p:cNvSpPr/>
              <p:nvPr userDrawn="1"/>
            </p:nvSpPr>
            <p:spPr>
              <a:xfrm>
                <a:off x="0" y="41544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6" name="Rechteck 15">
                <a:extLst>
                  <a:ext uri="{FF2B5EF4-FFF2-40B4-BE49-F238E27FC236}">
                    <a16:creationId xmlns:a16="http://schemas.microsoft.com/office/drawing/2014/main" id="{96DB9FAB-5623-4269-AEFC-1B5767D4DE45}"/>
                  </a:ext>
                </a:extLst>
              </p:cNvPr>
              <p:cNvSpPr/>
              <p:nvPr userDrawn="1"/>
            </p:nvSpPr>
            <p:spPr>
              <a:xfrm>
                <a:off x="0" y="43195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B1F704A4-86E4-495E-B2A0-FB706F378E23}"/>
                  </a:ext>
                </a:extLst>
              </p:cNvPr>
              <p:cNvSpPr/>
              <p:nvPr userDrawn="1"/>
            </p:nvSpPr>
            <p:spPr>
              <a:xfrm>
                <a:off x="0" y="44846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D222CFAF-FDEE-46C5-BDBB-CC3B1090E748}"/>
                  </a:ext>
                </a:extLst>
              </p:cNvPr>
              <p:cNvSpPr/>
              <p:nvPr userDrawn="1"/>
            </p:nvSpPr>
            <p:spPr>
              <a:xfrm>
                <a:off x="0" y="46497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F93B7FD4-45A3-4565-B85C-E3A33C68F4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Condor Vertriebspräsentation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4AAD0F1C-163F-4EA0-B954-280258AB85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4914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folie S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59B219-859A-47B5-9BAE-65F8400F9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EE72800-606B-4640-835A-A69E0D0FDF60}"/>
              </a:ext>
            </a:extLst>
          </p:cNvPr>
          <p:cNvGrpSpPr/>
          <p:nvPr userDrawn="1"/>
        </p:nvGrpSpPr>
        <p:grpSpPr>
          <a:xfrm>
            <a:off x="0" y="4144960"/>
            <a:ext cx="324000" cy="742950"/>
            <a:chOff x="0" y="4144960"/>
            <a:chExt cx="324000" cy="742950"/>
          </a:xfrm>
          <a:solidFill>
            <a:schemeClr val="bg2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7BA21790-43CF-411F-9A8F-9183C078CC5E}"/>
                </a:ext>
              </a:extLst>
            </p:cNvPr>
            <p:cNvSpPr/>
            <p:nvPr userDrawn="1"/>
          </p:nvSpPr>
          <p:spPr>
            <a:xfrm>
              <a:off x="0" y="4144960"/>
              <a:ext cx="323528" cy="7429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FEBBF484-B243-49E0-B525-5409F14905B6}"/>
                </a:ext>
              </a:extLst>
            </p:cNvPr>
            <p:cNvGrpSpPr/>
            <p:nvPr/>
          </p:nvGrpSpPr>
          <p:grpSpPr>
            <a:xfrm>
              <a:off x="0" y="4144960"/>
              <a:ext cx="324000" cy="742950"/>
              <a:chOff x="0" y="4154488"/>
              <a:chExt cx="324000" cy="742950"/>
            </a:xfrm>
            <a:grpFill/>
          </p:grpSpPr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AB26DB19-78BF-4BF4-8FF0-C6D436CE2553}"/>
                  </a:ext>
                </a:extLst>
              </p:cNvPr>
              <p:cNvSpPr/>
              <p:nvPr userDrawn="1"/>
            </p:nvSpPr>
            <p:spPr>
              <a:xfrm>
                <a:off x="0" y="41544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B5D76AFF-3B3F-45B4-B96B-5CDA86C07EBB}"/>
                  </a:ext>
                </a:extLst>
              </p:cNvPr>
              <p:cNvSpPr/>
              <p:nvPr userDrawn="1"/>
            </p:nvSpPr>
            <p:spPr>
              <a:xfrm>
                <a:off x="0" y="43195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2DA088BB-0340-40D2-898F-3C45E976B1E1}"/>
                  </a:ext>
                </a:extLst>
              </p:cNvPr>
              <p:cNvSpPr/>
              <p:nvPr userDrawn="1"/>
            </p:nvSpPr>
            <p:spPr>
              <a:xfrm>
                <a:off x="0" y="44846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5B8DB91F-2C46-462D-A5EC-70777680EC4B}"/>
                  </a:ext>
                </a:extLst>
              </p:cNvPr>
              <p:cNvSpPr/>
              <p:nvPr userDrawn="1"/>
            </p:nvSpPr>
            <p:spPr>
              <a:xfrm>
                <a:off x="0" y="46497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4C5EE94C-E91D-4321-89F2-021395D9FDD9}"/>
                  </a:ext>
                </a:extLst>
              </p:cNvPr>
              <p:cNvSpPr/>
              <p:nvPr userDrawn="1"/>
            </p:nvSpPr>
            <p:spPr>
              <a:xfrm>
                <a:off x="0" y="4814888"/>
                <a:ext cx="324000" cy="8255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5D41F7D2-401F-496C-9E5C-B6F402F76B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764B533C-A677-4061-A188-E80FDC1014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1355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folie Sunsh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59B219-859A-47B5-9BAE-65F8400F9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EE72800-606B-4640-835A-A69E0D0FDF60}"/>
              </a:ext>
            </a:extLst>
          </p:cNvPr>
          <p:cNvGrpSpPr/>
          <p:nvPr userDrawn="1"/>
        </p:nvGrpSpPr>
        <p:grpSpPr>
          <a:xfrm>
            <a:off x="0" y="4144960"/>
            <a:ext cx="324000" cy="742950"/>
            <a:chOff x="0" y="4144960"/>
            <a:chExt cx="324000" cy="742950"/>
          </a:xfrm>
          <a:solidFill>
            <a:schemeClr val="bg2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7BA21790-43CF-411F-9A8F-9183C078CC5E}"/>
                </a:ext>
              </a:extLst>
            </p:cNvPr>
            <p:cNvSpPr/>
            <p:nvPr userDrawn="1"/>
          </p:nvSpPr>
          <p:spPr>
            <a:xfrm>
              <a:off x="0" y="4144960"/>
              <a:ext cx="323528" cy="7429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FEBBF484-B243-49E0-B525-5409F14905B6}"/>
                </a:ext>
              </a:extLst>
            </p:cNvPr>
            <p:cNvGrpSpPr/>
            <p:nvPr/>
          </p:nvGrpSpPr>
          <p:grpSpPr>
            <a:xfrm>
              <a:off x="0" y="4144960"/>
              <a:ext cx="324000" cy="742950"/>
              <a:chOff x="0" y="4154488"/>
              <a:chExt cx="324000" cy="742950"/>
            </a:xfrm>
            <a:grpFill/>
          </p:grpSpPr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AB26DB19-78BF-4BF4-8FF0-C6D436CE2553}"/>
                  </a:ext>
                </a:extLst>
              </p:cNvPr>
              <p:cNvSpPr/>
              <p:nvPr userDrawn="1"/>
            </p:nvSpPr>
            <p:spPr>
              <a:xfrm>
                <a:off x="0" y="41544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B5D76AFF-3B3F-45B4-B96B-5CDA86C07EBB}"/>
                  </a:ext>
                </a:extLst>
              </p:cNvPr>
              <p:cNvSpPr/>
              <p:nvPr userDrawn="1"/>
            </p:nvSpPr>
            <p:spPr>
              <a:xfrm>
                <a:off x="0" y="43195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2DA088BB-0340-40D2-898F-3C45E976B1E1}"/>
                  </a:ext>
                </a:extLst>
              </p:cNvPr>
              <p:cNvSpPr/>
              <p:nvPr userDrawn="1"/>
            </p:nvSpPr>
            <p:spPr>
              <a:xfrm>
                <a:off x="0" y="44846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5B8DB91F-2C46-462D-A5EC-70777680EC4B}"/>
                  </a:ext>
                </a:extLst>
              </p:cNvPr>
              <p:cNvSpPr/>
              <p:nvPr userDrawn="1"/>
            </p:nvSpPr>
            <p:spPr>
              <a:xfrm>
                <a:off x="0" y="46497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4C5EE94C-E91D-4321-89F2-021395D9FDD9}"/>
                  </a:ext>
                </a:extLst>
              </p:cNvPr>
              <p:cNvSpPr/>
              <p:nvPr userDrawn="1"/>
            </p:nvSpPr>
            <p:spPr>
              <a:xfrm>
                <a:off x="0" y="48148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7A482EAB-98E2-48A1-B971-B5DFAB53BF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906ED6E4-A08F-4F21-BDB9-95458EDCC4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508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folie B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59B219-859A-47B5-9BAE-65F8400F9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EE72800-606B-4640-835A-A69E0D0FDF60}"/>
              </a:ext>
            </a:extLst>
          </p:cNvPr>
          <p:cNvGrpSpPr/>
          <p:nvPr userDrawn="1"/>
        </p:nvGrpSpPr>
        <p:grpSpPr>
          <a:xfrm>
            <a:off x="0" y="4144960"/>
            <a:ext cx="324000" cy="742950"/>
            <a:chOff x="0" y="4144960"/>
            <a:chExt cx="324000" cy="742950"/>
          </a:xfrm>
          <a:solidFill>
            <a:schemeClr val="bg2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7BA21790-43CF-411F-9A8F-9183C078CC5E}"/>
                </a:ext>
              </a:extLst>
            </p:cNvPr>
            <p:cNvSpPr/>
            <p:nvPr userDrawn="1"/>
          </p:nvSpPr>
          <p:spPr>
            <a:xfrm>
              <a:off x="0" y="4144960"/>
              <a:ext cx="323528" cy="7429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FEBBF484-B243-49E0-B525-5409F14905B6}"/>
                </a:ext>
              </a:extLst>
            </p:cNvPr>
            <p:cNvGrpSpPr/>
            <p:nvPr/>
          </p:nvGrpSpPr>
          <p:grpSpPr>
            <a:xfrm>
              <a:off x="0" y="4144960"/>
              <a:ext cx="324000" cy="742950"/>
              <a:chOff x="0" y="4154488"/>
              <a:chExt cx="324000" cy="742950"/>
            </a:xfrm>
            <a:grpFill/>
          </p:grpSpPr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AB26DB19-78BF-4BF4-8FF0-C6D436CE2553}"/>
                  </a:ext>
                </a:extLst>
              </p:cNvPr>
              <p:cNvSpPr/>
              <p:nvPr userDrawn="1"/>
            </p:nvSpPr>
            <p:spPr>
              <a:xfrm>
                <a:off x="0" y="4154488"/>
                <a:ext cx="324000" cy="8255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B5D76AFF-3B3F-45B4-B96B-5CDA86C07EBB}"/>
                  </a:ext>
                </a:extLst>
              </p:cNvPr>
              <p:cNvSpPr/>
              <p:nvPr userDrawn="1"/>
            </p:nvSpPr>
            <p:spPr>
              <a:xfrm>
                <a:off x="0" y="4319588"/>
                <a:ext cx="324000" cy="8255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2DA088BB-0340-40D2-898F-3C45E976B1E1}"/>
                  </a:ext>
                </a:extLst>
              </p:cNvPr>
              <p:cNvSpPr/>
              <p:nvPr userDrawn="1"/>
            </p:nvSpPr>
            <p:spPr>
              <a:xfrm>
                <a:off x="0" y="4484688"/>
                <a:ext cx="324000" cy="8255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5B8DB91F-2C46-462D-A5EC-70777680EC4B}"/>
                  </a:ext>
                </a:extLst>
              </p:cNvPr>
              <p:cNvSpPr/>
              <p:nvPr userDrawn="1"/>
            </p:nvSpPr>
            <p:spPr>
              <a:xfrm>
                <a:off x="0" y="4649788"/>
                <a:ext cx="324000" cy="8255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4C5EE94C-E91D-4321-89F2-021395D9FDD9}"/>
                  </a:ext>
                </a:extLst>
              </p:cNvPr>
              <p:cNvSpPr/>
              <p:nvPr userDrawn="1"/>
            </p:nvSpPr>
            <p:spPr>
              <a:xfrm>
                <a:off x="0" y="4814888"/>
                <a:ext cx="324000" cy="8255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5EB13DA7-DB4E-44F9-B864-B937B0A271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9372B8F3-B715-44CF-92FB-25C461EB8D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31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folie Ear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59B219-859A-47B5-9BAE-65F8400F9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EE72800-606B-4640-835A-A69E0D0FDF60}"/>
              </a:ext>
            </a:extLst>
          </p:cNvPr>
          <p:cNvGrpSpPr/>
          <p:nvPr userDrawn="1"/>
        </p:nvGrpSpPr>
        <p:grpSpPr>
          <a:xfrm>
            <a:off x="0" y="4144960"/>
            <a:ext cx="324000" cy="742950"/>
            <a:chOff x="0" y="4144960"/>
            <a:chExt cx="324000" cy="742950"/>
          </a:xfrm>
          <a:solidFill>
            <a:schemeClr val="bg2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7BA21790-43CF-411F-9A8F-9183C078CC5E}"/>
                </a:ext>
              </a:extLst>
            </p:cNvPr>
            <p:cNvSpPr/>
            <p:nvPr userDrawn="1"/>
          </p:nvSpPr>
          <p:spPr>
            <a:xfrm>
              <a:off x="0" y="4144960"/>
              <a:ext cx="323528" cy="7429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FEBBF484-B243-49E0-B525-5409F14905B6}"/>
                </a:ext>
              </a:extLst>
            </p:cNvPr>
            <p:cNvGrpSpPr/>
            <p:nvPr/>
          </p:nvGrpSpPr>
          <p:grpSpPr>
            <a:xfrm>
              <a:off x="0" y="4144960"/>
              <a:ext cx="324000" cy="742950"/>
              <a:chOff x="0" y="4154488"/>
              <a:chExt cx="324000" cy="742950"/>
            </a:xfrm>
            <a:grpFill/>
          </p:grpSpPr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AB26DB19-78BF-4BF4-8FF0-C6D436CE2553}"/>
                  </a:ext>
                </a:extLst>
              </p:cNvPr>
              <p:cNvSpPr/>
              <p:nvPr userDrawn="1"/>
            </p:nvSpPr>
            <p:spPr>
              <a:xfrm>
                <a:off x="0" y="4154488"/>
                <a:ext cx="324000" cy="825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B5D76AFF-3B3F-45B4-B96B-5CDA86C07EBB}"/>
                  </a:ext>
                </a:extLst>
              </p:cNvPr>
              <p:cNvSpPr/>
              <p:nvPr userDrawn="1"/>
            </p:nvSpPr>
            <p:spPr>
              <a:xfrm>
                <a:off x="0" y="4319588"/>
                <a:ext cx="324000" cy="825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2DA088BB-0340-40D2-898F-3C45E976B1E1}"/>
                  </a:ext>
                </a:extLst>
              </p:cNvPr>
              <p:cNvSpPr/>
              <p:nvPr userDrawn="1"/>
            </p:nvSpPr>
            <p:spPr>
              <a:xfrm>
                <a:off x="0" y="4484688"/>
                <a:ext cx="324000" cy="825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5B8DB91F-2C46-462D-A5EC-70777680EC4B}"/>
                  </a:ext>
                </a:extLst>
              </p:cNvPr>
              <p:cNvSpPr/>
              <p:nvPr userDrawn="1"/>
            </p:nvSpPr>
            <p:spPr>
              <a:xfrm>
                <a:off x="0" y="4649788"/>
                <a:ext cx="324000" cy="825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4C5EE94C-E91D-4321-89F2-021395D9FDD9}"/>
                  </a:ext>
                </a:extLst>
              </p:cNvPr>
              <p:cNvSpPr/>
              <p:nvPr userDrawn="1"/>
            </p:nvSpPr>
            <p:spPr>
              <a:xfrm>
                <a:off x="0" y="4814888"/>
                <a:ext cx="324000" cy="825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70253E00-7D88-4443-B8D0-1F9F7E46B6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44D8A4BA-A172-4957-A6D4-24DAA4F1FC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838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folie Isl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59B219-859A-47B5-9BAE-65F8400F9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EE72800-606B-4640-835A-A69E0D0FDF60}"/>
              </a:ext>
            </a:extLst>
          </p:cNvPr>
          <p:cNvGrpSpPr/>
          <p:nvPr userDrawn="1"/>
        </p:nvGrpSpPr>
        <p:grpSpPr>
          <a:xfrm>
            <a:off x="0" y="4144960"/>
            <a:ext cx="324000" cy="742950"/>
            <a:chOff x="0" y="4144960"/>
            <a:chExt cx="324000" cy="742950"/>
          </a:xfrm>
          <a:solidFill>
            <a:schemeClr val="bg2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7BA21790-43CF-411F-9A8F-9183C078CC5E}"/>
                </a:ext>
              </a:extLst>
            </p:cNvPr>
            <p:cNvSpPr/>
            <p:nvPr userDrawn="1"/>
          </p:nvSpPr>
          <p:spPr>
            <a:xfrm>
              <a:off x="0" y="4144960"/>
              <a:ext cx="323528" cy="7429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FEBBF484-B243-49E0-B525-5409F14905B6}"/>
                </a:ext>
              </a:extLst>
            </p:cNvPr>
            <p:cNvGrpSpPr/>
            <p:nvPr/>
          </p:nvGrpSpPr>
          <p:grpSpPr>
            <a:xfrm>
              <a:off x="0" y="4144960"/>
              <a:ext cx="324000" cy="742950"/>
              <a:chOff x="0" y="4154488"/>
              <a:chExt cx="324000" cy="742950"/>
            </a:xfrm>
            <a:grpFill/>
          </p:grpSpPr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AB26DB19-78BF-4BF4-8FF0-C6D436CE2553}"/>
                  </a:ext>
                </a:extLst>
              </p:cNvPr>
              <p:cNvSpPr/>
              <p:nvPr userDrawn="1"/>
            </p:nvSpPr>
            <p:spPr>
              <a:xfrm>
                <a:off x="0" y="4154488"/>
                <a:ext cx="324000" cy="8255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B5D76AFF-3B3F-45B4-B96B-5CDA86C07EBB}"/>
                  </a:ext>
                </a:extLst>
              </p:cNvPr>
              <p:cNvSpPr/>
              <p:nvPr userDrawn="1"/>
            </p:nvSpPr>
            <p:spPr>
              <a:xfrm>
                <a:off x="0" y="4319588"/>
                <a:ext cx="324000" cy="8255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2DA088BB-0340-40D2-898F-3C45E976B1E1}"/>
                  </a:ext>
                </a:extLst>
              </p:cNvPr>
              <p:cNvSpPr/>
              <p:nvPr userDrawn="1"/>
            </p:nvSpPr>
            <p:spPr>
              <a:xfrm>
                <a:off x="0" y="4484688"/>
                <a:ext cx="324000" cy="8255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5B8DB91F-2C46-462D-A5EC-70777680EC4B}"/>
                  </a:ext>
                </a:extLst>
              </p:cNvPr>
              <p:cNvSpPr/>
              <p:nvPr userDrawn="1"/>
            </p:nvSpPr>
            <p:spPr>
              <a:xfrm>
                <a:off x="0" y="4649788"/>
                <a:ext cx="324000" cy="8255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4C5EE94C-E91D-4321-89F2-021395D9FDD9}"/>
                  </a:ext>
                </a:extLst>
              </p:cNvPr>
              <p:cNvSpPr/>
              <p:nvPr userDrawn="1"/>
            </p:nvSpPr>
            <p:spPr>
              <a:xfrm>
                <a:off x="0" y="4814888"/>
                <a:ext cx="324000" cy="8255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A0F32F11-1E1C-4846-8F36-6CCAA10185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F1B8F318-E5F1-4894-B686-4301699C78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6974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7804696-4140-4ED0-85E7-EDB5B2EEE11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058863"/>
            <a:ext cx="9144000" cy="4084637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A26EB1-BD3C-40F0-AC73-8A6C6AB347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7584" y="1442959"/>
            <a:ext cx="5654303" cy="861774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B3E3E5-C10A-4614-890E-B38DFD8058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7584" y="2427734"/>
            <a:ext cx="5654303" cy="796821"/>
          </a:xfr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200" cap="all" spc="7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br>
              <a:rPr lang="de-DE"/>
            </a:br>
            <a:br>
              <a:rPr lang="de-DE"/>
            </a:br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1504265-45E8-405A-9491-31EEA32D96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81887" y="336359"/>
            <a:ext cx="2358636" cy="504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602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folie Pa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59B219-859A-47B5-9BAE-65F8400F9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EE72800-606B-4640-835A-A69E0D0FDF60}"/>
              </a:ext>
            </a:extLst>
          </p:cNvPr>
          <p:cNvGrpSpPr/>
          <p:nvPr userDrawn="1"/>
        </p:nvGrpSpPr>
        <p:grpSpPr>
          <a:xfrm>
            <a:off x="0" y="4144960"/>
            <a:ext cx="324000" cy="742950"/>
            <a:chOff x="0" y="4144960"/>
            <a:chExt cx="324000" cy="742950"/>
          </a:xfrm>
          <a:solidFill>
            <a:schemeClr val="bg2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7BA21790-43CF-411F-9A8F-9183C078CC5E}"/>
                </a:ext>
              </a:extLst>
            </p:cNvPr>
            <p:cNvSpPr/>
            <p:nvPr userDrawn="1"/>
          </p:nvSpPr>
          <p:spPr>
            <a:xfrm>
              <a:off x="0" y="4144960"/>
              <a:ext cx="323528" cy="7429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FEBBF484-B243-49E0-B525-5409F14905B6}"/>
                </a:ext>
              </a:extLst>
            </p:cNvPr>
            <p:cNvGrpSpPr/>
            <p:nvPr/>
          </p:nvGrpSpPr>
          <p:grpSpPr>
            <a:xfrm>
              <a:off x="0" y="4144960"/>
              <a:ext cx="324000" cy="742950"/>
              <a:chOff x="0" y="4154488"/>
              <a:chExt cx="324000" cy="742950"/>
            </a:xfrm>
            <a:grpFill/>
          </p:grpSpPr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AB26DB19-78BF-4BF4-8FF0-C6D436CE2553}"/>
                  </a:ext>
                </a:extLst>
              </p:cNvPr>
              <p:cNvSpPr/>
              <p:nvPr userDrawn="1"/>
            </p:nvSpPr>
            <p:spPr>
              <a:xfrm>
                <a:off x="0" y="4154488"/>
                <a:ext cx="324000" cy="8255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B5D76AFF-3B3F-45B4-B96B-5CDA86C07EBB}"/>
                  </a:ext>
                </a:extLst>
              </p:cNvPr>
              <p:cNvSpPr/>
              <p:nvPr userDrawn="1"/>
            </p:nvSpPr>
            <p:spPr>
              <a:xfrm>
                <a:off x="0" y="4319588"/>
                <a:ext cx="324000" cy="8255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2DA088BB-0340-40D2-898F-3C45E976B1E1}"/>
                  </a:ext>
                </a:extLst>
              </p:cNvPr>
              <p:cNvSpPr/>
              <p:nvPr userDrawn="1"/>
            </p:nvSpPr>
            <p:spPr>
              <a:xfrm>
                <a:off x="0" y="4484688"/>
                <a:ext cx="324000" cy="8255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5B8DB91F-2C46-462D-A5EC-70777680EC4B}"/>
                  </a:ext>
                </a:extLst>
              </p:cNvPr>
              <p:cNvSpPr/>
              <p:nvPr userDrawn="1"/>
            </p:nvSpPr>
            <p:spPr>
              <a:xfrm>
                <a:off x="0" y="4649788"/>
                <a:ext cx="324000" cy="8255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4C5EE94C-E91D-4321-89F2-021395D9FDD9}"/>
                  </a:ext>
                </a:extLst>
              </p:cNvPr>
              <p:cNvSpPr/>
              <p:nvPr userDrawn="1"/>
            </p:nvSpPr>
            <p:spPr>
              <a:xfrm>
                <a:off x="0" y="4814888"/>
                <a:ext cx="324000" cy="8255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33325F7-65B7-4660-882A-D55CC59355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4781D28A-96F4-47D3-99C9-C46BF7D6EA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0391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971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G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3716202" y="660374"/>
            <a:ext cx="2236849" cy="2514980"/>
          </a:xfrm>
          <a:custGeom>
            <a:avLst/>
            <a:gdLst>
              <a:gd name="connsiteX0" fmla="*/ 2419818 w 5963377"/>
              <a:gd name="connsiteY0" fmla="*/ 0 h 6706612"/>
              <a:gd name="connsiteX1" fmla="*/ 5963377 w 5963377"/>
              <a:gd name="connsiteY1" fmla="*/ 0 h 6706612"/>
              <a:gd name="connsiteX2" fmla="*/ 3543559 w 5963377"/>
              <a:gd name="connsiteY2" fmla="*/ 6706612 h 6706612"/>
              <a:gd name="connsiteX3" fmla="*/ 0 w 5963377"/>
              <a:gd name="connsiteY3" fmla="*/ 6706612 h 6706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3377" h="6706612">
                <a:moveTo>
                  <a:pt x="2419818" y="0"/>
                </a:moveTo>
                <a:lnTo>
                  <a:pt x="5963377" y="0"/>
                </a:lnTo>
                <a:lnTo>
                  <a:pt x="3543559" y="6706612"/>
                </a:lnTo>
                <a:lnTo>
                  <a:pt x="0" y="67066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975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en-US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4669162" y="2314195"/>
            <a:ext cx="2236849" cy="2514980"/>
          </a:xfrm>
          <a:custGeom>
            <a:avLst/>
            <a:gdLst>
              <a:gd name="connsiteX0" fmla="*/ 2419818 w 5963377"/>
              <a:gd name="connsiteY0" fmla="*/ 0 h 6706612"/>
              <a:gd name="connsiteX1" fmla="*/ 5963377 w 5963377"/>
              <a:gd name="connsiteY1" fmla="*/ 0 h 6706612"/>
              <a:gd name="connsiteX2" fmla="*/ 3543559 w 5963377"/>
              <a:gd name="connsiteY2" fmla="*/ 6706612 h 6706612"/>
              <a:gd name="connsiteX3" fmla="*/ 0 w 5963377"/>
              <a:gd name="connsiteY3" fmla="*/ 6706612 h 6706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3377" h="6706612">
                <a:moveTo>
                  <a:pt x="2419818" y="0"/>
                </a:moveTo>
                <a:lnTo>
                  <a:pt x="5963377" y="0"/>
                </a:lnTo>
                <a:lnTo>
                  <a:pt x="3543559" y="6706612"/>
                </a:lnTo>
                <a:lnTo>
                  <a:pt x="0" y="67066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975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6820790" y="660374"/>
            <a:ext cx="2236849" cy="2514980"/>
          </a:xfrm>
          <a:custGeom>
            <a:avLst/>
            <a:gdLst>
              <a:gd name="connsiteX0" fmla="*/ 2419818 w 5963377"/>
              <a:gd name="connsiteY0" fmla="*/ 0 h 6706612"/>
              <a:gd name="connsiteX1" fmla="*/ 5963377 w 5963377"/>
              <a:gd name="connsiteY1" fmla="*/ 0 h 6706612"/>
              <a:gd name="connsiteX2" fmla="*/ 3543559 w 5963377"/>
              <a:gd name="connsiteY2" fmla="*/ 6706612 h 6706612"/>
              <a:gd name="connsiteX3" fmla="*/ 0 w 5963377"/>
              <a:gd name="connsiteY3" fmla="*/ 6706612 h 6706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3377" h="6706612">
                <a:moveTo>
                  <a:pt x="2419818" y="0"/>
                </a:moveTo>
                <a:lnTo>
                  <a:pt x="5963377" y="0"/>
                </a:lnTo>
                <a:lnTo>
                  <a:pt x="3543559" y="6706612"/>
                </a:lnTo>
                <a:lnTo>
                  <a:pt x="0" y="67066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975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Open Sans Light" charset="0"/>
                <a:ea typeface="Open Sans Light" charset="0"/>
                <a:cs typeface="Open Sans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87340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ig Background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23"/>
          </p:nvPr>
        </p:nvSpPr>
        <p:spPr>
          <a:xfrm>
            <a:off x="1" y="0"/>
            <a:ext cx="4987832" cy="5143500"/>
          </a:xfrm>
          <a:custGeom>
            <a:avLst/>
            <a:gdLst>
              <a:gd name="connsiteX0" fmla="*/ 0 w 19393999"/>
              <a:gd name="connsiteY0" fmla="*/ 0 h 13715999"/>
              <a:gd name="connsiteX1" fmla="*/ 19393999 w 19393999"/>
              <a:gd name="connsiteY1" fmla="*/ 0 h 13715999"/>
              <a:gd name="connsiteX2" fmla="*/ 13782907 w 19393999"/>
              <a:gd name="connsiteY2" fmla="*/ 13715999 h 13715999"/>
              <a:gd name="connsiteX3" fmla="*/ 0 w 19393999"/>
              <a:gd name="connsiteY3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93999" h="13715999">
                <a:moveTo>
                  <a:pt x="0" y="0"/>
                </a:moveTo>
                <a:lnTo>
                  <a:pt x="19393999" y="0"/>
                </a:lnTo>
                <a:lnTo>
                  <a:pt x="13782907" y="13715999"/>
                </a:lnTo>
                <a:lnTo>
                  <a:pt x="0" y="13715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050" b="0" i="0">
                <a:ln>
                  <a:noFill/>
                </a:ln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021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49536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10701155" y="443349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/>
          </a:p>
        </p:txBody>
      </p:sp>
      <p:pic>
        <p:nvPicPr>
          <p:cNvPr id="3" name="Picture 2" descr="A picture containing text, wheel, gear&#10;&#10;Description automatically generated">
            <a:extLst>
              <a:ext uri="{FF2B5EF4-FFF2-40B4-BE49-F238E27FC236}">
                <a16:creationId xmlns:a16="http://schemas.microsoft.com/office/drawing/2014/main" id="{3B410DA8-9DC3-2A04-91B9-9F8C11F92A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0475" y="4802827"/>
            <a:ext cx="1152525" cy="194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8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7804696-4140-4ED0-85E7-EDB5B2EEE11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058863"/>
            <a:ext cx="9144000" cy="4084637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A26EB1-BD3C-40F0-AC73-8A6C6AB347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16016" y="1266071"/>
            <a:ext cx="3924747" cy="1292662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B3E3E5-C10A-4614-890E-B38DFD8058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16016" y="2679762"/>
            <a:ext cx="3924747" cy="796821"/>
          </a:xfr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200" cap="all" spc="7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br>
              <a:rPr lang="de-DE"/>
            </a:br>
            <a:br>
              <a:rPr lang="de-DE"/>
            </a:br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3B0A586-1B33-49C7-89BF-AC351F4A82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81887" y="336359"/>
            <a:ext cx="2358636" cy="504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140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59B219-859A-47B5-9BAE-65F8400F9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97D758F6-0E4B-4AFF-B9E0-D9B2B3DBFA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02E8B4-9B44-40B8-A993-553D552CD2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0996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7ECBF2-F437-4B6B-BA65-448569153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9E36CA2-50E8-4B4B-9516-CCF464024B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775940-3C87-4C71-9B7C-24E4B2B967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1187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59B219-859A-47B5-9BAE-65F8400F9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1058863"/>
            <a:ext cx="3960000" cy="37449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280EF8B-A4D3-4324-B019-44476AEA035B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76963" y="1058863"/>
            <a:ext cx="3960000" cy="37449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2B2523D-975C-4F0E-81C7-38CFABDC3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6ADA586-D18C-441A-8A23-86F07E60B3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0365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r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59B219-859A-47B5-9BAE-65F8400F9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1058863"/>
            <a:ext cx="2592000" cy="37449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280EF8B-A4D3-4324-B019-44476AEA035B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276000" y="1058863"/>
            <a:ext cx="2592000" cy="37449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80CDB76-4B3E-484D-8069-7C5A122CAD80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044963" y="1058863"/>
            <a:ext cx="2592000" cy="37449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3110D25-BA60-40D7-A55B-29C1D7C181A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9E40D9F-E9B3-4D22-B2C2-FA4CA37D347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332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Vier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59B219-859A-47B5-9BAE-65F8400F94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1058863"/>
            <a:ext cx="1908000" cy="37449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280EF8B-A4D3-4324-B019-44476AEA035B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2582279" y="1058863"/>
            <a:ext cx="1908000" cy="37449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80CDB76-4B3E-484D-8069-7C5A122CAD80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657521" y="1058863"/>
            <a:ext cx="1908000" cy="37449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06066E7C-AE3A-4CA7-BCCE-9F5F9C58ABCD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732763" y="1058863"/>
            <a:ext cx="1908000" cy="37449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BE80588-B39D-4D90-BD98-FA6A71C01E2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2498154-E1B2-476D-BDFA-3EA4B77DE60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6922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310927A-E3C7-49FD-9478-12BA3D4F01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04000" y="1058863"/>
            <a:ext cx="3960812" cy="374491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7E75C4-8A7E-484E-94A6-C86CF8FBD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280EF8B-A4D3-4324-B019-44476AEA035B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76963" y="1058863"/>
            <a:ext cx="3960000" cy="37449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C808FB7-E2C7-4AFC-9214-59428FD0AB3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FF089F2-5000-4E24-9799-406CCEB9A2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604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DDC9791-805C-415E-B73C-F9DDE6B028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314803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425" imgH="424" progId="TCLayout.ActiveDocument.1">
                  <p:embed/>
                </p:oleObj>
              </mc:Choice>
              <mc:Fallback>
                <p:oleObj name="think-cell Folie" r:id="rId28" imgW="425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DDC9791-805C-415E-B73C-F9DDE6B02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" name="Gerade Verbindung 9">
            <a:extLst>
              <a:ext uri="{FF2B5EF4-FFF2-40B4-BE49-F238E27FC236}">
                <a16:creationId xmlns:a16="http://schemas.microsoft.com/office/drawing/2014/main" id="{B221F273-5F3B-C842-99AC-78944AB66056}"/>
              </a:ext>
            </a:extLst>
          </p:cNvPr>
          <p:cNvCxnSpPr/>
          <p:nvPr userDrawn="1"/>
        </p:nvCxnSpPr>
        <p:spPr>
          <a:xfrm>
            <a:off x="507037" y="812800"/>
            <a:ext cx="8132964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10">
            <a:extLst>
              <a:ext uri="{FF2B5EF4-FFF2-40B4-BE49-F238E27FC236}">
                <a16:creationId xmlns:a16="http://schemas.microsoft.com/office/drawing/2014/main" id="{ACF0A897-EA80-2B46-80A9-B1985967E458}"/>
              </a:ext>
            </a:extLst>
          </p:cNvPr>
          <p:cNvCxnSpPr>
            <a:cxnSpLocks/>
          </p:cNvCxnSpPr>
          <p:nvPr userDrawn="1"/>
        </p:nvCxnSpPr>
        <p:spPr>
          <a:xfrm>
            <a:off x="507037" y="4890683"/>
            <a:ext cx="8133726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elplatzhalter 6">
            <a:extLst>
              <a:ext uri="{FF2B5EF4-FFF2-40B4-BE49-F238E27FC236}">
                <a16:creationId xmlns:a16="http://schemas.microsoft.com/office/drawing/2014/main" id="{C9427BC3-8E1A-45CB-B10E-42837ECB2C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90513"/>
            <a:ext cx="6478587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C1F1C98-91E7-44B3-8D9A-9917EB22EE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238" y="1058863"/>
            <a:ext cx="8136761" cy="37449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3380A1D-CB54-4068-8C4F-33937EDCE8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3238" y="4961244"/>
            <a:ext cx="6480000" cy="1077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600" cap="all" baseline="0">
                <a:solidFill>
                  <a:sysClr val="windowText" lastClr="000000"/>
                </a:solidFill>
              </a:defRPr>
            </a:lvl1pPr>
          </a:lstStyle>
          <a:p>
            <a:r>
              <a:rPr lang="de-DE"/>
              <a:t>Condor Vertriebspräsentation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09BC440-3174-420E-8E69-5B95AD021D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2361" y="4961244"/>
            <a:ext cx="828402" cy="1077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600" cap="all" baseline="0">
                <a:solidFill>
                  <a:sysClr val="windowText" lastClr="000000"/>
                </a:solidFill>
              </a:defRPr>
            </a:lvl1pPr>
          </a:lstStyle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0819475-382E-4702-8E84-03DF2C06067C}"/>
              </a:ext>
            </a:extLst>
          </p:cNvPr>
          <p:cNvGrpSpPr/>
          <p:nvPr userDrawn="1"/>
        </p:nvGrpSpPr>
        <p:grpSpPr>
          <a:xfrm>
            <a:off x="0" y="4144960"/>
            <a:ext cx="324000" cy="742950"/>
            <a:chOff x="0" y="4154488"/>
            <a:chExt cx="324000" cy="74295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8D955324-444E-41B8-B3C1-AD3861970071}"/>
                </a:ext>
              </a:extLst>
            </p:cNvPr>
            <p:cNvSpPr/>
            <p:nvPr userDrawn="1"/>
          </p:nvSpPr>
          <p:spPr>
            <a:xfrm>
              <a:off x="0" y="4154488"/>
              <a:ext cx="324000" cy="825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20F9F23E-139A-457C-B0E6-F4ACBFB9D45B}"/>
                </a:ext>
              </a:extLst>
            </p:cNvPr>
            <p:cNvSpPr/>
            <p:nvPr userDrawn="1"/>
          </p:nvSpPr>
          <p:spPr>
            <a:xfrm>
              <a:off x="0" y="4319588"/>
              <a:ext cx="324000" cy="825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B5E681EA-B9CA-440E-8521-49B441260A71}"/>
                </a:ext>
              </a:extLst>
            </p:cNvPr>
            <p:cNvSpPr/>
            <p:nvPr userDrawn="1"/>
          </p:nvSpPr>
          <p:spPr>
            <a:xfrm>
              <a:off x="0" y="4484688"/>
              <a:ext cx="324000" cy="825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8383F2BD-8447-44AF-8526-AB1B0FB69743}"/>
                </a:ext>
              </a:extLst>
            </p:cNvPr>
            <p:cNvSpPr/>
            <p:nvPr userDrawn="1"/>
          </p:nvSpPr>
          <p:spPr>
            <a:xfrm>
              <a:off x="0" y="4649788"/>
              <a:ext cx="324000" cy="825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9C3F0EFE-F056-4B87-A012-FD809E74BA26}"/>
                </a:ext>
              </a:extLst>
            </p:cNvPr>
            <p:cNvSpPr/>
            <p:nvPr userDrawn="1"/>
          </p:nvSpPr>
          <p:spPr>
            <a:xfrm>
              <a:off x="0" y="4814888"/>
              <a:ext cx="324000" cy="825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29" name="Grafik 28">
            <a:extLst>
              <a:ext uri="{FF2B5EF4-FFF2-40B4-BE49-F238E27FC236}">
                <a16:creationId xmlns:a16="http://schemas.microsoft.com/office/drawing/2014/main" id="{E85B2E04-2A1F-451C-9BEE-A9B0546B69D1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343774" y="286141"/>
            <a:ext cx="1297421" cy="21914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CEECA3C-21A0-51D8-953A-94F0B5AB64C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4113975" y="4958080"/>
            <a:ext cx="9382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8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urity class: internal</a:t>
            </a:r>
          </a:p>
        </p:txBody>
      </p:sp>
    </p:spTree>
    <p:extLst>
      <p:ext uri="{BB962C8B-B14F-4D97-AF65-F5344CB8AC3E}">
        <p14:creationId xmlns:p14="http://schemas.microsoft.com/office/powerpoint/2010/main" val="3668345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9" r:id="rId2"/>
    <p:sldLayoutId id="2147483840" r:id="rId3"/>
    <p:sldLayoutId id="2147483853" r:id="rId4"/>
    <p:sldLayoutId id="2147483869" r:id="rId5"/>
    <p:sldLayoutId id="2147483854" r:id="rId6"/>
    <p:sldLayoutId id="2147483855" r:id="rId7"/>
    <p:sldLayoutId id="2147483856" r:id="rId8"/>
    <p:sldLayoutId id="2147483870" r:id="rId9"/>
    <p:sldLayoutId id="2147483871" r:id="rId10"/>
    <p:sldLayoutId id="2147483872" r:id="rId11"/>
    <p:sldLayoutId id="2147483873" r:id="rId12"/>
    <p:sldLayoutId id="2147483874" r:id="rId13"/>
    <p:sldLayoutId id="2147483876" r:id="rId14"/>
    <p:sldLayoutId id="2147483877" r:id="rId15"/>
    <p:sldLayoutId id="2147483878" r:id="rId16"/>
    <p:sldLayoutId id="2147483879" r:id="rId17"/>
    <p:sldLayoutId id="2147483880" r:id="rId18"/>
    <p:sldLayoutId id="2147483881" r:id="rId19"/>
    <p:sldLayoutId id="2147483882" r:id="rId20"/>
    <p:sldLayoutId id="2147483883" r:id="rId21"/>
    <p:sldLayoutId id="2147483884" r:id="rId22"/>
    <p:sldLayoutId id="2147483885" r:id="rId23"/>
    <p:sldLayoutId id="2147483887" r:id="rId24"/>
    <p:sldLayoutId id="2147483888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2563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0975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17" userDrawn="1">
          <p15:clr>
            <a:srgbClr val="F26B43"/>
          </p15:clr>
        </p15:guide>
        <p15:guide id="9" pos="2880" userDrawn="1">
          <p15:clr>
            <a:srgbClr val="F26B43"/>
          </p15:clr>
        </p15:guide>
        <p15:guide id="17" pos="5443" userDrawn="1">
          <p15:clr>
            <a:srgbClr val="F26B43"/>
          </p15:clr>
        </p15:guide>
        <p15:guide id="18" orient="horz" pos="1847" userDrawn="1">
          <p15:clr>
            <a:srgbClr val="F26B43"/>
          </p15:clr>
        </p15:guide>
        <p15:guide id="19" orient="horz" pos="3026" userDrawn="1">
          <p15:clr>
            <a:srgbClr val="F26B43"/>
          </p15:clr>
        </p15:guide>
        <p15:guide id="21" orient="horz" pos="66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jpg"/><Relationship Id="rId4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6.png"/><Relationship Id="rId7" Type="http://schemas.openxmlformats.org/officeDocument/2006/relationships/image" Target="../media/image52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10" Type="http://schemas.openxmlformats.org/officeDocument/2006/relationships/image" Target="../media/image55.jpeg"/><Relationship Id="rId4" Type="http://schemas.openxmlformats.org/officeDocument/2006/relationships/image" Target="../media/image7.svg"/><Relationship Id="rId9" Type="http://schemas.openxmlformats.org/officeDocument/2006/relationships/image" Target="../media/image5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1.xml"/><Relationship Id="rId1" Type="http://schemas.openxmlformats.org/officeDocument/2006/relationships/video" Target="https://www.youtube.com/embed/DGI9CPpXyh0?feature=oembed" TargetMode="External"/><Relationship Id="rId5" Type="http://schemas.openxmlformats.org/officeDocument/2006/relationships/image" Target="../media/image56.jpeg"/><Relationship Id="rId4" Type="http://schemas.openxmlformats.org/officeDocument/2006/relationships/image" Target="../media/image3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7" Type="http://schemas.openxmlformats.org/officeDocument/2006/relationships/image" Target="../media/image63.sv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2.png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emf"/><Relationship Id="rId3" Type="http://schemas.openxmlformats.org/officeDocument/2006/relationships/image" Target="../media/image68.emf"/><Relationship Id="rId7" Type="http://schemas.openxmlformats.org/officeDocument/2006/relationships/image" Target="../media/image72.emf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1.emf"/><Relationship Id="rId5" Type="http://schemas.openxmlformats.org/officeDocument/2006/relationships/image" Target="../media/image70.emf"/><Relationship Id="rId4" Type="http://schemas.openxmlformats.org/officeDocument/2006/relationships/image" Target="../media/image69.emf"/><Relationship Id="rId9" Type="http://schemas.openxmlformats.org/officeDocument/2006/relationships/image" Target="../media/image7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6.png"/><Relationship Id="rId18" Type="http://schemas.openxmlformats.org/officeDocument/2006/relationships/image" Target="../media/image91.png"/><Relationship Id="rId26" Type="http://schemas.openxmlformats.org/officeDocument/2006/relationships/image" Target="../media/image99.jpeg"/><Relationship Id="rId39" Type="http://schemas.openxmlformats.org/officeDocument/2006/relationships/image" Target="../media/image112.png"/><Relationship Id="rId21" Type="http://schemas.openxmlformats.org/officeDocument/2006/relationships/image" Target="../media/image94.png"/><Relationship Id="rId34" Type="http://schemas.openxmlformats.org/officeDocument/2006/relationships/image" Target="../media/image107.png"/><Relationship Id="rId42" Type="http://schemas.openxmlformats.org/officeDocument/2006/relationships/image" Target="../media/image115.png"/><Relationship Id="rId47" Type="http://schemas.openxmlformats.org/officeDocument/2006/relationships/image" Target="../media/image120.png"/><Relationship Id="rId50" Type="http://schemas.openxmlformats.org/officeDocument/2006/relationships/image" Target="../media/image123.png"/><Relationship Id="rId7" Type="http://schemas.openxmlformats.org/officeDocument/2006/relationships/image" Target="../media/image80.png"/><Relationship Id="rId2" Type="http://schemas.openxmlformats.org/officeDocument/2006/relationships/image" Target="../media/image75.png"/><Relationship Id="rId16" Type="http://schemas.openxmlformats.org/officeDocument/2006/relationships/image" Target="../media/image89.png"/><Relationship Id="rId29" Type="http://schemas.openxmlformats.org/officeDocument/2006/relationships/image" Target="../media/image102.png"/><Relationship Id="rId11" Type="http://schemas.openxmlformats.org/officeDocument/2006/relationships/image" Target="../media/image84.png"/><Relationship Id="rId24" Type="http://schemas.openxmlformats.org/officeDocument/2006/relationships/image" Target="../media/image97.png"/><Relationship Id="rId32" Type="http://schemas.openxmlformats.org/officeDocument/2006/relationships/image" Target="../media/image105.png"/><Relationship Id="rId37" Type="http://schemas.openxmlformats.org/officeDocument/2006/relationships/image" Target="../media/image110.png"/><Relationship Id="rId40" Type="http://schemas.openxmlformats.org/officeDocument/2006/relationships/image" Target="../media/image113.jpeg"/><Relationship Id="rId45" Type="http://schemas.openxmlformats.org/officeDocument/2006/relationships/image" Target="../media/image118.png"/><Relationship Id="rId5" Type="http://schemas.openxmlformats.org/officeDocument/2006/relationships/image" Target="../media/image78.png"/><Relationship Id="rId15" Type="http://schemas.openxmlformats.org/officeDocument/2006/relationships/image" Target="../media/image88.png"/><Relationship Id="rId23" Type="http://schemas.openxmlformats.org/officeDocument/2006/relationships/image" Target="../media/image96.png"/><Relationship Id="rId28" Type="http://schemas.openxmlformats.org/officeDocument/2006/relationships/image" Target="../media/image101.png"/><Relationship Id="rId36" Type="http://schemas.openxmlformats.org/officeDocument/2006/relationships/image" Target="../media/image109.png"/><Relationship Id="rId49" Type="http://schemas.openxmlformats.org/officeDocument/2006/relationships/image" Target="../media/image122.png"/><Relationship Id="rId10" Type="http://schemas.openxmlformats.org/officeDocument/2006/relationships/image" Target="../media/image83.png"/><Relationship Id="rId19" Type="http://schemas.openxmlformats.org/officeDocument/2006/relationships/image" Target="../media/image92.png"/><Relationship Id="rId31" Type="http://schemas.openxmlformats.org/officeDocument/2006/relationships/image" Target="../media/image104.png"/><Relationship Id="rId44" Type="http://schemas.openxmlformats.org/officeDocument/2006/relationships/image" Target="../media/image117.png"/><Relationship Id="rId4" Type="http://schemas.openxmlformats.org/officeDocument/2006/relationships/image" Target="../media/image77.png"/><Relationship Id="rId9" Type="http://schemas.openxmlformats.org/officeDocument/2006/relationships/image" Target="../media/image82.png"/><Relationship Id="rId14" Type="http://schemas.openxmlformats.org/officeDocument/2006/relationships/image" Target="../media/image87.png"/><Relationship Id="rId22" Type="http://schemas.openxmlformats.org/officeDocument/2006/relationships/image" Target="../media/image95.png"/><Relationship Id="rId27" Type="http://schemas.openxmlformats.org/officeDocument/2006/relationships/image" Target="../media/image100.png"/><Relationship Id="rId30" Type="http://schemas.openxmlformats.org/officeDocument/2006/relationships/image" Target="../media/image103.png"/><Relationship Id="rId35" Type="http://schemas.openxmlformats.org/officeDocument/2006/relationships/image" Target="../media/image108.png"/><Relationship Id="rId43" Type="http://schemas.openxmlformats.org/officeDocument/2006/relationships/image" Target="../media/image116.jpeg"/><Relationship Id="rId48" Type="http://schemas.openxmlformats.org/officeDocument/2006/relationships/image" Target="../media/image121.png"/><Relationship Id="rId8" Type="http://schemas.openxmlformats.org/officeDocument/2006/relationships/image" Target="../media/image81.png"/><Relationship Id="rId51" Type="http://schemas.openxmlformats.org/officeDocument/2006/relationships/image" Target="../media/image124.png"/><Relationship Id="rId3" Type="http://schemas.openxmlformats.org/officeDocument/2006/relationships/image" Target="../media/image76.png"/><Relationship Id="rId12" Type="http://schemas.openxmlformats.org/officeDocument/2006/relationships/image" Target="../media/image85.png"/><Relationship Id="rId17" Type="http://schemas.openxmlformats.org/officeDocument/2006/relationships/image" Target="../media/image90.png"/><Relationship Id="rId25" Type="http://schemas.openxmlformats.org/officeDocument/2006/relationships/image" Target="../media/image98.png"/><Relationship Id="rId33" Type="http://schemas.openxmlformats.org/officeDocument/2006/relationships/image" Target="../media/image106.png"/><Relationship Id="rId38" Type="http://schemas.openxmlformats.org/officeDocument/2006/relationships/image" Target="../media/image111.png"/><Relationship Id="rId46" Type="http://schemas.openxmlformats.org/officeDocument/2006/relationships/image" Target="../media/image119.png"/><Relationship Id="rId20" Type="http://schemas.openxmlformats.org/officeDocument/2006/relationships/image" Target="../media/image93.png"/><Relationship Id="rId41" Type="http://schemas.openxmlformats.org/officeDocument/2006/relationships/image" Target="../media/image11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5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svg"/><Relationship Id="rId3" Type="http://schemas.openxmlformats.org/officeDocument/2006/relationships/image" Target="../media/image2.png"/><Relationship Id="rId7" Type="http://schemas.openxmlformats.org/officeDocument/2006/relationships/image" Target="../media/image130.png"/><Relationship Id="rId2" Type="http://schemas.openxmlformats.org/officeDocument/2006/relationships/image" Target="../media/image127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9.svg"/><Relationship Id="rId5" Type="http://schemas.openxmlformats.org/officeDocument/2006/relationships/image" Target="../media/image128.png"/><Relationship Id="rId4" Type="http://schemas.openxmlformats.org/officeDocument/2006/relationships/image" Target="../media/image3.sv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2.jpeg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microsoft.com/office/2018/10/relationships/comments" Target="../comments/modernComment_2BB_C926FD4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42.png"/><Relationship Id="rId3" Type="http://schemas.openxmlformats.org/officeDocument/2006/relationships/image" Target="../media/image33.jpeg"/><Relationship Id="rId7" Type="http://schemas.openxmlformats.org/officeDocument/2006/relationships/image" Target="../media/image36.png"/><Relationship Id="rId12" Type="http://schemas.openxmlformats.org/officeDocument/2006/relationships/image" Target="../media/image41.sv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5.svg"/><Relationship Id="rId11" Type="http://schemas.openxmlformats.org/officeDocument/2006/relationships/image" Target="../media/image40.png"/><Relationship Id="rId5" Type="http://schemas.openxmlformats.org/officeDocument/2006/relationships/image" Target="../media/image2.png"/><Relationship Id="rId10" Type="http://schemas.openxmlformats.org/officeDocument/2006/relationships/image" Target="../media/image39.svg"/><Relationship Id="rId4" Type="http://schemas.openxmlformats.org/officeDocument/2006/relationships/image" Target="../media/image34.jpeg"/><Relationship Id="rId9" Type="http://schemas.openxmlformats.org/officeDocument/2006/relationships/image" Target="../media/image38.png"/><Relationship Id="rId14" Type="http://schemas.openxmlformats.org/officeDocument/2006/relationships/image" Target="../media/image4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6" descr="Ein Bild, das Text, Flugzeug enthält.&#10;&#10;Automatisch generierte Beschreibung">
            <a:extLst>
              <a:ext uri="{FF2B5EF4-FFF2-40B4-BE49-F238E27FC236}">
                <a16:creationId xmlns:a16="http://schemas.microsoft.com/office/drawing/2014/main" id="{06ADAF18-080E-48CA-A4E4-292B96163AA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57841"/>
            <a:ext cx="9144000" cy="4084637"/>
          </a:xfr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D8414475-E712-400C-8F84-AB41FC26B2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724" y="-287696"/>
            <a:ext cx="4394163" cy="1421928"/>
          </a:xfrm>
        </p:spPr>
        <p:txBody>
          <a:bodyPr/>
          <a:lstStyle/>
          <a:p>
            <a:r>
              <a:rPr lang="de-DE" dirty="0"/>
              <a:t>Condor NA Tea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AF0DD0B-0564-8888-F980-11ACE26D9BC2}"/>
              </a:ext>
            </a:extLst>
          </p:cNvPr>
          <p:cNvSpPr txBox="1"/>
          <p:nvPr/>
        </p:nvSpPr>
        <p:spPr>
          <a:xfrm>
            <a:off x="2310463" y="2074006"/>
            <a:ext cx="339746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 dirty="0"/>
              <a:t>Mikko Turtiainen – Director of Sales, the America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C7841B-5F9C-CE94-8860-EC51CE1DB447}"/>
              </a:ext>
            </a:extLst>
          </p:cNvPr>
          <p:cNvSpPr txBox="1"/>
          <p:nvPr/>
        </p:nvSpPr>
        <p:spPr>
          <a:xfrm>
            <a:off x="2310463" y="3283208"/>
            <a:ext cx="319709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 dirty="0"/>
              <a:t>Christian Cirillo – Sales Manager, the Americas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ACFF958-88E1-FBDB-5DFB-241F7E288E4B}"/>
              </a:ext>
            </a:extLst>
          </p:cNvPr>
          <p:cNvSpPr/>
          <p:nvPr/>
        </p:nvSpPr>
        <p:spPr>
          <a:xfrm>
            <a:off x="1174645" y="1654631"/>
            <a:ext cx="1004341" cy="1023417"/>
          </a:xfrm>
          <a:prstGeom prst="ellipse">
            <a:avLst/>
          </a:prstGeom>
          <a:blipFill>
            <a:blip r:embed="rId3"/>
            <a:stretch>
              <a:fillRect l="-771" t="-1320" r="-431" b="116"/>
            </a:stretch>
          </a:blipFill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88EC01D-4BC3-CB10-DC28-136592A3B37A}"/>
              </a:ext>
            </a:extLst>
          </p:cNvPr>
          <p:cNvSpPr/>
          <p:nvPr/>
        </p:nvSpPr>
        <p:spPr>
          <a:xfrm>
            <a:off x="1148867" y="2863833"/>
            <a:ext cx="1004341" cy="1023417"/>
          </a:xfrm>
          <a:prstGeom prst="ellipse">
            <a:avLst/>
          </a:prstGeom>
          <a:blipFill>
            <a:blip r:embed="rId4"/>
            <a:stretch>
              <a:fillRect l="-3939" t="-13787" r="-8733" b="1115"/>
            </a:stretch>
          </a:blip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F33AA16-1C48-47AC-0539-610D1CFF0311}"/>
              </a:ext>
            </a:extLst>
          </p:cNvPr>
          <p:cNvSpPr/>
          <p:nvPr/>
        </p:nvSpPr>
        <p:spPr>
          <a:xfrm>
            <a:off x="1174645" y="4073035"/>
            <a:ext cx="1004341" cy="1023417"/>
          </a:xfrm>
          <a:prstGeom prst="ellipse">
            <a:avLst/>
          </a:prstGeom>
          <a:blipFill dpi="0" rotWithShape="1">
            <a:blip r:embed="rId5"/>
            <a:srcRect/>
            <a:stretch>
              <a:fillRect/>
            </a:stretch>
          </a:blip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4C458E-95ED-7A21-379A-02E693106EF5}"/>
              </a:ext>
            </a:extLst>
          </p:cNvPr>
          <p:cNvSpPr txBox="1"/>
          <p:nvPr/>
        </p:nvSpPr>
        <p:spPr>
          <a:xfrm>
            <a:off x="2310463" y="4492410"/>
            <a:ext cx="30180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200" dirty="0"/>
              <a:t>Silvia Funke - Sales Manager, The Americas</a:t>
            </a:r>
          </a:p>
        </p:txBody>
      </p:sp>
    </p:spTree>
    <p:extLst>
      <p:ext uri="{BB962C8B-B14F-4D97-AF65-F5344CB8AC3E}">
        <p14:creationId xmlns:p14="http://schemas.microsoft.com/office/powerpoint/2010/main" val="410751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5FADA03F-A886-B2C8-7BE1-741C9E9558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605328" y="1556856"/>
            <a:ext cx="4034673" cy="2750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0A8AA47-7EFA-F554-E3E9-BBD19A30964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03238" y="1556856"/>
            <a:ext cx="4034673" cy="27504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D899076-D56E-759D-A4E5-4B11D08434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7343774" y="286141"/>
            <a:ext cx="1297421" cy="21914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7167E04-B2DB-632E-38D8-4FE549DC3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90513"/>
            <a:ext cx="6478587" cy="492443"/>
          </a:xfrm>
        </p:spPr>
        <p:txBody>
          <a:bodyPr/>
          <a:lstStyle/>
          <a:p>
            <a:pPr lvl="0"/>
            <a:r>
              <a:rPr lang="en-US" noProof="0"/>
              <a:t>Our Fleet: Airbus A330neo</a:t>
            </a:r>
            <a:br>
              <a:rPr lang="en-US" noProof="0"/>
            </a:br>
            <a:r>
              <a:rPr lang="en-US" b="0" noProof="0"/>
              <a:t>Premium Economy Class</a:t>
            </a:r>
          </a:p>
        </p:txBody>
      </p:sp>
      <p:cxnSp>
        <p:nvCxnSpPr>
          <p:cNvPr id="8" name="Gerade Verbindung 9">
            <a:extLst>
              <a:ext uri="{FF2B5EF4-FFF2-40B4-BE49-F238E27FC236}">
                <a16:creationId xmlns:a16="http://schemas.microsoft.com/office/drawing/2014/main" id="{E6E886A4-6B2A-8BA4-E237-B7A5F056B8B2}"/>
              </a:ext>
            </a:extLst>
          </p:cNvPr>
          <p:cNvCxnSpPr>
            <a:cxnSpLocks/>
          </p:cNvCxnSpPr>
          <p:nvPr/>
        </p:nvCxnSpPr>
        <p:spPr bwMode="gray">
          <a:xfrm>
            <a:off x="507037" y="812800"/>
            <a:ext cx="8132964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E65E167-5A60-A3A8-16BD-39EC96ED6D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dor Sales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220BE4-74DE-BDA1-FB17-D90D8F6E81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C1238E5F-BF35-42A5-A94E-68B816B46E96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38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31 L 2.5E-6 3.95062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1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31 L -2.5E-6 3.95062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583EFB6-EB9A-D72F-50BB-66D6E527DEE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977" r="9243"/>
          <a:stretch/>
        </p:blipFill>
        <p:spPr bwMode="gray">
          <a:xfrm>
            <a:off x="4600576" y="1706565"/>
            <a:ext cx="4543423" cy="3097210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E8DE7B50-B7B3-8E86-3E05-69AB25D0A4B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009" r="9627"/>
          <a:stretch/>
        </p:blipFill>
        <p:spPr bwMode="gray">
          <a:xfrm>
            <a:off x="-1" y="1706565"/>
            <a:ext cx="4543423" cy="3097210"/>
          </a:xfrm>
          <a:prstGeom prst="rect">
            <a:avLst/>
          </a:prstGeom>
        </p:spPr>
      </p:pic>
      <p:pic>
        <p:nvPicPr>
          <p:cNvPr id="6" name="Grafik 3">
            <a:extLst>
              <a:ext uri="{FF2B5EF4-FFF2-40B4-BE49-F238E27FC236}">
                <a16:creationId xmlns:a16="http://schemas.microsoft.com/office/drawing/2014/main" id="{C3EC00BE-213C-81D1-3E4C-4BCD8311BF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7343774" y="286141"/>
            <a:ext cx="1297421" cy="219146"/>
          </a:xfrm>
          <a:prstGeom prst="rect">
            <a:avLst/>
          </a:prstGeom>
        </p:spPr>
      </p:pic>
      <p:sp>
        <p:nvSpPr>
          <p:cNvPr id="7" name="Titel 5">
            <a:extLst>
              <a:ext uri="{FF2B5EF4-FFF2-40B4-BE49-F238E27FC236}">
                <a16:creationId xmlns:a16="http://schemas.microsoft.com/office/drawing/2014/main" id="{2C359686-A173-98B4-BE64-EB229E273EDE}"/>
              </a:ext>
            </a:extLst>
          </p:cNvPr>
          <p:cNvSpPr txBox="1">
            <a:spLocks/>
          </p:cNvSpPr>
          <p:nvPr/>
        </p:nvSpPr>
        <p:spPr>
          <a:xfrm>
            <a:off x="503238" y="290513"/>
            <a:ext cx="6478587" cy="49244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Our Fleet Airbus A330neo</a:t>
            </a:r>
            <a:br>
              <a:rPr lang="en-US"/>
            </a:br>
            <a:r>
              <a:rPr lang="en-US" b="0"/>
              <a:t>Business Class</a:t>
            </a:r>
            <a:endParaRPr lang="en-US" b="0" dirty="0"/>
          </a:p>
        </p:txBody>
      </p:sp>
      <p:cxnSp>
        <p:nvCxnSpPr>
          <p:cNvPr id="8" name="Gerade Verbindung 9">
            <a:extLst>
              <a:ext uri="{FF2B5EF4-FFF2-40B4-BE49-F238E27FC236}">
                <a16:creationId xmlns:a16="http://schemas.microsoft.com/office/drawing/2014/main" id="{B5D58F71-9F77-1FF3-22C9-0DF8684A8CAF}"/>
              </a:ext>
            </a:extLst>
          </p:cNvPr>
          <p:cNvCxnSpPr>
            <a:cxnSpLocks/>
          </p:cNvCxnSpPr>
          <p:nvPr/>
        </p:nvCxnSpPr>
        <p:spPr bwMode="gray">
          <a:xfrm>
            <a:off x="507037" y="812800"/>
            <a:ext cx="8132964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779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31 L 2.5E-6 3.95062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1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31 L -2.5E-6 3.95062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CA7F6507-CEDD-0D18-B23B-F79291C28F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84BB5D1B-4546-9BC4-087F-8B5FF9E2D2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7343774" y="286141"/>
            <a:ext cx="1297421" cy="219146"/>
          </a:xfrm>
          <a:prstGeom prst="rect">
            <a:avLst/>
          </a:prstGeom>
        </p:spPr>
      </p:pic>
      <p:grpSp>
        <p:nvGrpSpPr>
          <p:cNvPr id="24" name="PLUS Bett+Fußraum">
            <a:extLst>
              <a:ext uri="{FF2B5EF4-FFF2-40B4-BE49-F238E27FC236}">
                <a16:creationId xmlns:a16="http://schemas.microsoft.com/office/drawing/2014/main" id="{2A3EA02F-3367-25E6-B46C-CE6FA81C05D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790933" y="2681043"/>
            <a:ext cx="281708" cy="281708"/>
            <a:chOff x="11210189" y="6389349"/>
            <a:chExt cx="751773" cy="751773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AF7C2CAC-C64E-710E-97C7-BB7A5C5E10BE}"/>
                </a:ext>
              </a:extLst>
            </p:cNvPr>
            <p:cNvSpPr/>
            <p:nvPr/>
          </p:nvSpPr>
          <p:spPr bwMode="gray">
            <a:xfrm>
              <a:off x="11210189" y="6389349"/>
              <a:ext cx="751773" cy="751773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03390E24-2586-F1F6-447B-1E7AD714CFBB}"/>
                </a:ext>
              </a:extLst>
            </p:cNvPr>
            <p:cNvGrpSpPr/>
            <p:nvPr/>
          </p:nvGrpSpPr>
          <p:grpSpPr bwMode="gray">
            <a:xfrm>
              <a:off x="11414792" y="6593952"/>
              <a:ext cx="342566" cy="342566"/>
              <a:chOff x="10920715" y="3106347"/>
              <a:chExt cx="685131" cy="685131"/>
            </a:xfrm>
          </p:grpSpPr>
          <p:cxnSp>
            <p:nvCxnSpPr>
              <p:cNvPr id="27" name="Gerader Verbinder 26">
                <a:extLst>
                  <a:ext uri="{FF2B5EF4-FFF2-40B4-BE49-F238E27FC236}">
                    <a16:creationId xmlns:a16="http://schemas.microsoft.com/office/drawing/2014/main" id="{0BA2FF81-543F-007D-7D43-7CF44A065E0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0920715" y="3448913"/>
                <a:ext cx="685131" cy="0"/>
              </a:xfrm>
              <a:prstGeom prst="line">
                <a:avLst/>
              </a:prstGeom>
              <a:ln w="317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r Verbinder 27">
                <a:extLst>
                  <a:ext uri="{FF2B5EF4-FFF2-40B4-BE49-F238E27FC236}">
                    <a16:creationId xmlns:a16="http://schemas.microsoft.com/office/drawing/2014/main" id="{FF058574-D159-E4C2-196C-88C48E870D1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rot="5400000">
                <a:off x="10920715" y="3448913"/>
                <a:ext cx="685131" cy="0"/>
              </a:xfrm>
              <a:prstGeom prst="line">
                <a:avLst/>
              </a:prstGeom>
              <a:ln w="317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6" name="PLUS Gegenüber Sitz">
            <a:extLst>
              <a:ext uri="{FF2B5EF4-FFF2-40B4-BE49-F238E27FC236}">
                <a16:creationId xmlns:a16="http://schemas.microsoft.com/office/drawing/2014/main" id="{5E6C7E72-C584-3AFC-985D-65CC3283D7C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704216" y="3457427"/>
            <a:ext cx="281708" cy="281708"/>
            <a:chOff x="11210189" y="6389349"/>
            <a:chExt cx="751773" cy="751773"/>
          </a:xfrm>
        </p:grpSpPr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D0EBB69D-D3EF-BAF7-D131-156FD389BAF8}"/>
                </a:ext>
              </a:extLst>
            </p:cNvPr>
            <p:cNvSpPr/>
            <p:nvPr/>
          </p:nvSpPr>
          <p:spPr bwMode="gray">
            <a:xfrm>
              <a:off x="11210189" y="6389349"/>
              <a:ext cx="751773" cy="751773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C7308C2B-13DE-1EFB-C261-CF624A54DB36}"/>
                </a:ext>
              </a:extLst>
            </p:cNvPr>
            <p:cNvGrpSpPr/>
            <p:nvPr/>
          </p:nvGrpSpPr>
          <p:grpSpPr bwMode="gray">
            <a:xfrm>
              <a:off x="11414792" y="6593952"/>
              <a:ext cx="342566" cy="342566"/>
              <a:chOff x="10920715" y="3106347"/>
              <a:chExt cx="685131" cy="685131"/>
            </a:xfrm>
          </p:grpSpPr>
          <p:cxnSp>
            <p:nvCxnSpPr>
              <p:cNvPr id="39" name="Gerader Verbinder 38">
                <a:extLst>
                  <a:ext uri="{FF2B5EF4-FFF2-40B4-BE49-F238E27FC236}">
                    <a16:creationId xmlns:a16="http://schemas.microsoft.com/office/drawing/2014/main" id="{D60C8A86-F10E-AC07-D37F-D2A384AB428D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0920715" y="3448913"/>
                <a:ext cx="685131" cy="0"/>
              </a:xfrm>
              <a:prstGeom prst="line">
                <a:avLst/>
              </a:prstGeom>
              <a:ln w="317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>
                <a:extLst>
                  <a:ext uri="{FF2B5EF4-FFF2-40B4-BE49-F238E27FC236}">
                    <a16:creationId xmlns:a16="http://schemas.microsoft.com/office/drawing/2014/main" id="{1FE0BBFA-DBEA-0A70-4069-8F24195E5056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rot="5400000">
                <a:off x="10920715" y="3448913"/>
                <a:ext cx="685131" cy="0"/>
              </a:xfrm>
              <a:prstGeom prst="line">
                <a:avLst/>
              </a:prstGeom>
              <a:ln w="317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1" name="PLUS Pyjama">
            <a:extLst>
              <a:ext uri="{FF2B5EF4-FFF2-40B4-BE49-F238E27FC236}">
                <a16:creationId xmlns:a16="http://schemas.microsoft.com/office/drawing/2014/main" id="{1675117F-C307-E80A-AD51-49BA489D5CDF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257286" y="3119687"/>
            <a:ext cx="281708" cy="281708"/>
            <a:chOff x="11210189" y="6389349"/>
            <a:chExt cx="751773" cy="751773"/>
          </a:xfrm>
        </p:grpSpPr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9DBA7E93-C636-24DC-B4F0-7BD51E583105}"/>
                </a:ext>
              </a:extLst>
            </p:cNvPr>
            <p:cNvSpPr/>
            <p:nvPr/>
          </p:nvSpPr>
          <p:spPr bwMode="gray">
            <a:xfrm>
              <a:off x="11210189" y="6389349"/>
              <a:ext cx="751773" cy="751773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C7F4391A-5287-4F86-8AA6-6F4C0D4B265A}"/>
                </a:ext>
              </a:extLst>
            </p:cNvPr>
            <p:cNvGrpSpPr/>
            <p:nvPr/>
          </p:nvGrpSpPr>
          <p:grpSpPr bwMode="gray">
            <a:xfrm>
              <a:off x="11414792" y="6593952"/>
              <a:ext cx="342566" cy="342566"/>
              <a:chOff x="10920715" y="3106347"/>
              <a:chExt cx="685131" cy="685131"/>
            </a:xfrm>
          </p:grpSpPr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6D778F96-74BF-8A4B-5D26-AF2523B3408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0920715" y="3448913"/>
                <a:ext cx="685131" cy="0"/>
              </a:xfrm>
              <a:prstGeom prst="line">
                <a:avLst/>
              </a:prstGeom>
              <a:ln w="317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E3CDF7C3-A233-6C62-6363-2B94AA52DEE5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rot="5400000">
                <a:off x="10920715" y="3448913"/>
                <a:ext cx="685131" cy="0"/>
              </a:xfrm>
              <a:prstGeom prst="line">
                <a:avLst/>
              </a:prstGeom>
              <a:ln w="317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6" name="PLUS Kino">
            <a:extLst>
              <a:ext uri="{FF2B5EF4-FFF2-40B4-BE49-F238E27FC236}">
                <a16:creationId xmlns:a16="http://schemas.microsoft.com/office/drawing/2014/main" id="{B347A8E8-167E-04E3-7396-1C8C3B83477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469737" y="1787078"/>
            <a:ext cx="281708" cy="281708"/>
            <a:chOff x="11210189" y="6389349"/>
            <a:chExt cx="751773" cy="751773"/>
          </a:xfrm>
        </p:grpSpPr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47D3ABD7-EE6A-D87A-9E7E-BB86636D972C}"/>
                </a:ext>
              </a:extLst>
            </p:cNvPr>
            <p:cNvSpPr/>
            <p:nvPr/>
          </p:nvSpPr>
          <p:spPr bwMode="gray">
            <a:xfrm>
              <a:off x="11210189" y="6389349"/>
              <a:ext cx="751773" cy="751773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C6C103ED-E2B0-5F99-8BDE-FB2CD15B2F7C}"/>
                </a:ext>
              </a:extLst>
            </p:cNvPr>
            <p:cNvGrpSpPr/>
            <p:nvPr/>
          </p:nvGrpSpPr>
          <p:grpSpPr bwMode="gray">
            <a:xfrm>
              <a:off x="11414792" y="6593952"/>
              <a:ext cx="342566" cy="342566"/>
              <a:chOff x="10920715" y="3106347"/>
              <a:chExt cx="685131" cy="685131"/>
            </a:xfrm>
          </p:grpSpPr>
          <p:cxnSp>
            <p:nvCxnSpPr>
              <p:cNvPr id="49" name="Gerader Verbinder 48">
                <a:extLst>
                  <a:ext uri="{FF2B5EF4-FFF2-40B4-BE49-F238E27FC236}">
                    <a16:creationId xmlns:a16="http://schemas.microsoft.com/office/drawing/2014/main" id="{57781CCB-8ED8-3C9A-AEA8-F429B04827E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0920715" y="3448913"/>
                <a:ext cx="685131" cy="0"/>
              </a:xfrm>
              <a:prstGeom prst="line">
                <a:avLst/>
              </a:prstGeom>
              <a:ln w="317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r Verbinder 49">
                <a:extLst>
                  <a:ext uri="{FF2B5EF4-FFF2-40B4-BE49-F238E27FC236}">
                    <a16:creationId xmlns:a16="http://schemas.microsoft.com/office/drawing/2014/main" id="{4765BAE8-1CDC-EB3F-486A-59AB35D2266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rot="5400000">
                <a:off x="10920715" y="3448913"/>
                <a:ext cx="685131" cy="0"/>
              </a:xfrm>
              <a:prstGeom prst="line">
                <a:avLst/>
              </a:prstGeom>
              <a:ln w="317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1" name="PLUS Chat">
            <a:extLst>
              <a:ext uri="{FF2B5EF4-FFF2-40B4-BE49-F238E27FC236}">
                <a16:creationId xmlns:a16="http://schemas.microsoft.com/office/drawing/2014/main" id="{62628AA0-22FD-3E43-83A8-F38AD9C3BDE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647121" y="1827511"/>
            <a:ext cx="281708" cy="281708"/>
            <a:chOff x="11210189" y="6389349"/>
            <a:chExt cx="751773" cy="751773"/>
          </a:xfrm>
        </p:grpSpPr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17721197-D8F6-CBEF-9C15-A893D01B83C4}"/>
                </a:ext>
              </a:extLst>
            </p:cNvPr>
            <p:cNvSpPr/>
            <p:nvPr/>
          </p:nvSpPr>
          <p:spPr bwMode="gray">
            <a:xfrm>
              <a:off x="11210189" y="6389349"/>
              <a:ext cx="751773" cy="751773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72BC1C02-71E5-1FF3-3EAA-05B3CC530A75}"/>
                </a:ext>
              </a:extLst>
            </p:cNvPr>
            <p:cNvGrpSpPr/>
            <p:nvPr/>
          </p:nvGrpSpPr>
          <p:grpSpPr bwMode="gray">
            <a:xfrm>
              <a:off x="11414792" y="6593952"/>
              <a:ext cx="342566" cy="342566"/>
              <a:chOff x="10920715" y="3106347"/>
              <a:chExt cx="685131" cy="685131"/>
            </a:xfrm>
          </p:grpSpPr>
          <p:cxnSp>
            <p:nvCxnSpPr>
              <p:cNvPr id="54" name="Gerader Verbinder 53">
                <a:extLst>
                  <a:ext uri="{FF2B5EF4-FFF2-40B4-BE49-F238E27FC236}">
                    <a16:creationId xmlns:a16="http://schemas.microsoft.com/office/drawing/2014/main" id="{A09FA5B8-0F52-CD87-ED3A-ACAA651A659D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0920715" y="3448913"/>
                <a:ext cx="685131" cy="0"/>
              </a:xfrm>
              <a:prstGeom prst="line">
                <a:avLst/>
              </a:prstGeom>
              <a:ln w="317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r Verbinder 54">
                <a:extLst>
                  <a:ext uri="{FF2B5EF4-FFF2-40B4-BE49-F238E27FC236}">
                    <a16:creationId xmlns:a16="http://schemas.microsoft.com/office/drawing/2014/main" id="{9B050593-3C21-CD87-F69B-0A231837815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rot="5400000">
                <a:off x="10920715" y="3448913"/>
                <a:ext cx="685131" cy="0"/>
              </a:xfrm>
              <a:prstGeom prst="line">
                <a:avLst/>
              </a:prstGeom>
              <a:ln w="317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6" name="PLUS Snack">
            <a:extLst>
              <a:ext uri="{FF2B5EF4-FFF2-40B4-BE49-F238E27FC236}">
                <a16:creationId xmlns:a16="http://schemas.microsoft.com/office/drawing/2014/main" id="{7319DC27-EA67-3C8F-B028-4F59DB37CE7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742531" y="4178006"/>
            <a:ext cx="281708" cy="281708"/>
            <a:chOff x="11210189" y="6389349"/>
            <a:chExt cx="751773" cy="751773"/>
          </a:xfrm>
        </p:grpSpPr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8EEA0E5C-E572-F652-EA61-E6490BB41AED}"/>
                </a:ext>
              </a:extLst>
            </p:cNvPr>
            <p:cNvSpPr/>
            <p:nvPr/>
          </p:nvSpPr>
          <p:spPr bwMode="gray">
            <a:xfrm>
              <a:off x="11210189" y="6389349"/>
              <a:ext cx="751773" cy="751773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58" name="Gruppieren 57">
              <a:extLst>
                <a:ext uri="{FF2B5EF4-FFF2-40B4-BE49-F238E27FC236}">
                  <a16:creationId xmlns:a16="http://schemas.microsoft.com/office/drawing/2014/main" id="{BD3AB72D-64E6-C019-6D4B-94BA58ADDBBB}"/>
                </a:ext>
              </a:extLst>
            </p:cNvPr>
            <p:cNvGrpSpPr/>
            <p:nvPr/>
          </p:nvGrpSpPr>
          <p:grpSpPr bwMode="gray">
            <a:xfrm>
              <a:off x="11414792" y="6593952"/>
              <a:ext cx="342566" cy="342566"/>
              <a:chOff x="10920715" y="3106347"/>
              <a:chExt cx="685131" cy="685131"/>
            </a:xfrm>
          </p:grpSpPr>
          <p:cxnSp>
            <p:nvCxnSpPr>
              <p:cNvPr id="59" name="Gerader Verbinder 58">
                <a:extLst>
                  <a:ext uri="{FF2B5EF4-FFF2-40B4-BE49-F238E27FC236}">
                    <a16:creationId xmlns:a16="http://schemas.microsoft.com/office/drawing/2014/main" id="{F04C55CF-DFDA-6C3B-33AC-56B73DE3AF24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0920715" y="3448913"/>
                <a:ext cx="685131" cy="0"/>
              </a:xfrm>
              <a:prstGeom prst="line">
                <a:avLst/>
              </a:prstGeom>
              <a:ln w="317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r Verbinder 59">
                <a:extLst>
                  <a:ext uri="{FF2B5EF4-FFF2-40B4-BE49-F238E27FC236}">
                    <a16:creationId xmlns:a16="http://schemas.microsoft.com/office/drawing/2014/main" id="{043CA62F-0FEA-D5F3-978F-E44F07B35B7F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rot="5400000">
                <a:off x="10920715" y="3448913"/>
                <a:ext cx="685131" cy="0"/>
              </a:xfrm>
              <a:prstGeom prst="line">
                <a:avLst/>
              </a:prstGeom>
              <a:ln w="317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A126B99D-6B33-7F36-5DEC-437CCEA21CCE}"/>
              </a:ext>
            </a:extLst>
          </p:cNvPr>
          <p:cNvGrpSpPr/>
          <p:nvPr/>
        </p:nvGrpSpPr>
        <p:grpSpPr bwMode="gray">
          <a:xfrm>
            <a:off x="3252191" y="1747337"/>
            <a:ext cx="2967741" cy="1491349"/>
            <a:chOff x="2884418" y="1112039"/>
            <a:chExt cx="2967741" cy="1491349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A88A1775-3C02-2D45-29CE-838B720A2F44}"/>
                </a:ext>
              </a:extLst>
            </p:cNvPr>
            <p:cNvSpPr/>
            <p:nvPr/>
          </p:nvSpPr>
          <p:spPr bwMode="gray">
            <a:xfrm>
              <a:off x="2884418" y="1112039"/>
              <a:ext cx="2967741" cy="1491349"/>
            </a:xfrm>
            <a:prstGeom prst="rect">
              <a:avLst/>
            </a:prstGeom>
            <a:gradFill flip="none" rotWithShape="1">
              <a:gsLst>
                <a:gs pos="80000">
                  <a:srgbClr val="FFFFFF">
                    <a:alpha val="50000"/>
                  </a:srgbClr>
                </a:gs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CA265C51-DF1C-31D7-4957-3386DE588CE8}"/>
                </a:ext>
              </a:extLst>
            </p:cNvPr>
            <p:cNvSpPr txBox="1"/>
            <p:nvPr/>
          </p:nvSpPr>
          <p:spPr bwMode="gray">
            <a:xfrm>
              <a:off x="3808927" y="1511464"/>
              <a:ext cx="1404226" cy="6924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arger bed and wider legroom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ven more space to stretch out</a:t>
              </a: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B51A6280-9439-DFDF-8FB0-0C489CFC259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707" t="13957" r="28894"/>
          <a:stretch/>
        </p:blipFill>
        <p:spPr bwMode="gray">
          <a:xfrm>
            <a:off x="2158706" y="1593011"/>
            <a:ext cx="1800000" cy="1800000"/>
          </a:xfrm>
          <a:prstGeom prst="ellipse">
            <a:avLst/>
          </a:prstGeom>
          <a:ln>
            <a:solidFill>
              <a:schemeClr val="accent2"/>
            </a:solidFill>
          </a:ln>
        </p:spPr>
      </p:pic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742A9078-B465-E916-C900-2BB4FA1CD022}"/>
              </a:ext>
            </a:extLst>
          </p:cNvPr>
          <p:cNvGrpSpPr/>
          <p:nvPr/>
        </p:nvGrpSpPr>
        <p:grpSpPr bwMode="gray">
          <a:xfrm>
            <a:off x="3537369" y="2609002"/>
            <a:ext cx="2967741" cy="1491349"/>
            <a:chOff x="2884418" y="1112039"/>
            <a:chExt cx="2967741" cy="1491349"/>
          </a:xfrm>
        </p:grpSpPr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BCB32200-1EDE-C98C-6B0F-5764B2E0AA1F}"/>
                </a:ext>
              </a:extLst>
            </p:cNvPr>
            <p:cNvSpPr/>
            <p:nvPr/>
          </p:nvSpPr>
          <p:spPr bwMode="gray">
            <a:xfrm>
              <a:off x="2884418" y="1112039"/>
              <a:ext cx="2967741" cy="1491349"/>
            </a:xfrm>
            <a:prstGeom prst="rect">
              <a:avLst/>
            </a:prstGeom>
            <a:gradFill flip="none" rotWithShape="1">
              <a:gsLst>
                <a:gs pos="80000">
                  <a:srgbClr val="FFFFFF">
                    <a:alpha val="50000"/>
                  </a:srgbClr>
                </a:gs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3DD1510D-FC0A-C60F-4D0C-F1C2F26C05CB}"/>
                </a:ext>
              </a:extLst>
            </p:cNvPr>
            <p:cNvSpPr txBox="1"/>
            <p:nvPr/>
          </p:nvSpPr>
          <p:spPr bwMode="gray">
            <a:xfrm>
              <a:off x="3808927" y="1673047"/>
              <a:ext cx="140422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nack basket included</a:t>
              </a:r>
            </a:p>
          </p:txBody>
        </p:sp>
      </p:grpSp>
      <p:pic>
        <p:nvPicPr>
          <p:cNvPr id="67" name="Grafik 66">
            <a:extLst>
              <a:ext uri="{FF2B5EF4-FFF2-40B4-BE49-F238E27FC236}">
                <a16:creationId xmlns:a16="http://schemas.microsoft.com/office/drawing/2014/main" id="{B1896C0F-E21C-8627-6079-EB32EA15BA4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6748" t="9739" r="22966"/>
          <a:stretch/>
        </p:blipFill>
        <p:spPr bwMode="gray">
          <a:xfrm>
            <a:off x="2443883" y="2454676"/>
            <a:ext cx="1800000" cy="1800000"/>
          </a:xfrm>
          <a:custGeom>
            <a:avLst/>
            <a:gdLst>
              <a:gd name="connsiteX0" fmla="*/ 900000 w 1800000"/>
              <a:gd name="connsiteY0" fmla="*/ 0 h 1800000"/>
              <a:gd name="connsiteX1" fmla="*/ 1800000 w 1800000"/>
              <a:gd name="connsiteY1" fmla="*/ 900000 h 1800000"/>
              <a:gd name="connsiteX2" fmla="*/ 900000 w 1800000"/>
              <a:gd name="connsiteY2" fmla="*/ 1800000 h 1800000"/>
              <a:gd name="connsiteX3" fmla="*/ 0 w 1800000"/>
              <a:gd name="connsiteY3" fmla="*/ 900000 h 1800000"/>
              <a:gd name="connsiteX4" fmla="*/ 900000 w 1800000"/>
              <a:gd name="connsiteY4" fmla="*/ 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1800000">
                <a:moveTo>
                  <a:pt x="900000" y="0"/>
                </a:moveTo>
                <a:cubicBezTo>
                  <a:pt x="1397056" y="0"/>
                  <a:pt x="1800000" y="402944"/>
                  <a:pt x="1800000" y="900000"/>
                </a:cubicBezTo>
                <a:cubicBezTo>
                  <a:pt x="1800000" y="1397056"/>
                  <a:pt x="1397056" y="1800000"/>
                  <a:pt x="900000" y="1800000"/>
                </a:cubicBezTo>
                <a:cubicBezTo>
                  <a:pt x="402944" y="1800000"/>
                  <a:pt x="0" y="1397056"/>
                  <a:pt x="0" y="900000"/>
                </a:cubicBezTo>
                <a:cubicBezTo>
                  <a:pt x="0" y="402944"/>
                  <a:pt x="402944" y="0"/>
                  <a:pt x="900000" y="0"/>
                </a:cubicBezTo>
                <a:close/>
              </a:path>
            </a:pathLst>
          </a:custGeom>
          <a:ln>
            <a:solidFill>
              <a:schemeClr val="accent2"/>
            </a:solidFill>
          </a:ln>
        </p:spPr>
      </p:pic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EA767549-BD68-E9F9-E149-D224E982809C}"/>
              </a:ext>
            </a:extLst>
          </p:cNvPr>
          <p:cNvGrpSpPr/>
          <p:nvPr/>
        </p:nvGrpSpPr>
        <p:grpSpPr bwMode="gray">
          <a:xfrm>
            <a:off x="5050710" y="1477822"/>
            <a:ext cx="2967741" cy="1491349"/>
            <a:chOff x="2884418" y="1112039"/>
            <a:chExt cx="2967741" cy="1491349"/>
          </a:xfrm>
        </p:grpSpPr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286F8CCA-7717-7D50-DB7F-8F6CB87D711C}"/>
                </a:ext>
              </a:extLst>
            </p:cNvPr>
            <p:cNvSpPr/>
            <p:nvPr/>
          </p:nvSpPr>
          <p:spPr bwMode="gray">
            <a:xfrm>
              <a:off x="2884418" y="1112039"/>
              <a:ext cx="2967741" cy="1491349"/>
            </a:xfrm>
            <a:prstGeom prst="rect">
              <a:avLst/>
            </a:prstGeom>
            <a:gradFill flip="none" rotWithShape="1">
              <a:gsLst>
                <a:gs pos="80000">
                  <a:srgbClr val="FFFFFF">
                    <a:alpha val="50000"/>
                  </a:srgbClr>
                </a:gs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563931BD-007C-F6AE-6E5F-A4A21FB31ACF}"/>
                </a:ext>
              </a:extLst>
            </p:cNvPr>
            <p:cNvSpPr txBox="1"/>
            <p:nvPr/>
          </p:nvSpPr>
          <p:spPr bwMode="gray">
            <a:xfrm>
              <a:off x="3808926" y="1673047"/>
              <a:ext cx="1527951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mfortable pajamas included</a:t>
              </a:r>
            </a:p>
          </p:txBody>
        </p:sp>
      </p:grpSp>
      <p:pic>
        <p:nvPicPr>
          <p:cNvPr id="71" name="Grafik 70">
            <a:extLst>
              <a:ext uri="{FF2B5EF4-FFF2-40B4-BE49-F238E27FC236}">
                <a16:creationId xmlns:a16="http://schemas.microsoft.com/office/drawing/2014/main" id="{D032E558-01D1-9E19-BAAF-4720255A7D2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6104" r="7642"/>
          <a:stretch/>
        </p:blipFill>
        <p:spPr bwMode="gray">
          <a:xfrm>
            <a:off x="3957224" y="1323496"/>
            <a:ext cx="1800000" cy="1800000"/>
          </a:xfrm>
          <a:custGeom>
            <a:avLst/>
            <a:gdLst>
              <a:gd name="connsiteX0" fmla="*/ 900000 w 1800000"/>
              <a:gd name="connsiteY0" fmla="*/ 0 h 1800000"/>
              <a:gd name="connsiteX1" fmla="*/ 1800000 w 1800000"/>
              <a:gd name="connsiteY1" fmla="*/ 900000 h 1800000"/>
              <a:gd name="connsiteX2" fmla="*/ 900000 w 1800000"/>
              <a:gd name="connsiteY2" fmla="*/ 1800000 h 1800000"/>
              <a:gd name="connsiteX3" fmla="*/ 0 w 1800000"/>
              <a:gd name="connsiteY3" fmla="*/ 900000 h 1800000"/>
              <a:gd name="connsiteX4" fmla="*/ 900000 w 1800000"/>
              <a:gd name="connsiteY4" fmla="*/ 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1800000">
                <a:moveTo>
                  <a:pt x="900000" y="0"/>
                </a:moveTo>
                <a:cubicBezTo>
                  <a:pt x="1397056" y="0"/>
                  <a:pt x="1800000" y="402944"/>
                  <a:pt x="1800000" y="900000"/>
                </a:cubicBezTo>
                <a:cubicBezTo>
                  <a:pt x="1800000" y="1397056"/>
                  <a:pt x="1397056" y="1800000"/>
                  <a:pt x="900000" y="1800000"/>
                </a:cubicBezTo>
                <a:cubicBezTo>
                  <a:pt x="402944" y="1800000"/>
                  <a:pt x="0" y="1397056"/>
                  <a:pt x="0" y="900000"/>
                </a:cubicBezTo>
                <a:cubicBezTo>
                  <a:pt x="0" y="402944"/>
                  <a:pt x="402944" y="0"/>
                  <a:pt x="900000" y="0"/>
                </a:cubicBezTo>
                <a:close/>
              </a:path>
            </a:pathLst>
          </a:custGeom>
          <a:ln>
            <a:solidFill>
              <a:schemeClr val="accent2"/>
            </a:solidFill>
          </a:ln>
        </p:spPr>
      </p:pic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8939A9E8-7828-E720-60A6-99A6332C76FE}"/>
              </a:ext>
            </a:extLst>
          </p:cNvPr>
          <p:cNvGrpSpPr/>
          <p:nvPr/>
        </p:nvGrpSpPr>
        <p:grpSpPr bwMode="gray">
          <a:xfrm flipH="1">
            <a:off x="1492860" y="1597674"/>
            <a:ext cx="2967741" cy="1491349"/>
            <a:chOff x="2884418" y="1112039"/>
            <a:chExt cx="2967741" cy="1491349"/>
          </a:xfrm>
        </p:grpSpPr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E050E831-9C70-0636-29E3-3AB4825AE9A2}"/>
                </a:ext>
              </a:extLst>
            </p:cNvPr>
            <p:cNvSpPr/>
            <p:nvPr/>
          </p:nvSpPr>
          <p:spPr bwMode="gray">
            <a:xfrm>
              <a:off x="2884418" y="1112039"/>
              <a:ext cx="2967741" cy="1491349"/>
            </a:xfrm>
            <a:prstGeom prst="rect">
              <a:avLst/>
            </a:prstGeom>
            <a:gradFill flip="none" rotWithShape="1">
              <a:gsLst>
                <a:gs pos="80000">
                  <a:srgbClr val="FFFFFF">
                    <a:alpha val="50000"/>
                  </a:srgbClr>
                </a:gs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D60C1DD5-4F06-47DF-77EC-B254F7792FEC}"/>
                </a:ext>
              </a:extLst>
            </p:cNvPr>
            <p:cNvSpPr txBox="1"/>
            <p:nvPr/>
          </p:nvSpPr>
          <p:spPr bwMode="gray">
            <a:xfrm>
              <a:off x="3808926" y="1673047"/>
              <a:ext cx="1527951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520825" algn="l"/>
                </a:tabLst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hat package </a:t>
              </a:r>
              <a:b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ncluded</a:t>
              </a:r>
            </a:p>
          </p:txBody>
        </p:sp>
      </p:grpSp>
      <p:pic>
        <p:nvPicPr>
          <p:cNvPr id="79" name="Grafik 78">
            <a:extLst>
              <a:ext uri="{FF2B5EF4-FFF2-40B4-BE49-F238E27FC236}">
                <a16:creationId xmlns:a16="http://schemas.microsoft.com/office/drawing/2014/main" id="{F4502D1B-A072-2D5E-28E4-C673CE1AFDF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4254" r="21391" b="38924"/>
          <a:stretch/>
        </p:blipFill>
        <p:spPr bwMode="gray">
          <a:xfrm>
            <a:off x="3786237" y="1443348"/>
            <a:ext cx="1800000" cy="1800000"/>
          </a:xfrm>
          <a:custGeom>
            <a:avLst/>
            <a:gdLst>
              <a:gd name="connsiteX0" fmla="*/ 900000 w 1800000"/>
              <a:gd name="connsiteY0" fmla="*/ 0 h 1800000"/>
              <a:gd name="connsiteX1" fmla="*/ 1800000 w 1800000"/>
              <a:gd name="connsiteY1" fmla="*/ 900000 h 1800000"/>
              <a:gd name="connsiteX2" fmla="*/ 900000 w 1800000"/>
              <a:gd name="connsiteY2" fmla="*/ 1800000 h 1800000"/>
              <a:gd name="connsiteX3" fmla="*/ 0 w 1800000"/>
              <a:gd name="connsiteY3" fmla="*/ 900000 h 1800000"/>
              <a:gd name="connsiteX4" fmla="*/ 900000 w 1800000"/>
              <a:gd name="connsiteY4" fmla="*/ 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1800000">
                <a:moveTo>
                  <a:pt x="900000" y="0"/>
                </a:moveTo>
                <a:cubicBezTo>
                  <a:pt x="1397056" y="0"/>
                  <a:pt x="1800000" y="402944"/>
                  <a:pt x="1800000" y="900000"/>
                </a:cubicBezTo>
                <a:cubicBezTo>
                  <a:pt x="1800000" y="1397056"/>
                  <a:pt x="1397056" y="1800000"/>
                  <a:pt x="900000" y="1800000"/>
                </a:cubicBezTo>
                <a:cubicBezTo>
                  <a:pt x="402944" y="1800000"/>
                  <a:pt x="0" y="1397056"/>
                  <a:pt x="0" y="900000"/>
                </a:cubicBezTo>
                <a:cubicBezTo>
                  <a:pt x="0" y="402944"/>
                  <a:pt x="402944" y="0"/>
                  <a:pt x="900000" y="0"/>
                </a:cubicBezTo>
                <a:close/>
              </a:path>
            </a:pathLst>
          </a:custGeom>
          <a:ln>
            <a:solidFill>
              <a:schemeClr val="accent2"/>
            </a:solidFill>
          </a:ln>
        </p:spPr>
      </p:pic>
      <p:grpSp>
        <p:nvGrpSpPr>
          <p:cNvPr id="80" name="Gruppieren 79">
            <a:extLst>
              <a:ext uri="{FF2B5EF4-FFF2-40B4-BE49-F238E27FC236}">
                <a16:creationId xmlns:a16="http://schemas.microsoft.com/office/drawing/2014/main" id="{5D56DB23-981D-1BD9-7142-41FC303EF30B}"/>
              </a:ext>
            </a:extLst>
          </p:cNvPr>
          <p:cNvGrpSpPr/>
          <p:nvPr/>
        </p:nvGrpSpPr>
        <p:grpSpPr bwMode="gray">
          <a:xfrm flipH="1">
            <a:off x="2642989" y="2349905"/>
            <a:ext cx="2967741" cy="1491349"/>
            <a:chOff x="2884418" y="1112039"/>
            <a:chExt cx="2967741" cy="1491349"/>
          </a:xfrm>
        </p:grpSpPr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17EB8934-6111-0F12-BBB4-DCABE2FBD078}"/>
                </a:ext>
              </a:extLst>
            </p:cNvPr>
            <p:cNvSpPr/>
            <p:nvPr/>
          </p:nvSpPr>
          <p:spPr bwMode="gray">
            <a:xfrm>
              <a:off x="2884418" y="1112039"/>
              <a:ext cx="2967741" cy="1491349"/>
            </a:xfrm>
            <a:prstGeom prst="rect">
              <a:avLst/>
            </a:prstGeom>
            <a:gradFill flip="none" rotWithShape="1">
              <a:gsLst>
                <a:gs pos="80000">
                  <a:srgbClr val="FFFFFF">
                    <a:alpha val="50000"/>
                  </a:srgbClr>
                </a:gs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2A3C421C-AA37-A42E-510F-A5D3C3CB42C1}"/>
                </a:ext>
              </a:extLst>
            </p:cNvPr>
            <p:cNvSpPr txBox="1"/>
            <p:nvPr/>
          </p:nvSpPr>
          <p:spPr bwMode="gray">
            <a:xfrm>
              <a:off x="3808926" y="1688435"/>
              <a:ext cx="1527951" cy="33855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>
                  <a:solidFill>
                    <a:srgbClr val="000000"/>
                  </a:solidFill>
                  <a:latin typeface="Arial" panose="020B0604020202020204"/>
                </a:rPr>
                <a:t>“</a:t>
              </a: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isitor</a:t>
              </a:r>
              <a:r>
                <a:rPr lang="en-US" sz="1200" b="1">
                  <a:solidFill>
                    <a:srgbClr val="000000"/>
                  </a:solidFill>
                  <a:latin typeface="Arial" panose="020B0604020202020204"/>
                </a:rPr>
                <a:t>”</a:t>
              </a: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seat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ith seatbelt</a:t>
              </a:r>
            </a:p>
          </p:txBody>
        </p: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18AA5590-B5D8-2463-F5AC-1784B680543D}"/>
              </a:ext>
            </a:extLst>
          </p:cNvPr>
          <p:cNvGrpSpPr/>
          <p:nvPr/>
        </p:nvGrpSpPr>
        <p:grpSpPr bwMode="gray">
          <a:xfrm flipH="1">
            <a:off x="3429928" y="1670225"/>
            <a:ext cx="2967741" cy="1491349"/>
            <a:chOff x="2884418" y="1112039"/>
            <a:chExt cx="2967741" cy="1491349"/>
          </a:xfrm>
        </p:grpSpPr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38C9363B-D135-52E7-21C8-0D0AD4B0DFE7}"/>
                </a:ext>
              </a:extLst>
            </p:cNvPr>
            <p:cNvSpPr/>
            <p:nvPr/>
          </p:nvSpPr>
          <p:spPr bwMode="gray">
            <a:xfrm>
              <a:off x="2884418" y="1112039"/>
              <a:ext cx="2967741" cy="1491349"/>
            </a:xfrm>
            <a:prstGeom prst="rect">
              <a:avLst/>
            </a:prstGeom>
            <a:gradFill flip="none" rotWithShape="1">
              <a:gsLst>
                <a:gs pos="80000">
                  <a:srgbClr val="FFFFFF">
                    <a:alpha val="50000"/>
                  </a:srgbClr>
                </a:gs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Textfeld 85">
              <a:extLst>
                <a:ext uri="{FF2B5EF4-FFF2-40B4-BE49-F238E27FC236}">
                  <a16:creationId xmlns:a16="http://schemas.microsoft.com/office/drawing/2014/main" id="{9ACE6FF4-EC37-0E07-6DBF-5614228894CC}"/>
                </a:ext>
              </a:extLst>
            </p:cNvPr>
            <p:cNvSpPr txBox="1"/>
            <p:nvPr/>
          </p:nvSpPr>
          <p:spPr bwMode="gray">
            <a:xfrm>
              <a:off x="3808926" y="1603798"/>
              <a:ext cx="1527951" cy="50783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inema experience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Huge 24" monitor </a:t>
              </a:r>
              <a:br>
                <a:rPr kumimoji="0" lang="en-US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0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ith 4K picture quality</a:t>
              </a:r>
            </a:p>
          </p:txBody>
        </p:sp>
      </p:grpSp>
      <p:pic>
        <p:nvPicPr>
          <p:cNvPr id="87" name="Grafik 86">
            <a:extLst>
              <a:ext uri="{FF2B5EF4-FFF2-40B4-BE49-F238E27FC236}">
                <a16:creationId xmlns:a16="http://schemas.microsoft.com/office/drawing/2014/main" id="{D58707D5-09AA-36BE-1ACE-32DD98F2D72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4573" r="9042" b="17537"/>
          <a:stretch/>
        </p:blipFill>
        <p:spPr bwMode="gray">
          <a:xfrm>
            <a:off x="5674914" y="1515899"/>
            <a:ext cx="1800000" cy="1800000"/>
          </a:xfrm>
          <a:custGeom>
            <a:avLst/>
            <a:gdLst>
              <a:gd name="connsiteX0" fmla="*/ 900000 w 1800000"/>
              <a:gd name="connsiteY0" fmla="*/ 0 h 1800000"/>
              <a:gd name="connsiteX1" fmla="*/ 1800000 w 1800000"/>
              <a:gd name="connsiteY1" fmla="*/ 900000 h 1800000"/>
              <a:gd name="connsiteX2" fmla="*/ 900000 w 1800000"/>
              <a:gd name="connsiteY2" fmla="*/ 1800000 h 1800000"/>
              <a:gd name="connsiteX3" fmla="*/ 0 w 1800000"/>
              <a:gd name="connsiteY3" fmla="*/ 900000 h 1800000"/>
              <a:gd name="connsiteX4" fmla="*/ 900000 w 1800000"/>
              <a:gd name="connsiteY4" fmla="*/ 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1800000">
                <a:moveTo>
                  <a:pt x="900000" y="0"/>
                </a:moveTo>
                <a:cubicBezTo>
                  <a:pt x="1397056" y="0"/>
                  <a:pt x="1800000" y="402944"/>
                  <a:pt x="1800000" y="900000"/>
                </a:cubicBezTo>
                <a:cubicBezTo>
                  <a:pt x="1800000" y="1397056"/>
                  <a:pt x="1397056" y="1800000"/>
                  <a:pt x="900000" y="1800000"/>
                </a:cubicBezTo>
                <a:cubicBezTo>
                  <a:pt x="402944" y="1800000"/>
                  <a:pt x="0" y="1397056"/>
                  <a:pt x="0" y="900000"/>
                </a:cubicBezTo>
                <a:cubicBezTo>
                  <a:pt x="0" y="402944"/>
                  <a:pt x="402944" y="0"/>
                  <a:pt x="900000" y="0"/>
                </a:cubicBezTo>
                <a:close/>
              </a:path>
            </a:pathLst>
          </a:custGeom>
          <a:ln>
            <a:solidFill>
              <a:schemeClr val="accent2"/>
            </a:solidFill>
          </a:ln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CA77B6A-39C2-BAC0-1DF8-37C5A26CFCC6}"/>
              </a:ext>
            </a:extLst>
          </p:cNvPr>
          <p:cNvGrpSpPr/>
          <p:nvPr/>
        </p:nvGrpSpPr>
        <p:grpSpPr bwMode="gray">
          <a:xfrm>
            <a:off x="1506853" y="567781"/>
            <a:ext cx="2594773" cy="886076"/>
            <a:chOff x="1590365" y="500656"/>
            <a:chExt cx="2594773" cy="886076"/>
          </a:xfrm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ADB6D1C4-05DA-DD12-B715-5ABC3A55EB69}"/>
                </a:ext>
              </a:extLst>
            </p:cNvPr>
            <p:cNvSpPr txBox="1"/>
            <p:nvPr/>
          </p:nvSpPr>
          <p:spPr bwMode="gray">
            <a:xfrm>
              <a:off x="1790934" y="500656"/>
              <a:ext cx="2394204" cy="8860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>
                  <a:tab pos="177800" algn="l"/>
                </a:tabLst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he Best Seat on the Plane</a:t>
              </a:r>
            </a:p>
            <a:p>
              <a:pPr marL="21600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>
                  <a:tab pos="177800" algn="l"/>
                </a:tabLst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ore comfort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ore extras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ore room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06E0C822-BAA1-A82F-4FCD-7E871236FE1C}"/>
                </a:ext>
              </a:extLst>
            </p:cNvPr>
            <p:cNvSpPr>
              <a:spLocks noChangeAspect="1"/>
            </p:cNvSpPr>
            <p:nvPr/>
          </p:nvSpPr>
          <p:spPr bwMode="gray">
            <a:xfrm rot="18900000">
              <a:off x="1775102" y="859608"/>
              <a:ext cx="142794" cy="85553"/>
            </a:xfrm>
            <a:custGeom>
              <a:avLst/>
              <a:gdLst>
                <a:gd name="connsiteX0" fmla="*/ 225509 w 225509"/>
                <a:gd name="connsiteY0" fmla="*/ 89392 h 135111"/>
                <a:gd name="connsiteX1" fmla="*/ 225509 w 225509"/>
                <a:gd name="connsiteY1" fmla="*/ 135111 h 135111"/>
                <a:gd name="connsiteX2" fmla="*/ 1355 w 225509"/>
                <a:gd name="connsiteY2" fmla="*/ 135111 h 135111"/>
                <a:gd name="connsiteX3" fmla="*/ 1355 w 225509"/>
                <a:gd name="connsiteY3" fmla="*/ 133758 h 135111"/>
                <a:gd name="connsiteX4" fmla="*/ 0 w 225509"/>
                <a:gd name="connsiteY4" fmla="*/ 133758 h 135111"/>
                <a:gd name="connsiteX5" fmla="*/ 0 w 225509"/>
                <a:gd name="connsiteY5" fmla="*/ 0 h 135111"/>
                <a:gd name="connsiteX6" fmla="*/ 45719 w 225509"/>
                <a:gd name="connsiteY6" fmla="*/ 0 h 135111"/>
                <a:gd name="connsiteX7" fmla="*/ 45719 w 225509"/>
                <a:gd name="connsiteY7" fmla="*/ 89392 h 13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509" h="135111">
                  <a:moveTo>
                    <a:pt x="225509" y="89392"/>
                  </a:moveTo>
                  <a:lnTo>
                    <a:pt x="225509" y="135111"/>
                  </a:lnTo>
                  <a:lnTo>
                    <a:pt x="1355" y="135111"/>
                  </a:lnTo>
                  <a:lnTo>
                    <a:pt x="1355" y="133758"/>
                  </a:lnTo>
                  <a:lnTo>
                    <a:pt x="0" y="133758"/>
                  </a:lnTo>
                  <a:lnTo>
                    <a:pt x="0" y="0"/>
                  </a:lnTo>
                  <a:lnTo>
                    <a:pt x="45719" y="0"/>
                  </a:lnTo>
                  <a:lnTo>
                    <a:pt x="45719" y="8939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193F07B6-747D-025F-A087-EBA6E2020456}"/>
                </a:ext>
              </a:extLst>
            </p:cNvPr>
            <p:cNvSpPr>
              <a:spLocks noChangeAspect="1"/>
            </p:cNvSpPr>
            <p:nvPr/>
          </p:nvSpPr>
          <p:spPr bwMode="gray">
            <a:xfrm rot="18900000">
              <a:off x="1775102" y="1045233"/>
              <a:ext cx="142794" cy="85553"/>
            </a:xfrm>
            <a:custGeom>
              <a:avLst/>
              <a:gdLst>
                <a:gd name="connsiteX0" fmla="*/ 225509 w 225509"/>
                <a:gd name="connsiteY0" fmla="*/ 89392 h 135111"/>
                <a:gd name="connsiteX1" fmla="*/ 225509 w 225509"/>
                <a:gd name="connsiteY1" fmla="*/ 135111 h 135111"/>
                <a:gd name="connsiteX2" fmla="*/ 1355 w 225509"/>
                <a:gd name="connsiteY2" fmla="*/ 135111 h 135111"/>
                <a:gd name="connsiteX3" fmla="*/ 1355 w 225509"/>
                <a:gd name="connsiteY3" fmla="*/ 133758 h 135111"/>
                <a:gd name="connsiteX4" fmla="*/ 0 w 225509"/>
                <a:gd name="connsiteY4" fmla="*/ 133758 h 135111"/>
                <a:gd name="connsiteX5" fmla="*/ 0 w 225509"/>
                <a:gd name="connsiteY5" fmla="*/ 0 h 135111"/>
                <a:gd name="connsiteX6" fmla="*/ 45719 w 225509"/>
                <a:gd name="connsiteY6" fmla="*/ 0 h 135111"/>
                <a:gd name="connsiteX7" fmla="*/ 45719 w 225509"/>
                <a:gd name="connsiteY7" fmla="*/ 89392 h 13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509" h="135111">
                  <a:moveTo>
                    <a:pt x="225509" y="89392"/>
                  </a:moveTo>
                  <a:lnTo>
                    <a:pt x="225509" y="135111"/>
                  </a:lnTo>
                  <a:lnTo>
                    <a:pt x="1355" y="135111"/>
                  </a:lnTo>
                  <a:lnTo>
                    <a:pt x="1355" y="133758"/>
                  </a:lnTo>
                  <a:lnTo>
                    <a:pt x="0" y="133758"/>
                  </a:lnTo>
                  <a:lnTo>
                    <a:pt x="0" y="0"/>
                  </a:lnTo>
                  <a:lnTo>
                    <a:pt x="45719" y="0"/>
                  </a:lnTo>
                  <a:lnTo>
                    <a:pt x="45719" y="8939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1448BFC7-2685-1C05-1A71-9B1A6539887E}"/>
                </a:ext>
              </a:extLst>
            </p:cNvPr>
            <p:cNvSpPr>
              <a:spLocks noChangeAspect="1"/>
            </p:cNvSpPr>
            <p:nvPr/>
          </p:nvSpPr>
          <p:spPr bwMode="gray">
            <a:xfrm rot="18900000">
              <a:off x="1775102" y="1230858"/>
              <a:ext cx="142794" cy="85553"/>
            </a:xfrm>
            <a:custGeom>
              <a:avLst/>
              <a:gdLst>
                <a:gd name="connsiteX0" fmla="*/ 225509 w 225509"/>
                <a:gd name="connsiteY0" fmla="*/ 89392 h 135111"/>
                <a:gd name="connsiteX1" fmla="*/ 225509 w 225509"/>
                <a:gd name="connsiteY1" fmla="*/ 135111 h 135111"/>
                <a:gd name="connsiteX2" fmla="*/ 1355 w 225509"/>
                <a:gd name="connsiteY2" fmla="*/ 135111 h 135111"/>
                <a:gd name="connsiteX3" fmla="*/ 1355 w 225509"/>
                <a:gd name="connsiteY3" fmla="*/ 133758 h 135111"/>
                <a:gd name="connsiteX4" fmla="*/ 0 w 225509"/>
                <a:gd name="connsiteY4" fmla="*/ 133758 h 135111"/>
                <a:gd name="connsiteX5" fmla="*/ 0 w 225509"/>
                <a:gd name="connsiteY5" fmla="*/ 0 h 135111"/>
                <a:gd name="connsiteX6" fmla="*/ 45719 w 225509"/>
                <a:gd name="connsiteY6" fmla="*/ 0 h 135111"/>
                <a:gd name="connsiteX7" fmla="*/ 45719 w 225509"/>
                <a:gd name="connsiteY7" fmla="*/ 89392 h 13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5509" h="135111">
                  <a:moveTo>
                    <a:pt x="225509" y="89392"/>
                  </a:moveTo>
                  <a:lnTo>
                    <a:pt x="225509" y="135111"/>
                  </a:lnTo>
                  <a:lnTo>
                    <a:pt x="1355" y="135111"/>
                  </a:lnTo>
                  <a:lnTo>
                    <a:pt x="1355" y="133758"/>
                  </a:lnTo>
                  <a:lnTo>
                    <a:pt x="0" y="133758"/>
                  </a:lnTo>
                  <a:lnTo>
                    <a:pt x="0" y="0"/>
                  </a:lnTo>
                  <a:lnTo>
                    <a:pt x="45719" y="0"/>
                  </a:lnTo>
                  <a:lnTo>
                    <a:pt x="45719" y="8939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02D48C4F-7638-C691-D3BB-2703A1B34D6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590365" y="736318"/>
              <a:ext cx="2594773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Ellipse 63">
            <a:extLst>
              <a:ext uri="{FF2B5EF4-FFF2-40B4-BE49-F238E27FC236}">
                <a16:creationId xmlns:a16="http://schemas.microsoft.com/office/drawing/2014/main" id="{63090A4C-E047-45F4-A2AB-1EAC6A9881E2}"/>
              </a:ext>
            </a:extLst>
          </p:cNvPr>
          <p:cNvSpPr>
            <a:spLocks noChangeAspect="1"/>
          </p:cNvSpPr>
          <p:nvPr/>
        </p:nvSpPr>
        <p:spPr bwMode="gray">
          <a:xfrm rot="21240000">
            <a:off x="393560" y="353266"/>
            <a:ext cx="1165607" cy="116560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e</a:t>
            </a:r>
            <a:b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at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6BBA7A5-710A-FF72-8005-279C3738C79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3780" r="-30"/>
          <a:stretch/>
        </p:blipFill>
        <p:spPr>
          <a:xfrm>
            <a:off x="4887975" y="2195579"/>
            <a:ext cx="1800000" cy="1800000"/>
          </a:xfrm>
          <a:custGeom>
            <a:avLst/>
            <a:gdLst>
              <a:gd name="connsiteX0" fmla="*/ 900000 w 1800000"/>
              <a:gd name="connsiteY0" fmla="*/ 0 h 1800000"/>
              <a:gd name="connsiteX1" fmla="*/ 1800000 w 1800000"/>
              <a:gd name="connsiteY1" fmla="*/ 900000 h 1800000"/>
              <a:gd name="connsiteX2" fmla="*/ 900000 w 1800000"/>
              <a:gd name="connsiteY2" fmla="*/ 1800000 h 1800000"/>
              <a:gd name="connsiteX3" fmla="*/ 0 w 1800000"/>
              <a:gd name="connsiteY3" fmla="*/ 900000 h 1800000"/>
              <a:gd name="connsiteX4" fmla="*/ 900000 w 1800000"/>
              <a:gd name="connsiteY4" fmla="*/ 0 h 18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0000" h="1800000">
                <a:moveTo>
                  <a:pt x="900000" y="0"/>
                </a:moveTo>
                <a:cubicBezTo>
                  <a:pt x="1397056" y="0"/>
                  <a:pt x="1800000" y="402944"/>
                  <a:pt x="1800000" y="900000"/>
                </a:cubicBezTo>
                <a:cubicBezTo>
                  <a:pt x="1800000" y="1397056"/>
                  <a:pt x="1397056" y="1800000"/>
                  <a:pt x="900000" y="1800000"/>
                </a:cubicBezTo>
                <a:cubicBezTo>
                  <a:pt x="402944" y="1800000"/>
                  <a:pt x="0" y="1397056"/>
                  <a:pt x="0" y="900000"/>
                </a:cubicBezTo>
                <a:cubicBezTo>
                  <a:pt x="0" y="402944"/>
                  <a:pt x="402944" y="0"/>
                  <a:pt x="900000" y="0"/>
                </a:cubicBezTo>
                <a:close/>
              </a:path>
            </a:pathLst>
          </a:custGeom>
          <a:noFill/>
          <a:ln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3202619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autoRev="1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1" dur="250" fill="hold"/>
                                        <p:tgtEl>
                                          <p:spTgt spid="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23" dur="1000" fill="hold"/>
                                        <p:tgtEl>
                                          <p:spTgt spid="24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autoRev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30" dur="250" fill="hold"/>
                                        <p:tgtEl>
                                          <p:spTgt spid="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6" presetClass="emph" presetSubtype="0" repeatCount="indefinite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51" dur="1000" fill="hold"/>
                                        <p:tgtEl>
                                          <p:spTgt spid="56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" presetClass="emph" presetSubtype="0" autoRev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58" dur="250" fill="hold"/>
                                        <p:tgtEl>
                                          <p:spTgt spid="6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mph" presetSubtype="0" repeatCount="indefinite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79" dur="1000" fill="hold"/>
                                        <p:tgtEl>
                                          <p:spTgt spid="41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80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6" presetClass="emph" presetSubtype="0" autoRev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86" dur="250" fill="hold"/>
                                        <p:tgtEl>
                                          <p:spTgt spid="7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7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7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6" presetClass="emph" presetSubtype="0" repeatCount="indefinite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07" dur="1000" fill="hold"/>
                                        <p:tgtEl>
                                          <p:spTgt spid="51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108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6" presetClass="emph" presetSubtype="0" autoRev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14" dur="250" fill="hold"/>
                                        <p:tgtEl>
                                          <p:spTgt spid="7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5" presetID="22" presetClass="entr" presetSubtype="2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1" dur="7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6" presetClass="emph" presetSubtype="0" repeatCount="indefinite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35" dur="1000" fill="hold"/>
                                        <p:tgtEl>
                                          <p:spTgt spid="36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136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6" presetClass="emph" presetSubtype="0" autoRev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42" dur="250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3" presetID="22" presetClass="entr" presetSubtype="2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6" presetClass="emph" presetSubtype="0" repeatCount="indefinite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63" dur="1000" fill="hold"/>
                                        <p:tgtEl>
                                          <p:spTgt spid="46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164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6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6" presetClass="emph" presetSubtype="0" autoRev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70" dur="250" fill="hold"/>
                                        <p:tgtEl>
                                          <p:spTgt spid="8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1" presetID="22" presetClass="entr" presetSubtype="2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4" grpId="1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D899076-D56E-759D-A4E5-4B11D08434A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7343774" y="286141"/>
            <a:ext cx="1297421" cy="219146"/>
          </a:xfrm>
          <a:prstGeom prst="rect">
            <a:avLst/>
          </a:prstGeom>
        </p:spPr>
      </p:pic>
      <p:sp>
        <p:nvSpPr>
          <p:cNvPr id="5" name="Platshållare för text 3">
            <a:extLst>
              <a:ext uri="{FF2B5EF4-FFF2-40B4-BE49-F238E27FC236}">
                <a16:creationId xmlns:a16="http://schemas.microsoft.com/office/drawing/2014/main" id="{39E9B011-DF39-2F02-63FD-6D8CAA01FF78}"/>
              </a:ext>
            </a:extLst>
          </p:cNvPr>
          <p:cNvSpPr txBox="1">
            <a:spLocks/>
          </p:cNvSpPr>
          <p:nvPr/>
        </p:nvSpPr>
        <p:spPr bwMode="gray">
          <a:xfrm>
            <a:off x="503236" y="538841"/>
            <a:ext cx="5249864" cy="590931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Lucida Grande"/>
              <a:buChar char="›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Lucida Grande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80000"/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80000"/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ts val="0"/>
              </a:spcBef>
              <a:buNone/>
              <a:tabLst>
                <a:tab pos="1780114" algn="l"/>
              </a:tabLst>
            </a:pPr>
            <a:r>
              <a:rPr lang="en-US" sz="2400" b="1" dirty="0">
                <a:cs typeface="Arial"/>
              </a:rPr>
              <a:t>Our Fleet Airbus A330neo</a:t>
            </a:r>
            <a:br>
              <a:rPr lang="en-US" sz="2400" b="1" dirty="0">
                <a:cs typeface="Arial" panose="020B0604020202020204" pitchFamily="34" charset="0"/>
              </a:rPr>
            </a:br>
            <a:endParaRPr lang="en-US" sz="2400">
              <a:cs typeface="Arial" panose="020B0604020202020204" pitchFamily="34" charset="0"/>
            </a:endParaRPr>
          </a:p>
        </p:txBody>
      </p:sp>
      <p:pic>
        <p:nvPicPr>
          <p:cNvPr id="7" name="Online Media 6" title="A330neo – Arrive more relaxed.">
            <a:hlinkClick r:id="" action="ppaction://media"/>
            <a:extLst>
              <a:ext uri="{FF2B5EF4-FFF2-40B4-BE49-F238E27FC236}">
                <a16:creationId xmlns:a16="http://schemas.microsoft.com/office/drawing/2014/main" id="{B1DC0E38-7EFA-EA5F-4531-D367DC29261D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5"/>
          <a:stretch>
            <a:fillRect/>
          </a:stretch>
        </p:blipFill>
        <p:spPr>
          <a:xfrm>
            <a:off x="1430903" y="1218669"/>
            <a:ext cx="6282193" cy="3549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421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8 -0.00031 L -3.88889E-6 2.96296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3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4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15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6" fill="hold">
                      <p:stCondLst>
                        <p:cond delay="0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9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  <p:bldLst>
      <p:bldP spid="5" grpId="0"/>
      <p:bldP spid="5" grpId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843E38-3160-6FC5-E715-FBC97E6D8A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4">
            <a:extLst>
              <a:ext uri="{FF2B5EF4-FFF2-40B4-BE49-F238E27FC236}">
                <a16:creationId xmlns:a16="http://schemas.microsoft.com/office/drawing/2014/main" id="{1D697E4B-93F1-AAB8-1B8C-E1A0F20638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90513"/>
            <a:ext cx="6478587" cy="492443"/>
          </a:xfrm>
        </p:spPr>
        <p:txBody>
          <a:bodyPr anchor="t">
            <a:normAutofit/>
          </a:bodyPr>
          <a:lstStyle/>
          <a:p>
            <a:r>
              <a:rPr lang="en-US"/>
              <a:t>Product: Lounge access in North America</a:t>
            </a:r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919AF9-B9FE-B20B-AD74-81055BEE7314}"/>
              </a:ext>
            </a:extLst>
          </p:cNvPr>
          <p:cNvSpPr txBox="1"/>
          <p:nvPr/>
        </p:nvSpPr>
        <p:spPr>
          <a:xfrm>
            <a:off x="4725543" y="1044532"/>
            <a:ext cx="451256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latin typeface="+mj-lt"/>
              </a:rPr>
              <a:t>SFO (San Francisco International Airport)</a:t>
            </a:r>
          </a:p>
          <a:p>
            <a:r>
              <a:rPr lang="de-DE" sz="1200" dirty="0">
                <a:latin typeface="+mj-lt"/>
              </a:rPr>
              <a:t>  • China Airlines Lounge: Terminal 1, </a:t>
            </a:r>
            <a:r>
              <a:rPr lang="de-DE" sz="1200" dirty="0" err="1">
                <a:latin typeface="+mj-lt"/>
              </a:rPr>
              <a:t>behind</a:t>
            </a:r>
            <a:r>
              <a:rPr lang="de-DE" sz="1200" dirty="0">
                <a:latin typeface="+mj-lt"/>
              </a:rPr>
              <a:t> </a:t>
            </a:r>
            <a:r>
              <a:rPr lang="de-DE" sz="1200" dirty="0" err="1">
                <a:latin typeface="+mj-lt"/>
              </a:rPr>
              <a:t>security</a:t>
            </a:r>
            <a:r>
              <a:rPr lang="de-DE" sz="1200" dirty="0">
                <a:latin typeface="+mj-lt"/>
              </a:rPr>
              <a:t>, Level 4, </a:t>
            </a:r>
            <a:r>
              <a:rPr lang="de-DE" sz="1200" dirty="0" err="1">
                <a:latin typeface="+mj-lt"/>
              </a:rPr>
              <a:t>near</a:t>
            </a:r>
            <a:r>
              <a:rPr lang="de-DE" sz="1200" dirty="0">
                <a:latin typeface="+mj-lt"/>
              </a:rPr>
              <a:t> Gate A1</a:t>
            </a:r>
          </a:p>
          <a:p>
            <a:endParaRPr lang="de-DE" sz="1200" dirty="0">
              <a:latin typeface="+mj-lt"/>
            </a:endParaRPr>
          </a:p>
          <a:p>
            <a:r>
              <a:rPr lang="de-DE" sz="1200" b="1" dirty="0">
                <a:latin typeface="+mj-lt"/>
              </a:rPr>
              <a:t>SEA (Seattle-Tacoma International Airport)</a:t>
            </a:r>
          </a:p>
          <a:p>
            <a:r>
              <a:rPr lang="de-DE" sz="1200" dirty="0">
                <a:latin typeface="+mj-lt"/>
              </a:rPr>
              <a:t>  • Port of SEA Club International Lounge:</a:t>
            </a:r>
          </a:p>
          <a:p>
            <a:endParaRPr lang="de-DE" sz="1200" dirty="0">
              <a:latin typeface="+mj-lt"/>
            </a:endParaRPr>
          </a:p>
          <a:p>
            <a:r>
              <a:rPr lang="de-DE" sz="1200" b="1" dirty="0">
                <a:latin typeface="+mj-lt"/>
              </a:rPr>
              <a:t>YYZ (Toronto Pearson International Airport)</a:t>
            </a:r>
          </a:p>
          <a:p>
            <a:r>
              <a:rPr lang="de-DE" sz="1200" dirty="0">
                <a:latin typeface="+mj-lt"/>
              </a:rPr>
              <a:t>  • Plaza Premium Lounge: Terminal 3, Level 6, </a:t>
            </a:r>
            <a:r>
              <a:rPr lang="de-DE" sz="1200" dirty="0" err="1">
                <a:latin typeface="+mj-lt"/>
              </a:rPr>
              <a:t>near</a:t>
            </a:r>
            <a:r>
              <a:rPr lang="de-DE" sz="1200" dirty="0">
                <a:latin typeface="+mj-lt"/>
              </a:rPr>
              <a:t> Gate C32.</a:t>
            </a:r>
          </a:p>
          <a:p>
            <a:endParaRPr lang="de-DE" sz="1200" dirty="0">
              <a:latin typeface="+mj-lt"/>
            </a:endParaRPr>
          </a:p>
          <a:p>
            <a:r>
              <a:rPr lang="de-DE" sz="1200" b="1" dirty="0">
                <a:latin typeface="+mj-lt"/>
              </a:rPr>
              <a:t>YYC (Calgary International Airport)</a:t>
            </a:r>
          </a:p>
          <a:p>
            <a:r>
              <a:rPr lang="de-DE" sz="1200" dirty="0">
                <a:latin typeface="+mj-lt"/>
              </a:rPr>
              <a:t>  • </a:t>
            </a:r>
            <a:r>
              <a:rPr lang="de-DE" sz="1200" dirty="0" err="1">
                <a:latin typeface="+mj-lt"/>
              </a:rPr>
              <a:t>Servisair</a:t>
            </a:r>
            <a:r>
              <a:rPr lang="de-DE" sz="1200" dirty="0">
                <a:latin typeface="+mj-lt"/>
              </a:rPr>
              <a:t> Chinook Lounge: Departure Hall D</a:t>
            </a:r>
          </a:p>
          <a:p>
            <a:endParaRPr lang="de-DE" sz="1200" dirty="0">
              <a:latin typeface="+mj-lt"/>
            </a:endParaRPr>
          </a:p>
          <a:p>
            <a:r>
              <a:rPr lang="de-DE" sz="1200" b="1" dirty="0">
                <a:latin typeface="+mj-lt"/>
              </a:rPr>
              <a:t>YEG (Edmonton International Airport)</a:t>
            </a:r>
          </a:p>
          <a:p>
            <a:r>
              <a:rPr lang="de-DE" sz="1200" dirty="0">
                <a:latin typeface="+mj-lt"/>
              </a:rPr>
              <a:t>  • Plaza Premium Lounge: </a:t>
            </a:r>
            <a:r>
              <a:rPr lang="de-DE" sz="1200" dirty="0" err="1">
                <a:latin typeface="+mj-lt"/>
              </a:rPr>
              <a:t>Near</a:t>
            </a:r>
            <a:r>
              <a:rPr lang="de-DE" sz="1200" dirty="0">
                <a:latin typeface="+mj-lt"/>
              </a:rPr>
              <a:t> Gate 52</a:t>
            </a:r>
          </a:p>
          <a:p>
            <a:endParaRPr lang="de-DE" sz="1200" dirty="0">
              <a:latin typeface="+mj-lt"/>
            </a:endParaRPr>
          </a:p>
          <a:p>
            <a:r>
              <a:rPr lang="de-DE" sz="1200" b="1" dirty="0">
                <a:latin typeface="+mj-lt"/>
              </a:rPr>
              <a:t>YVR (Vancouver International Airport)</a:t>
            </a:r>
          </a:p>
          <a:p>
            <a:r>
              <a:rPr lang="de-DE" sz="1200" dirty="0">
                <a:latin typeface="+mj-lt"/>
              </a:rPr>
              <a:t>  • Plaza Premium Lounge</a:t>
            </a:r>
          </a:p>
          <a:p>
            <a:endParaRPr lang="de-DE" sz="1200" dirty="0">
              <a:latin typeface="+mj-lt"/>
            </a:endParaRPr>
          </a:p>
          <a:p>
            <a:r>
              <a:rPr lang="de-DE" sz="1200" b="1" dirty="0">
                <a:latin typeface="+mj-lt"/>
              </a:rPr>
              <a:t>LAX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latin typeface="+mj-lt"/>
              </a:rPr>
              <a:t>AF Loung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D157B2E-C396-6D05-40A7-30C8D3C8FFE7}"/>
              </a:ext>
            </a:extLst>
          </p:cNvPr>
          <p:cNvSpPr txBox="1"/>
          <p:nvPr/>
        </p:nvSpPr>
        <p:spPr>
          <a:xfrm>
            <a:off x="353399" y="982811"/>
            <a:ext cx="4572000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1">
                <a:latin typeface="+mj-lt"/>
              </a:rPr>
              <a:t>ANC (Anchorage International Airport)</a:t>
            </a:r>
          </a:p>
          <a:p>
            <a:r>
              <a:rPr lang="de-DE" sz="1200">
                <a:latin typeface="+mj-lt"/>
              </a:rPr>
              <a:t>  • Alaska Airlines Alaska Lounge: South Terminal</a:t>
            </a:r>
          </a:p>
          <a:p>
            <a:endParaRPr lang="de-DE" sz="1200">
              <a:latin typeface="+mj-lt"/>
            </a:endParaRPr>
          </a:p>
          <a:p>
            <a:r>
              <a:rPr lang="de-DE" sz="1200" b="1">
                <a:latin typeface="+mj-lt"/>
              </a:rPr>
              <a:t>BWI (Baltimore/Washington </a:t>
            </a:r>
            <a:r>
              <a:rPr lang="de-DE" sz="1200" b="1" err="1">
                <a:latin typeface="+mj-lt"/>
              </a:rPr>
              <a:t>Thurgood</a:t>
            </a:r>
            <a:r>
              <a:rPr lang="de-DE" sz="1200" b="1">
                <a:latin typeface="+mj-lt"/>
              </a:rPr>
              <a:t> Marshall Airport)</a:t>
            </a:r>
          </a:p>
          <a:p>
            <a:r>
              <a:rPr lang="de-DE" sz="1200">
                <a:latin typeface="+mj-lt"/>
              </a:rPr>
              <a:t>  • The Club BWI: Terminal D, after the </a:t>
            </a:r>
            <a:r>
              <a:rPr lang="de-DE" sz="1200" err="1">
                <a:latin typeface="+mj-lt"/>
              </a:rPr>
              <a:t>security</a:t>
            </a:r>
            <a:r>
              <a:rPr lang="de-DE" sz="1200">
                <a:latin typeface="+mj-lt"/>
              </a:rPr>
              <a:t> </a:t>
            </a:r>
            <a:r>
              <a:rPr lang="de-DE" sz="1200" err="1">
                <a:latin typeface="+mj-lt"/>
              </a:rPr>
              <a:t>checkpoint</a:t>
            </a:r>
            <a:endParaRPr lang="de-DE" sz="1200">
              <a:latin typeface="+mj-lt"/>
            </a:endParaRPr>
          </a:p>
          <a:p>
            <a:endParaRPr lang="de-DE" sz="1200">
              <a:latin typeface="+mj-lt"/>
            </a:endParaRPr>
          </a:p>
          <a:p>
            <a:r>
              <a:rPr lang="de-DE" sz="1200" b="1">
                <a:latin typeface="+mj-lt"/>
              </a:rPr>
              <a:t>BOS (Logan </a:t>
            </a:r>
            <a:r>
              <a:rPr lang="de-DE" sz="1200" b="1" err="1">
                <a:latin typeface="+mj-lt"/>
              </a:rPr>
              <a:t>Internationl</a:t>
            </a:r>
            <a:r>
              <a:rPr lang="de-DE" sz="1200" b="1">
                <a:latin typeface="+mj-lt"/>
              </a:rPr>
              <a:t>)</a:t>
            </a:r>
          </a:p>
          <a:p>
            <a:r>
              <a:rPr lang="de-DE" sz="1200">
                <a:latin typeface="+mj-lt"/>
              </a:rPr>
              <a:t> •AF </a:t>
            </a:r>
            <a:r>
              <a:rPr lang="en-US" sz="1200">
                <a:latin typeface="+mj-lt"/>
              </a:rPr>
              <a:t>Located in Terminal E Inside Security. </a:t>
            </a:r>
          </a:p>
          <a:p>
            <a:endParaRPr lang="en-US" sz="1200" b="1">
              <a:latin typeface="+mj-lt"/>
            </a:endParaRPr>
          </a:p>
          <a:p>
            <a:r>
              <a:rPr lang="de-DE" sz="1200" b="1">
                <a:latin typeface="+mj-lt"/>
              </a:rPr>
              <a:t>LAS (</a:t>
            </a:r>
            <a:r>
              <a:rPr lang="de-DE" sz="1200" b="1" err="1">
                <a:latin typeface="+mj-lt"/>
              </a:rPr>
              <a:t>McCarran</a:t>
            </a:r>
            <a:r>
              <a:rPr lang="de-DE" sz="1200" b="1">
                <a:latin typeface="+mj-lt"/>
              </a:rPr>
              <a:t> International Airport)</a:t>
            </a:r>
          </a:p>
          <a:p>
            <a:r>
              <a:rPr lang="de-DE" sz="1200">
                <a:latin typeface="+mj-lt"/>
              </a:rPr>
              <a:t>  • THE CLUB AT LAS: Terminal 3, </a:t>
            </a:r>
            <a:r>
              <a:rPr lang="de-DE" sz="1200" err="1">
                <a:latin typeface="+mj-lt"/>
              </a:rPr>
              <a:t>past</a:t>
            </a:r>
            <a:r>
              <a:rPr lang="de-DE" sz="1200">
                <a:latin typeface="+mj-lt"/>
              </a:rPr>
              <a:t> the </a:t>
            </a:r>
            <a:r>
              <a:rPr lang="de-DE" sz="1200" err="1">
                <a:latin typeface="+mj-lt"/>
              </a:rPr>
              <a:t>security</a:t>
            </a:r>
            <a:r>
              <a:rPr lang="de-DE" sz="1200">
                <a:latin typeface="+mj-lt"/>
              </a:rPr>
              <a:t> </a:t>
            </a:r>
            <a:r>
              <a:rPr lang="de-DE" sz="1200" err="1">
                <a:latin typeface="+mj-lt"/>
              </a:rPr>
              <a:t>checkpoint</a:t>
            </a:r>
            <a:r>
              <a:rPr lang="de-DE" sz="1200">
                <a:latin typeface="+mj-lt"/>
              </a:rPr>
              <a:t>  </a:t>
            </a:r>
          </a:p>
          <a:p>
            <a:r>
              <a:rPr lang="de-DE" sz="1200">
                <a:latin typeface="+mj-lt"/>
              </a:rPr>
              <a:t>  • The Club LAS: </a:t>
            </a:r>
            <a:r>
              <a:rPr lang="de-DE" sz="1200" err="1">
                <a:latin typeface="+mj-lt"/>
              </a:rPr>
              <a:t>Concourse</a:t>
            </a:r>
            <a:r>
              <a:rPr lang="de-DE" sz="1200">
                <a:latin typeface="+mj-lt"/>
              </a:rPr>
              <a:t> D (</a:t>
            </a:r>
            <a:r>
              <a:rPr lang="de-DE" sz="1200" err="1">
                <a:latin typeface="+mj-lt"/>
              </a:rPr>
              <a:t>inside</a:t>
            </a:r>
            <a:r>
              <a:rPr lang="de-DE" sz="1200">
                <a:latin typeface="+mj-lt"/>
              </a:rPr>
              <a:t> </a:t>
            </a:r>
            <a:r>
              <a:rPr lang="de-DE" sz="1200" err="1">
                <a:latin typeface="+mj-lt"/>
              </a:rPr>
              <a:t>security</a:t>
            </a:r>
            <a:r>
              <a:rPr lang="de-DE" sz="1200">
                <a:latin typeface="+mj-lt"/>
              </a:rPr>
              <a:t>)</a:t>
            </a:r>
          </a:p>
          <a:p>
            <a:endParaRPr lang="de-DE" sz="1200">
              <a:latin typeface="+mj-lt"/>
            </a:endParaRPr>
          </a:p>
          <a:p>
            <a:r>
              <a:rPr lang="de-DE" sz="1200" b="1">
                <a:latin typeface="+mj-lt"/>
              </a:rPr>
              <a:t>JFK (John F. Kennedy International Airport)</a:t>
            </a:r>
          </a:p>
          <a:p>
            <a:r>
              <a:rPr lang="de-DE" sz="1200">
                <a:latin typeface="+mj-lt"/>
              </a:rPr>
              <a:t>  • Lounge Horizon@T7: </a:t>
            </a:r>
            <a:r>
              <a:rPr lang="de-DE" sz="1200" err="1">
                <a:latin typeface="+mj-lt"/>
              </a:rPr>
              <a:t>Upstairs</a:t>
            </a:r>
            <a:r>
              <a:rPr lang="de-DE" sz="1200">
                <a:latin typeface="+mj-lt"/>
              </a:rPr>
              <a:t> after TSA Checkpoint</a:t>
            </a:r>
          </a:p>
          <a:p>
            <a:endParaRPr lang="de-DE" sz="1200">
              <a:latin typeface="+mj-lt"/>
            </a:endParaRPr>
          </a:p>
          <a:p>
            <a:r>
              <a:rPr lang="de-DE" sz="1200" b="1">
                <a:latin typeface="+mj-lt"/>
              </a:rPr>
              <a:t>PHX (Phoenix Sky Harbor International Airport)</a:t>
            </a:r>
          </a:p>
          <a:p>
            <a:r>
              <a:rPr lang="de-DE" sz="1200">
                <a:latin typeface="+mj-lt"/>
              </a:rPr>
              <a:t>  • Escape Lounge: Terminal 4, Gate B22</a:t>
            </a:r>
          </a:p>
          <a:p>
            <a:endParaRPr lang="de-DE" sz="1200">
              <a:latin typeface="+mj-lt"/>
            </a:endParaRPr>
          </a:p>
          <a:p>
            <a:r>
              <a:rPr lang="de-DE" sz="1200" b="1">
                <a:latin typeface="+mj-lt"/>
              </a:rPr>
              <a:t>PDX (Portland International Airport)</a:t>
            </a:r>
          </a:p>
          <a:p>
            <a:r>
              <a:rPr lang="de-DE" sz="1200">
                <a:latin typeface="+mj-lt"/>
              </a:rPr>
              <a:t>  • United Club Lounge: After the </a:t>
            </a:r>
            <a:r>
              <a:rPr lang="de-DE" sz="1200" err="1">
                <a:latin typeface="+mj-lt"/>
              </a:rPr>
              <a:t>security</a:t>
            </a:r>
            <a:r>
              <a:rPr lang="de-DE" sz="1200">
                <a:latin typeface="+mj-lt"/>
              </a:rPr>
              <a:t> </a:t>
            </a:r>
            <a:r>
              <a:rPr lang="de-DE" sz="1200" err="1">
                <a:latin typeface="+mj-lt"/>
              </a:rPr>
              <a:t>control</a:t>
            </a:r>
            <a:endParaRPr lang="de-DE" sz="1200">
              <a:latin typeface="+mj-lt"/>
            </a:endParaRPr>
          </a:p>
          <a:p>
            <a:endParaRPr lang="en-US" sz="12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44261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4">
            <a:extLst>
              <a:ext uri="{FF2B5EF4-FFF2-40B4-BE49-F238E27FC236}">
                <a16:creationId xmlns:a16="http://schemas.microsoft.com/office/drawing/2014/main" id="{99BB123C-049A-4038-8B4B-17D524B0B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90513"/>
            <a:ext cx="6478587" cy="492443"/>
          </a:xfrm>
        </p:spPr>
        <p:txBody>
          <a:bodyPr anchor="t">
            <a:normAutofit/>
          </a:bodyPr>
          <a:lstStyle/>
          <a:p>
            <a:r>
              <a:rPr lang="de-DE" dirty="0"/>
              <a:t>Lounge </a:t>
            </a:r>
            <a:r>
              <a:rPr lang="de-DE" dirty="0" err="1"/>
              <a:t>access</a:t>
            </a:r>
            <a:r>
              <a:rPr lang="de-DE" dirty="0"/>
              <a:t> in Germany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14C3469-E96D-465C-9157-1ADEB83CE7A8}"/>
              </a:ext>
            </a:extLst>
          </p:cNvPr>
          <p:cNvSpPr txBox="1"/>
          <p:nvPr/>
        </p:nvSpPr>
        <p:spPr>
          <a:xfrm>
            <a:off x="394173" y="1272209"/>
            <a:ext cx="4271372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latin typeface="+mj-lt"/>
              </a:rPr>
              <a:t>FR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sz="1200" dirty="0">
                <a:latin typeface="+mj-lt"/>
              </a:rPr>
              <a:t>Lufthansa Business Lounge: Terminal 1, </a:t>
            </a:r>
            <a:r>
              <a:rPr lang="de-DE" sz="1200" dirty="0" err="1">
                <a:latin typeface="+mj-lt"/>
              </a:rPr>
              <a:t>departure</a:t>
            </a:r>
            <a:r>
              <a:rPr lang="de-DE" sz="1200" dirty="0">
                <a:latin typeface="+mj-lt"/>
              </a:rPr>
              <a:t> hall A, B (West &amp; East), C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sz="1200" dirty="0">
                <a:latin typeface="+mj-lt"/>
              </a:rPr>
              <a:t>Luxx Lounge, Terminal 1, </a:t>
            </a:r>
            <a:r>
              <a:rPr lang="de-DE" sz="1200" dirty="0" err="1">
                <a:latin typeface="+mj-lt"/>
              </a:rPr>
              <a:t>between</a:t>
            </a:r>
            <a:r>
              <a:rPr lang="de-DE" sz="1200" dirty="0">
                <a:latin typeface="+mj-lt"/>
              </a:rPr>
              <a:t> </a:t>
            </a:r>
            <a:r>
              <a:rPr lang="de-DE" sz="1200" dirty="0" err="1">
                <a:latin typeface="+mj-lt"/>
              </a:rPr>
              <a:t>departure</a:t>
            </a:r>
            <a:r>
              <a:rPr lang="de-DE" sz="1200" dirty="0">
                <a:latin typeface="+mj-lt"/>
              </a:rPr>
              <a:t> hall B &amp; C </a:t>
            </a:r>
          </a:p>
          <a:p>
            <a:r>
              <a:rPr lang="de-DE" sz="1200" dirty="0">
                <a:latin typeface="+mj-lt"/>
              </a:rPr>
              <a:t>	</a:t>
            </a:r>
          </a:p>
          <a:p>
            <a:r>
              <a:rPr lang="de-DE" sz="1200" b="1" dirty="0">
                <a:latin typeface="+mj-lt"/>
              </a:rPr>
              <a:t>MUC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>
                <a:latin typeface="+mj-lt"/>
              </a:rPr>
              <a:t>Airport Lounge Europe &amp; Airport Lounge World</a:t>
            </a:r>
            <a:endParaRPr lang="de-DE" sz="1200" dirty="0">
              <a:latin typeface="+mj-lt"/>
            </a:endParaRPr>
          </a:p>
          <a:p>
            <a:endParaRPr lang="de-DE" sz="1200" dirty="0">
              <a:latin typeface="+mj-lt"/>
            </a:endParaRPr>
          </a:p>
          <a:p>
            <a:r>
              <a:rPr lang="en-US" sz="1200" b="1" dirty="0">
                <a:latin typeface="+mj-lt"/>
              </a:rPr>
              <a:t>HAM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sz="1200" dirty="0">
                <a:latin typeface="+mj-lt"/>
              </a:rPr>
              <a:t>Airport Lounge Airport Plaza (</a:t>
            </a:r>
            <a:r>
              <a:rPr lang="de-DE" sz="1200" dirty="0" err="1">
                <a:latin typeface="+mj-lt"/>
              </a:rPr>
              <a:t>between</a:t>
            </a:r>
            <a:r>
              <a:rPr lang="de-DE" sz="1200" dirty="0">
                <a:latin typeface="+mj-lt"/>
              </a:rPr>
              <a:t> T1 &amp; T2)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endParaRPr lang="de-DE" sz="1200" b="0" i="0" dirty="0">
              <a:effectLst/>
              <a:latin typeface="+mj-lt"/>
            </a:endParaRPr>
          </a:p>
          <a:p>
            <a:pPr algn="l"/>
            <a:r>
              <a:rPr lang="de-DE" sz="1200" b="1" dirty="0">
                <a:latin typeface="+mj-lt"/>
              </a:rPr>
              <a:t>DUS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de-DE" sz="1200" b="0" i="0" dirty="0">
                <a:effectLst/>
                <a:latin typeface="+mj-lt"/>
              </a:rPr>
              <a:t>Hugo Junkers Lounge, Terminal B </a:t>
            </a:r>
          </a:p>
          <a:p>
            <a:pPr algn="l"/>
            <a:endParaRPr lang="en-US" sz="1200" dirty="0">
              <a:latin typeface="+mj-lt"/>
            </a:endParaRPr>
          </a:p>
          <a:p>
            <a:pPr algn="l"/>
            <a:r>
              <a:rPr lang="en-US" sz="1200" b="1" dirty="0">
                <a:latin typeface="+mj-lt"/>
              </a:rPr>
              <a:t>HAJ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de-DE" sz="1200" b="0" i="0" dirty="0">
                <a:effectLst/>
                <a:latin typeface="+mj-lt"/>
              </a:rPr>
              <a:t>Karl-Jatho Lounge</a:t>
            </a:r>
            <a:r>
              <a:rPr lang="de-DE" sz="1200" dirty="0">
                <a:latin typeface="+mj-lt"/>
              </a:rPr>
              <a:t>, </a:t>
            </a:r>
            <a:r>
              <a:rPr lang="de-DE" sz="1200" b="0" i="0" dirty="0">
                <a:effectLst/>
                <a:latin typeface="+mj-lt"/>
              </a:rPr>
              <a:t>Terminal A-B</a:t>
            </a:r>
            <a:endParaRPr lang="de-DE" sz="1200" dirty="0">
              <a:latin typeface="+mj-lt"/>
            </a:endParaRPr>
          </a:p>
          <a:p>
            <a:pPr algn="l"/>
            <a:endParaRPr lang="de-DE" sz="1200" dirty="0">
              <a:latin typeface="+mj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53A3A9F-0F4D-49C1-BB4E-2AD69A54C81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5545" y="1987775"/>
            <a:ext cx="3960000" cy="1985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41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891A537B-33AA-ECAC-883B-12A19206E1C4}"/>
              </a:ext>
            </a:extLst>
          </p:cNvPr>
          <p:cNvSpPr/>
          <p:nvPr/>
        </p:nvSpPr>
        <p:spPr bwMode="gray">
          <a:xfrm>
            <a:off x="1" y="1058863"/>
            <a:ext cx="9144000" cy="40846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DBBB9E9-243D-49DD-9B3D-FE84122F528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3238" y="290513"/>
            <a:ext cx="6478587" cy="492443"/>
          </a:xfrm>
        </p:spPr>
        <p:txBody>
          <a:bodyPr/>
          <a:lstStyle/>
          <a:p>
            <a:r>
              <a:rPr lang="en-US"/>
              <a:t>Sustainability </a:t>
            </a:r>
            <a:br>
              <a:rPr lang="en-US"/>
            </a:br>
            <a:r>
              <a:rPr lang="en-US" b="0"/>
              <a:t>Part of our Mission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D4D5511-39EF-D071-E0CF-C15A5CA807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Condor Sales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143A0E-051C-A473-5C0F-B3714810C9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Page </a:t>
            </a:r>
            <a:fld id="{C1238E5F-BF35-42A5-A94E-68B816B46E96}" type="slidenum">
              <a:rPr lang="en-US" smtClean="0">
                <a:solidFill>
                  <a:schemeClr val="bg1"/>
                </a:solidFill>
              </a:rPr>
              <a:pPr/>
              <a:t>16</a:t>
            </a:fld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75409E5D-6CD1-FB15-7F20-E8AF06D06E6F}"/>
              </a:ext>
            </a:extLst>
          </p:cNvPr>
          <p:cNvGrpSpPr/>
          <p:nvPr/>
        </p:nvGrpSpPr>
        <p:grpSpPr bwMode="gray">
          <a:xfrm>
            <a:off x="0" y="4144960"/>
            <a:ext cx="324000" cy="742950"/>
            <a:chOff x="0" y="4144960"/>
            <a:chExt cx="324000" cy="742950"/>
          </a:xfrm>
          <a:solidFill>
            <a:schemeClr val="bg2"/>
          </a:solidFill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F0DEA1CA-C923-A962-4D2E-A1A657FACA18}"/>
                </a:ext>
              </a:extLst>
            </p:cNvPr>
            <p:cNvSpPr/>
            <p:nvPr userDrawn="1"/>
          </p:nvSpPr>
          <p:spPr bwMode="gray">
            <a:xfrm>
              <a:off x="0" y="4144960"/>
              <a:ext cx="323528" cy="7429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A06E51F9-F575-DAAE-0FF5-B2A38B8E0F9D}"/>
                </a:ext>
              </a:extLst>
            </p:cNvPr>
            <p:cNvGrpSpPr/>
            <p:nvPr/>
          </p:nvGrpSpPr>
          <p:grpSpPr bwMode="gray">
            <a:xfrm>
              <a:off x="0" y="4144960"/>
              <a:ext cx="324000" cy="742950"/>
              <a:chOff x="0" y="4154488"/>
              <a:chExt cx="324000" cy="742950"/>
            </a:xfrm>
            <a:grpFill/>
          </p:grpSpPr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C0E88ABD-4C77-5BF0-D0DA-AA0B60F21D3A}"/>
                  </a:ext>
                </a:extLst>
              </p:cNvPr>
              <p:cNvSpPr/>
              <p:nvPr userDrawn="1"/>
            </p:nvSpPr>
            <p:spPr bwMode="gray">
              <a:xfrm>
                <a:off x="0" y="4154488"/>
                <a:ext cx="324000" cy="8255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EF6E1749-9FA8-3C29-A4BF-F45B9B589C19}"/>
                  </a:ext>
                </a:extLst>
              </p:cNvPr>
              <p:cNvSpPr/>
              <p:nvPr userDrawn="1"/>
            </p:nvSpPr>
            <p:spPr bwMode="gray">
              <a:xfrm>
                <a:off x="0" y="4319588"/>
                <a:ext cx="324000" cy="8255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1B84B35C-AB0A-34FB-A624-BDA17C7658D2}"/>
                  </a:ext>
                </a:extLst>
              </p:cNvPr>
              <p:cNvSpPr/>
              <p:nvPr userDrawn="1"/>
            </p:nvSpPr>
            <p:spPr bwMode="gray">
              <a:xfrm>
                <a:off x="0" y="4484688"/>
                <a:ext cx="324000" cy="8255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CB0EC6E3-2F3A-CBD0-19D1-65AE1F7B6675}"/>
                  </a:ext>
                </a:extLst>
              </p:cNvPr>
              <p:cNvSpPr/>
              <p:nvPr userDrawn="1"/>
            </p:nvSpPr>
            <p:spPr bwMode="gray">
              <a:xfrm>
                <a:off x="0" y="4649788"/>
                <a:ext cx="324000" cy="8255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Rechteck 15">
                <a:extLst>
                  <a:ext uri="{FF2B5EF4-FFF2-40B4-BE49-F238E27FC236}">
                    <a16:creationId xmlns:a16="http://schemas.microsoft.com/office/drawing/2014/main" id="{C6611DF7-2B71-9479-3700-13ECC603BEE3}"/>
                  </a:ext>
                </a:extLst>
              </p:cNvPr>
              <p:cNvSpPr/>
              <p:nvPr userDrawn="1"/>
            </p:nvSpPr>
            <p:spPr bwMode="gray">
              <a:xfrm>
                <a:off x="0" y="4814888"/>
                <a:ext cx="324000" cy="8255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17" name="Gerade Verbindung 10">
            <a:extLst>
              <a:ext uri="{FF2B5EF4-FFF2-40B4-BE49-F238E27FC236}">
                <a16:creationId xmlns:a16="http://schemas.microsoft.com/office/drawing/2014/main" id="{9AFCCE8C-63D0-8730-017F-67F59869A77D}"/>
              </a:ext>
            </a:extLst>
          </p:cNvPr>
          <p:cNvCxnSpPr>
            <a:cxnSpLocks/>
          </p:cNvCxnSpPr>
          <p:nvPr/>
        </p:nvCxnSpPr>
        <p:spPr bwMode="gray">
          <a:xfrm>
            <a:off x="507037" y="4890683"/>
            <a:ext cx="8133726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A226D394-EAF8-0C13-6C9F-CA2A38C1CCCC}"/>
              </a:ext>
            </a:extLst>
          </p:cNvPr>
          <p:cNvSpPr txBox="1"/>
          <p:nvPr/>
        </p:nvSpPr>
        <p:spPr bwMode="gray">
          <a:xfrm>
            <a:off x="1381277" y="1577287"/>
            <a:ext cx="146196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000"/>
              </a:spcAft>
            </a:pPr>
            <a:r>
              <a:rPr lang="en-US" sz="1400" b="1">
                <a:solidFill>
                  <a:schemeClr val="bg1"/>
                </a:solidFill>
              </a:rPr>
              <a:t>Our </a:t>
            </a:r>
            <a:br>
              <a:rPr lang="en-US" sz="1400" b="1">
                <a:solidFill>
                  <a:schemeClr val="bg1"/>
                </a:solidFill>
              </a:rPr>
            </a:br>
            <a:r>
              <a:rPr lang="en-US" sz="1400" b="1">
                <a:solidFill>
                  <a:schemeClr val="bg1"/>
                </a:solidFill>
              </a:rPr>
              <a:t>Technology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A61A951-EFFF-3037-91D5-A297D6780BE3}"/>
              </a:ext>
            </a:extLst>
          </p:cNvPr>
          <p:cNvSpPr txBox="1"/>
          <p:nvPr/>
        </p:nvSpPr>
        <p:spPr bwMode="gray">
          <a:xfrm>
            <a:off x="4279659" y="1577287"/>
            <a:ext cx="146196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000"/>
              </a:spcAft>
            </a:pPr>
            <a:r>
              <a:rPr lang="en-US" sz="1400" b="1">
                <a:solidFill>
                  <a:schemeClr val="bg1"/>
                </a:solidFill>
              </a:rPr>
              <a:t>Social </a:t>
            </a:r>
            <a:br>
              <a:rPr lang="en-US" sz="1400" b="1">
                <a:solidFill>
                  <a:schemeClr val="bg1"/>
                </a:solidFill>
              </a:rPr>
            </a:br>
            <a:r>
              <a:rPr lang="en-US" sz="1400" b="1">
                <a:solidFill>
                  <a:schemeClr val="bg1"/>
                </a:solidFill>
              </a:rPr>
              <a:t>Responsibility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D65CE093-A5CE-2AB9-68B5-C3EFC166F07D}"/>
              </a:ext>
            </a:extLst>
          </p:cNvPr>
          <p:cNvSpPr txBox="1"/>
          <p:nvPr/>
        </p:nvSpPr>
        <p:spPr bwMode="gray">
          <a:xfrm>
            <a:off x="7178040" y="1577287"/>
            <a:ext cx="146196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000"/>
              </a:spcAft>
            </a:pPr>
            <a:r>
              <a:rPr lang="en-US" sz="1400" b="1">
                <a:solidFill>
                  <a:schemeClr val="bg1"/>
                </a:solidFill>
              </a:rPr>
              <a:t>Integrated Sustainability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CDB8DEA2-7A9A-84D5-F413-EBF31A7F1C55}"/>
              </a:ext>
            </a:extLst>
          </p:cNvPr>
          <p:cNvGrpSpPr/>
          <p:nvPr/>
        </p:nvGrpSpPr>
        <p:grpSpPr>
          <a:xfrm>
            <a:off x="3401619" y="1404269"/>
            <a:ext cx="776923" cy="776923"/>
            <a:chOff x="3401619" y="1404269"/>
            <a:chExt cx="776923" cy="776923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E5DD1FEB-8F01-EAD0-DB70-1EF2472D40C9}"/>
                </a:ext>
              </a:extLst>
            </p:cNvPr>
            <p:cNvSpPr/>
            <p:nvPr/>
          </p:nvSpPr>
          <p:spPr bwMode="gray">
            <a:xfrm>
              <a:off x="3401619" y="1404269"/>
              <a:ext cx="776923" cy="77692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100">
                <a:solidFill>
                  <a:schemeClr val="bg1"/>
                </a:solidFill>
              </a:endParaRPr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55C10928-0A76-E3CC-75CA-3283B077CC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84080" y="1486730"/>
              <a:ext cx="612000" cy="612000"/>
            </a:xfrm>
            <a:prstGeom prst="rect">
              <a:avLst/>
            </a:prstGeom>
          </p:spPr>
        </p:pic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7A7B2F19-CA8C-6389-2164-844CF2F756FA}"/>
              </a:ext>
            </a:extLst>
          </p:cNvPr>
          <p:cNvGrpSpPr/>
          <p:nvPr/>
        </p:nvGrpSpPr>
        <p:grpSpPr>
          <a:xfrm>
            <a:off x="503236" y="1404269"/>
            <a:ext cx="776923" cy="776923"/>
            <a:chOff x="503236" y="1404269"/>
            <a:chExt cx="776923" cy="776923"/>
          </a:xfrm>
        </p:grpSpPr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149913E7-088C-CE46-32FC-73EC4395B2D0}"/>
                </a:ext>
              </a:extLst>
            </p:cNvPr>
            <p:cNvSpPr/>
            <p:nvPr/>
          </p:nvSpPr>
          <p:spPr bwMode="gray">
            <a:xfrm>
              <a:off x="503236" y="1404269"/>
              <a:ext cx="776923" cy="77692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100">
                <a:solidFill>
                  <a:schemeClr val="bg1"/>
                </a:solidFill>
              </a:endParaRP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5796CCAB-4148-99C4-FAEF-52C098B9561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00797" y="1501830"/>
              <a:ext cx="581800" cy="581800"/>
            </a:xfrm>
            <a:prstGeom prst="rect">
              <a:avLst/>
            </a:prstGeom>
          </p:spPr>
        </p:pic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0DDA6F02-2BEC-1544-C01C-A7D43D4C3B24}"/>
              </a:ext>
            </a:extLst>
          </p:cNvPr>
          <p:cNvGrpSpPr/>
          <p:nvPr/>
        </p:nvGrpSpPr>
        <p:grpSpPr>
          <a:xfrm>
            <a:off x="6300000" y="1404269"/>
            <a:ext cx="776923" cy="776923"/>
            <a:chOff x="6300000" y="1404269"/>
            <a:chExt cx="776923" cy="776923"/>
          </a:xfrm>
        </p:grpSpPr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22ED6090-6DA7-3D54-CF17-7DC6FE78D88A}"/>
                </a:ext>
              </a:extLst>
            </p:cNvPr>
            <p:cNvSpPr/>
            <p:nvPr/>
          </p:nvSpPr>
          <p:spPr bwMode="gray">
            <a:xfrm>
              <a:off x="6300000" y="1404269"/>
              <a:ext cx="776923" cy="77692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100">
                <a:solidFill>
                  <a:schemeClr val="bg1"/>
                </a:solidFill>
              </a:endParaRP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A7EF5745-0EF6-5B90-A950-23700F1ED7D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382461" y="1486730"/>
              <a:ext cx="612000" cy="612000"/>
            </a:xfrm>
            <a:prstGeom prst="rect">
              <a:avLst/>
            </a:prstGeom>
          </p:spPr>
        </p:pic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F0ECC12D-3F86-89F1-4FF8-587DDBBD9136}"/>
              </a:ext>
            </a:extLst>
          </p:cNvPr>
          <p:cNvGrpSpPr/>
          <p:nvPr/>
        </p:nvGrpSpPr>
        <p:grpSpPr>
          <a:xfrm>
            <a:off x="3122428" y="1400821"/>
            <a:ext cx="2898382" cy="3239440"/>
            <a:chOff x="3122428" y="1434237"/>
            <a:chExt cx="2898382" cy="3206023"/>
          </a:xfrm>
        </p:grpSpPr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71785CCD-3364-1F41-499A-AC0CDFC2ACB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020810" y="1434237"/>
              <a:ext cx="0" cy="3206023"/>
            </a:xfrm>
            <a:prstGeom prst="line">
              <a:avLst/>
            </a:prstGeom>
            <a:ln w="6350">
              <a:solidFill>
                <a:schemeClr val="bg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C678A690-4502-0E99-FBA0-9BF07CAC90B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122428" y="1434237"/>
              <a:ext cx="0" cy="3206023"/>
            </a:xfrm>
            <a:prstGeom prst="line">
              <a:avLst/>
            </a:prstGeom>
            <a:ln w="6350">
              <a:solidFill>
                <a:schemeClr val="bg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D62A3030-AA07-7318-1FAF-497160062748}"/>
              </a:ext>
            </a:extLst>
          </p:cNvPr>
          <p:cNvGrpSpPr/>
          <p:nvPr/>
        </p:nvGrpSpPr>
        <p:grpSpPr>
          <a:xfrm>
            <a:off x="503237" y="2437658"/>
            <a:ext cx="2340000" cy="1993088"/>
            <a:chOff x="503237" y="2437658"/>
            <a:chExt cx="2340000" cy="1993088"/>
          </a:xfrm>
        </p:grpSpPr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195473D8-38E8-3C88-395C-C635AF18B8BB}"/>
                </a:ext>
              </a:extLst>
            </p:cNvPr>
            <p:cNvSpPr txBox="1"/>
            <p:nvPr/>
          </p:nvSpPr>
          <p:spPr bwMode="gray">
            <a:xfrm>
              <a:off x="503237" y="2437658"/>
              <a:ext cx="2339997" cy="784830"/>
            </a:xfrm>
            <a:prstGeom prst="rect">
              <a:avLst/>
            </a:prstGeom>
            <a:noFill/>
          </p:spPr>
          <p:txBody>
            <a:bodyPr wrap="square" lIns="10800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cap="all">
                  <a:solidFill>
                    <a:schemeClr val="bg1"/>
                  </a:solidFill>
                </a:rPr>
                <a:t>Long-Haul,</a:t>
              </a:r>
              <a:br>
                <a:rPr lang="en-US" sz="1000" cap="all">
                  <a:solidFill>
                    <a:schemeClr val="bg1"/>
                  </a:solidFill>
                </a:rPr>
              </a:br>
              <a:r>
                <a:rPr lang="en-US" sz="1000">
                  <a:solidFill>
                    <a:schemeClr val="bg1"/>
                  </a:solidFill>
                </a:rPr>
                <a:t>By mid-2024 up to:</a:t>
              </a:r>
            </a:p>
            <a:p>
              <a:pPr>
                <a:spcAft>
                  <a:spcPts val="6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20</a:t>
              </a:r>
              <a:r>
                <a:rPr lang="en-US" sz="1200" b="1">
                  <a:solidFill>
                    <a:schemeClr val="bg1"/>
                  </a:solidFill>
                </a:rPr>
                <a:t>%</a:t>
              </a:r>
              <a:r>
                <a:rPr lang="en-US" sz="1600" b="1">
                  <a:solidFill>
                    <a:schemeClr val="bg1"/>
                  </a:solidFill>
                </a:rPr>
                <a:t> </a:t>
              </a:r>
              <a:r>
                <a:rPr lang="en-US" sz="1000">
                  <a:solidFill>
                    <a:schemeClr val="bg1"/>
                  </a:solidFill>
                </a:rPr>
                <a:t>less </a:t>
              </a:r>
              <a:br>
                <a:rPr lang="en-US" sz="1000">
                  <a:solidFill>
                    <a:schemeClr val="bg1"/>
                  </a:solidFill>
                </a:rPr>
              </a:br>
              <a:r>
                <a:rPr lang="en-US" sz="1000">
                  <a:solidFill>
                    <a:schemeClr val="bg1"/>
                  </a:solidFill>
                </a:rPr>
                <a:t>CO2 emissions</a:t>
              </a:r>
            </a:p>
          </p:txBody>
        </p: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A21CBFAB-6F3D-AEC7-6B6E-E0CF53BD09C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23297" y="3434202"/>
              <a:ext cx="2219937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BDF5B24C-BCA0-573F-A3F7-187F81015B65}"/>
                </a:ext>
              </a:extLst>
            </p:cNvPr>
            <p:cNvSpPr txBox="1"/>
            <p:nvPr/>
          </p:nvSpPr>
          <p:spPr bwMode="gray">
            <a:xfrm>
              <a:off x="503238" y="3645916"/>
              <a:ext cx="2339999" cy="784830"/>
            </a:xfrm>
            <a:prstGeom prst="rect">
              <a:avLst/>
            </a:prstGeom>
            <a:noFill/>
          </p:spPr>
          <p:txBody>
            <a:bodyPr wrap="square" lIns="10800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cap="all">
                  <a:solidFill>
                    <a:schemeClr val="bg1"/>
                  </a:solidFill>
                </a:rPr>
                <a:t>Short-Haul/Medium-Haul,</a:t>
              </a:r>
              <a:br>
                <a:rPr lang="en-US" sz="1000" cap="all">
                  <a:solidFill>
                    <a:schemeClr val="bg1"/>
                  </a:solidFill>
                </a:rPr>
              </a:br>
              <a:r>
                <a:rPr lang="en-US" sz="1000">
                  <a:solidFill>
                    <a:schemeClr val="bg1"/>
                  </a:solidFill>
                </a:rPr>
                <a:t>From 2024 up to:</a:t>
              </a:r>
            </a:p>
            <a:p>
              <a:pPr>
                <a:spcAft>
                  <a:spcPts val="6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20</a:t>
              </a:r>
              <a:r>
                <a:rPr lang="en-US" sz="1200" b="1">
                  <a:solidFill>
                    <a:schemeClr val="bg1"/>
                  </a:solidFill>
                </a:rPr>
                <a:t>%</a:t>
              </a:r>
              <a:r>
                <a:rPr lang="en-US" sz="1600" b="1">
                  <a:solidFill>
                    <a:schemeClr val="bg1"/>
                  </a:solidFill>
                </a:rPr>
                <a:t> </a:t>
              </a:r>
              <a:r>
                <a:rPr lang="en-US" sz="1000">
                  <a:solidFill>
                    <a:schemeClr val="bg1"/>
                  </a:solidFill>
                </a:rPr>
                <a:t>less </a:t>
              </a:r>
              <a:br>
                <a:rPr lang="en-US" sz="1000">
                  <a:solidFill>
                    <a:schemeClr val="bg1"/>
                  </a:solidFill>
                </a:rPr>
              </a:br>
              <a:r>
                <a:rPr lang="en-US" sz="1000">
                  <a:solidFill>
                    <a:schemeClr val="bg1"/>
                  </a:solidFill>
                </a:rPr>
                <a:t>CO2 emissions</a:t>
              </a:r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788B5F6A-E32E-76FD-6166-AD1187256DF4}"/>
                </a:ext>
              </a:extLst>
            </p:cNvPr>
            <p:cNvSpPr txBox="1"/>
            <p:nvPr/>
          </p:nvSpPr>
          <p:spPr bwMode="gray">
            <a:xfrm>
              <a:off x="1673235" y="2822378"/>
              <a:ext cx="1169999" cy="400110"/>
            </a:xfrm>
            <a:prstGeom prst="rect">
              <a:avLst/>
            </a:prstGeom>
            <a:noFill/>
          </p:spPr>
          <p:txBody>
            <a:bodyPr wrap="square" lIns="10800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60</a:t>
              </a:r>
              <a:r>
                <a:rPr lang="en-US" sz="1200" b="1">
                  <a:solidFill>
                    <a:schemeClr val="bg1"/>
                  </a:solidFill>
                </a:rPr>
                <a:t>%</a:t>
              </a:r>
              <a:r>
                <a:rPr lang="en-US" sz="1600" b="1">
                  <a:solidFill>
                    <a:schemeClr val="bg1"/>
                  </a:solidFill>
                </a:rPr>
                <a:t> </a:t>
              </a:r>
              <a:r>
                <a:rPr lang="en-US" sz="1000">
                  <a:solidFill>
                    <a:schemeClr val="bg1"/>
                  </a:solidFill>
                </a:rPr>
                <a:t>less </a:t>
              </a:r>
              <a:br>
                <a:rPr lang="en-US" sz="1000">
                  <a:solidFill>
                    <a:schemeClr val="bg1"/>
                  </a:solidFill>
                </a:rPr>
              </a:br>
              <a:r>
                <a:rPr lang="en-US" sz="1000">
                  <a:solidFill>
                    <a:schemeClr val="bg1"/>
                  </a:solidFill>
                </a:rPr>
                <a:t>noise pollution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C1F4BD1C-86DB-F0C8-4339-2BA39F17E6DC}"/>
                </a:ext>
              </a:extLst>
            </p:cNvPr>
            <p:cNvSpPr txBox="1"/>
            <p:nvPr/>
          </p:nvSpPr>
          <p:spPr bwMode="gray">
            <a:xfrm>
              <a:off x="1673235" y="4030636"/>
              <a:ext cx="1169999" cy="400110"/>
            </a:xfrm>
            <a:prstGeom prst="rect">
              <a:avLst/>
            </a:prstGeom>
            <a:noFill/>
          </p:spPr>
          <p:txBody>
            <a:bodyPr wrap="square" lIns="10800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50</a:t>
              </a:r>
              <a:r>
                <a:rPr lang="en-US" sz="1200" b="1">
                  <a:solidFill>
                    <a:schemeClr val="bg1"/>
                  </a:solidFill>
                </a:rPr>
                <a:t>%</a:t>
              </a:r>
              <a:r>
                <a:rPr lang="en-US" sz="1600" b="1">
                  <a:solidFill>
                    <a:schemeClr val="bg1"/>
                  </a:solidFill>
                </a:rPr>
                <a:t> </a:t>
              </a:r>
              <a:r>
                <a:rPr lang="en-US" sz="1000">
                  <a:solidFill>
                    <a:schemeClr val="bg1"/>
                  </a:solidFill>
                </a:rPr>
                <a:t>less </a:t>
              </a:r>
              <a:br>
                <a:rPr lang="en-US" sz="1000">
                  <a:solidFill>
                    <a:schemeClr val="bg1"/>
                  </a:solidFill>
                </a:rPr>
              </a:br>
              <a:r>
                <a:rPr lang="en-US" sz="1000">
                  <a:solidFill>
                    <a:schemeClr val="bg1"/>
                  </a:solidFill>
                </a:rPr>
                <a:t>noise pollution</a:t>
              </a:r>
            </a:p>
          </p:txBody>
        </p:sp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DC5F2418-9763-7C9B-9BD4-52A694525A96}"/>
              </a:ext>
            </a:extLst>
          </p:cNvPr>
          <p:cNvGrpSpPr/>
          <p:nvPr/>
        </p:nvGrpSpPr>
        <p:grpSpPr>
          <a:xfrm>
            <a:off x="3401619" y="2437658"/>
            <a:ext cx="2340000" cy="1900755"/>
            <a:chOff x="3401619" y="2437658"/>
            <a:chExt cx="2340000" cy="1900755"/>
          </a:xfrm>
        </p:grpSpPr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3E22D1A5-040D-4554-6278-008F48F6B0CA}"/>
                </a:ext>
              </a:extLst>
            </p:cNvPr>
            <p:cNvSpPr txBox="1"/>
            <p:nvPr/>
          </p:nvSpPr>
          <p:spPr bwMode="gray">
            <a:xfrm>
              <a:off x="3401619" y="2437658"/>
              <a:ext cx="2340000" cy="307777"/>
            </a:xfrm>
            <a:prstGeom prst="rect">
              <a:avLst/>
            </a:prstGeom>
            <a:noFill/>
          </p:spPr>
          <p:txBody>
            <a:bodyPr wrap="square" lIns="10800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b="1">
                  <a:solidFill>
                    <a:schemeClr val="bg1"/>
                  </a:solidFill>
                </a:rPr>
                <a:t>Highest labor standards</a:t>
              </a:r>
              <a:br>
                <a:rPr lang="en-US" sz="1000" b="1">
                  <a:solidFill>
                    <a:schemeClr val="bg1"/>
                  </a:solidFill>
                </a:rPr>
              </a:br>
              <a:r>
                <a:rPr lang="en-US" sz="1000">
                  <a:solidFill>
                    <a:schemeClr val="bg1"/>
                  </a:solidFill>
                </a:rPr>
                <a:t>for our employees.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52F08EC7-5E4E-5675-FA6D-240CBA3058F2}"/>
                </a:ext>
              </a:extLst>
            </p:cNvPr>
            <p:cNvSpPr txBox="1"/>
            <p:nvPr/>
          </p:nvSpPr>
          <p:spPr bwMode="gray">
            <a:xfrm>
              <a:off x="3401619" y="4030636"/>
              <a:ext cx="2340000" cy="307777"/>
            </a:xfrm>
            <a:prstGeom prst="rect">
              <a:avLst/>
            </a:prstGeom>
            <a:noFill/>
          </p:spPr>
          <p:txBody>
            <a:bodyPr wrap="square" lIns="10800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>
                  <a:solidFill>
                    <a:schemeClr val="bg1"/>
                  </a:solidFill>
                </a:rPr>
                <a:t>We support </a:t>
              </a:r>
              <a:br>
                <a:rPr lang="en-US" sz="1000">
                  <a:solidFill>
                    <a:schemeClr val="bg1"/>
                  </a:solidFill>
                </a:rPr>
              </a:br>
              <a:r>
                <a:rPr lang="en-US" sz="1000" b="1">
                  <a:solidFill>
                    <a:schemeClr val="bg1"/>
                  </a:solidFill>
                </a:rPr>
                <a:t>local communities.</a:t>
              </a: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AF7336BD-6CC7-AB81-FBF5-A98F5FF4A417}"/>
                </a:ext>
              </a:extLst>
            </p:cNvPr>
            <p:cNvSpPr txBox="1"/>
            <p:nvPr/>
          </p:nvSpPr>
          <p:spPr bwMode="gray">
            <a:xfrm>
              <a:off x="3401619" y="2952767"/>
              <a:ext cx="2340000" cy="646331"/>
            </a:xfrm>
            <a:prstGeom prst="rect">
              <a:avLst/>
            </a:prstGeom>
            <a:noFill/>
          </p:spPr>
          <p:txBody>
            <a:bodyPr wrap="square" lIns="10800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1" cap="all">
                  <a:ln w="6350">
                    <a:solidFill>
                      <a:schemeClr val="bg1"/>
                    </a:solidFill>
                  </a:ln>
                  <a:noFill/>
                </a:rPr>
                <a:t>#Equalopportunities</a:t>
              </a:r>
              <a:br>
                <a:rPr lang="en-US" sz="1400" b="1" cap="all">
                  <a:ln w="6350">
                    <a:solidFill>
                      <a:schemeClr val="bg1"/>
                    </a:solidFill>
                  </a:ln>
                  <a:noFill/>
                </a:rPr>
              </a:br>
              <a:r>
                <a:rPr lang="en-US" sz="1400" b="1" cap="all">
                  <a:ln w="6350">
                    <a:solidFill>
                      <a:schemeClr val="bg1"/>
                    </a:solidFill>
                  </a:ln>
                  <a:noFill/>
                </a:rPr>
                <a:t>#Diversity</a:t>
              </a:r>
              <a:br>
                <a:rPr lang="en-US" sz="1400" b="1" cap="all">
                  <a:ln w="6350">
                    <a:solidFill>
                      <a:schemeClr val="bg1"/>
                    </a:solidFill>
                  </a:ln>
                  <a:noFill/>
                </a:rPr>
              </a:br>
              <a:r>
                <a:rPr lang="en-US" sz="1400" b="1" cap="all">
                  <a:ln w="6350">
                    <a:solidFill>
                      <a:schemeClr val="bg1"/>
                    </a:solidFill>
                  </a:ln>
                  <a:noFill/>
                </a:rPr>
                <a:t>#Fairness</a:t>
              </a:r>
            </a:p>
          </p:txBody>
        </p: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0C1BC63A-F2B3-907E-3052-B9BD64C4427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521682" y="3814867"/>
              <a:ext cx="2219937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FAAB8D52-E827-2FE6-B729-EA00EAB54B8C}"/>
              </a:ext>
            </a:extLst>
          </p:cNvPr>
          <p:cNvGrpSpPr/>
          <p:nvPr/>
        </p:nvGrpSpPr>
        <p:grpSpPr>
          <a:xfrm>
            <a:off x="6300000" y="2437658"/>
            <a:ext cx="2340000" cy="1366487"/>
            <a:chOff x="6300000" y="2437658"/>
            <a:chExt cx="2340000" cy="1366487"/>
          </a:xfrm>
        </p:grpSpPr>
        <p:sp>
          <p:nvSpPr>
            <p:cNvPr id="2" name="Textfeld 1">
              <a:extLst>
                <a:ext uri="{FF2B5EF4-FFF2-40B4-BE49-F238E27FC236}">
                  <a16:creationId xmlns:a16="http://schemas.microsoft.com/office/drawing/2014/main" id="{366310FD-9750-C498-03B9-48366EBEDA40}"/>
                </a:ext>
              </a:extLst>
            </p:cNvPr>
            <p:cNvSpPr txBox="1"/>
            <p:nvPr/>
          </p:nvSpPr>
          <p:spPr bwMode="gray">
            <a:xfrm>
              <a:off x="6300000" y="2437658"/>
              <a:ext cx="2340000" cy="461665"/>
            </a:xfrm>
            <a:prstGeom prst="rect">
              <a:avLst/>
            </a:prstGeom>
            <a:noFill/>
          </p:spPr>
          <p:txBody>
            <a:bodyPr wrap="square" lIns="10800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b="1">
                  <a:solidFill>
                    <a:schemeClr val="bg1"/>
                  </a:solidFill>
                </a:rPr>
                <a:t>Forgo super-short routes </a:t>
              </a:r>
              <a:br>
                <a:rPr lang="en-US" sz="1000" b="1">
                  <a:solidFill>
                    <a:schemeClr val="bg1"/>
                  </a:solidFill>
                </a:rPr>
              </a:br>
              <a:r>
                <a:rPr lang="en-US" sz="1000">
                  <a:solidFill>
                    <a:schemeClr val="bg1"/>
                  </a:solidFill>
                </a:rPr>
                <a:t>that can be provided by other</a:t>
              </a:r>
              <a:br>
                <a:rPr lang="en-US" sz="1000">
                  <a:solidFill>
                    <a:schemeClr val="bg1"/>
                  </a:solidFill>
                </a:rPr>
              </a:br>
              <a:r>
                <a:rPr lang="en-US" sz="1000">
                  <a:solidFill>
                    <a:schemeClr val="bg1"/>
                  </a:solidFill>
                </a:rPr>
                <a:t>modes of transportation.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2C910F70-B77F-3FE4-8CEF-0BC3EAE48296}"/>
                </a:ext>
              </a:extLst>
            </p:cNvPr>
            <p:cNvSpPr txBox="1"/>
            <p:nvPr/>
          </p:nvSpPr>
          <p:spPr bwMode="gray">
            <a:xfrm>
              <a:off x="6300000" y="3342480"/>
              <a:ext cx="2340000" cy="461665"/>
            </a:xfrm>
            <a:prstGeom prst="rect">
              <a:avLst/>
            </a:prstGeom>
            <a:noFill/>
          </p:spPr>
          <p:txBody>
            <a:bodyPr wrap="square" lIns="10800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b="1">
                  <a:solidFill>
                    <a:schemeClr val="bg1"/>
                  </a:solidFill>
                </a:rPr>
                <a:t>We support sustainable tourism initiatives </a:t>
              </a:r>
              <a:r>
                <a:rPr lang="en-US" sz="1000">
                  <a:solidFill>
                    <a:schemeClr val="bg1"/>
                  </a:solidFill>
                </a:rPr>
                <a:t>to protect the environment and cultural heritage.</a:t>
              </a:r>
              <a:endParaRPr lang="en-US" sz="800">
                <a:solidFill>
                  <a:schemeClr val="bg1"/>
                </a:solidFill>
              </a:endParaRPr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29E82F5A-1462-6119-0BEB-516500EE23A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420063" y="3120902"/>
              <a:ext cx="2219937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9791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2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2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6" presetClass="emph" presetSubtype="0" fill="hold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10" dur="10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1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2" dur="25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3" presetID="10" presetClass="entr" presetSubtype="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10" presetClass="entr" presetSubtype="0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8" dur="25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9" presetID="42" presetClass="path" presetSubtype="0" decel="100000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animMotion origin="layout" path="M -3.75E-6 -0.03472 L -3.75E-6 1.85185E-6 " pathEditMode="relative" rAng="0" ptsTypes="AA">
                                          <p:cBhvr>
                                            <p:cTn id="20" dur="5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1736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22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2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2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6" presetID="6" presetClass="emph" presetSubtype="0" fill="hold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27" dur="1000" fill="hold"/>
                                            <p:tgtEl>
                                              <p:spTgt spid="53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8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29" dur="250" fill="hold"/>
                                            <p:tgtEl>
                                              <p:spTgt spid="53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10" presetClass="entr" presetSubtype="0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25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42" presetClass="path" presetSubtype="0" decel="100000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animMotion origin="layout" path="M -3.75E-6 -0.03472 L -3.75E-6 1.85185E-6 " pathEditMode="relative" rAng="0" ptsTypes="AA">
                                          <p:cBhvr>
                                            <p:cTn id="37" dur="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1736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8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9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1" dur="2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2" dur="2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6" presetClass="emph" presetSubtype="0" fill="hold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44" dur="1000" fill="hold"/>
                                            <p:tgtEl>
                                              <p:spTgt spid="54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5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46" dur="250" fill="hold"/>
                                            <p:tgtEl>
                                              <p:spTgt spid="54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7" presetID="10" presetClass="entr" presetSubtype="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10" presetClass="entr" presetSubtype="0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25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42" presetClass="path" presetSubtype="0" decel="100000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animMotion origin="layout" path="M -3.75E-6 -0.03472 L -3.75E-6 1.85185E-6 " pathEditMode="relative" rAng="0" ptsTypes="AA">
                                          <p:cBhvr>
                                            <p:cTn id="54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1736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/>
          <p:bldP spid="20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2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2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0" dur="100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1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2" dur="250" fill="hold"/>
                                            <p:tgtEl>
                                              <p:spTgt spid="52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3" presetID="10" presetClass="entr" presetSubtype="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5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10" presetClass="entr" presetSubtype="0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8" dur="25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9" presetID="42" presetClass="path" presetSubtype="0" decel="100000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animMotion origin="layout" path="M -3.75E-6 -0.03472 L -3.75E-6 1.85185E-6 " pathEditMode="relative" rAng="0" ptsTypes="AA">
                                          <p:cBhvr>
                                            <p:cTn id="20" dur="5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1736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22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2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20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6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27" dur="1000" fill="hold"/>
                                            <p:tgtEl>
                                              <p:spTgt spid="53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8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29" dur="250" fill="hold"/>
                                            <p:tgtEl>
                                              <p:spTgt spid="53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10" presetClass="entr" presetSubtype="0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5" dur="25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42" presetClass="path" presetSubtype="0" decel="100000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animMotion origin="layout" path="M -3.75E-6 -0.03472 L -3.75E-6 1.85185E-6 " pathEditMode="relative" rAng="0" ptsTypes="AA">
                                          <p:cBhvr>
                                            <p:cTn id="37" dur="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1736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8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9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1" dur="2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2" dur="2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44" dur="1000" fill="hold"/>
                                            <p:tgtEl>
                                              <p:spTgt spid="54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5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46" dur="250" fill="hold"/>
                                            <p:tgtEl>
                                              <p:spTgt spid="54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7" presetID="10" presetClass="entr" presetSubtype="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10" presetClass="entr" presetSubtype="0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25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42" presetClass="path" presetSubtype="0" decel="100000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animMotion origin="layout" path="M -3.75E-6 -0.03472 L -3.75E-6 1.85185E-6 " pathEditMode="relative" rAng="0" ptsTypes="AA">
                                          <p:cBhvr>
                                            <p:cTn id="54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1736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8" grpId="0"/>
          <p:bldP spid="19" grpId="0"/>
          <p:bldP spid="20" grpId="0"/>
        </p:bldLst>
      </p:timing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8869A6B-DF7D-68DF-2851-9929DD1B13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 flipH="1">
            <a:off x="0" y="0"/>
            <a:ext cx="9142995" cy="51435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08EC798A-2D6B-9917-1349-7098E9D7FAB1}"/>
              </a:ext>
            </a:extLst>
          </p:cNvPr>
          <p:cNvSpPr/>
          <p:nvPr/>
        </p:nvSpPr>
        <p:spPr bwMode="gray">
          <a:xfrm>
            <a:off x="-1" y="0"/>
            <a:ext cx="5364481" cy="5143500"/>
          </a:xfrm>
          <a:prstGeom prst="rect">
            <a:avLst/>
          </a:prstGeom>
          <a:gradFill>
            <a:gsLst>
              <a:gs pos="100000">
                <a:schemeClr val="tx1">
                  <a:alpha val="0"/>
                </a:schemeClr>
              </a:gs>
              <a:gs pos="48000">
                <a:schemeClr val="tx1">
                  <a:alpha val="24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1B0794A-0C79-45B9-B7E1-2D45CBCDA4C1}"/>
              </a:ext>
            </a:extLst>
          </p:cNvPr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en-US"/>
              <a:t>Our Flight Destinations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24533A16-6780-4509-87CF-0708E195A6AB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en-US"/>
              <a:t>Get There with Condo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BFA9EA7-0FC6-FE34-FD40-37AC2349CD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7343774" y="286141"/>
            <a:ext cx="1297421" cy="219146"/>
          </a:xfrm>
          <a:prstGeom prst="rect">
            <a:avLst/>
          </a:prstGeom>
        </p:spPr>
      </p:pic>
      <p:sp>
        <p:nvSpPr>
          <p:cNvPr id="2" name="Titel 6">
            <a:extLst>
              <a:ext uri="{FF2B5EF4-FFF2-40B4-BE49-F238E27FC236}">
                <a16:creationId xmlns:a16="http://schemas.microsoft.com/office/drawing/2014/main" id="{B65C8C53-3B46-862F-7E3B-54984D0EA7A0}"/>
              </a:ext>
            </a:extLst>
          </p:cNvPr>
          <p:cNvSpPr txBox="1">
            <a:spLocks/>
          </p:cNvSpPr>
          <p:nvPr/>
        </p:nvSpPr>
        <p:spPr bwMode="gray">
          <a:xfrm>
            <a:off x="6727541" y="4595738"/>
            <a:ext cx="2415454" cy="103086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600">
                <a:solidFill>
                  <a:schemeClr val="bg1">
                    <a:alpha val="50000"/>
                  </a:schemeClr>
                </a:solidFill>
              </a:rPr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250920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000" fill="hold"/>
                                        <p:tgtEl>
                                          <p:spTgt spid="3"/>
                                        </p:tgtEl>
                                      </p:cBhvr>
                                      <p:by x="107000" y="107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8" grpId="0"/>
      <p:bldP spid="8" grpId="1"/>
      <p:bldP spid="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D6E2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6" name="Gruppieren 1855">
            <a:extLst>
              <a:ext uri="{FF2B5EF4-FFF2-40B4-BE49-F238E27FC236}">
                <a16:creationId xmlns:a16="http://schemas.microsoft.com/office/drawing/2014/main" id="{7C62D6E9-6AA6-90AD-B464-7A2078E2D833}"/>
              </a:ext>
            </a:extLst>
          </p:cNvPr>
          <p:cNvGrpSpPr>
            <a:grpSpLocks noChangeAspect="1"/>
          </p:cNvGrpSpPr>
          <p:nvPr/>
        </p:nvGrpSpPr>
        <p:grpSpPr>
          <a:xfrm>
            <a:off x="612247" y="-535846"/>
            <a:ext cx="11958763" cy="9671213"/>
            <a:chOff x="2096623" y="0"/>
            <a:chExt cx="7047377" cy="5143500"/>
          </a:xfrm>
        </p:grpSpPr>
        <p:grpSp>
          <p:nvGrpSpPr>
            <p:cNvPr id="1859" name="Gruppieren 1858">
              <a:extLst>
                <a:ext uri="{FF2B5EF4-FFF2-40B4-BE49-F238E27FC236}">
                  <a16:creationId xmlns:a16="http://schemas.microsoft.com/office/drawing/2014/main" id="{BEB2021A-B02F-6A25-1C40-CF634E118B2E}"/>
                </a:ext>
              </a:extLst>
            </p:cNvPr>
            <p:cNvGrpSpPr/>
            <p:nvPr/>
          </p:nvGrpSpPr>
          <p:grpSpPr bwMode="gray">
            <a:xfrm>
              <a:off x="2096623" y="0"/>
              <a:ext cx="7047377" cy="5143500"/>
              <a:chOff x="108871" y="12"/>
              <a:chExt cx="10360434" cy="7561522"/>
            </a:xfrm>
          </p:grpSpPr>
          <p:pic>
            <p:nvPicPr>
              <p:cNvPr id="3691" name="bg object 19">
                <a:extLst>
                  <a:ext uri="{FF2B5EF4-FFF2-40B4-BE49-F238E27FC236}">
                    <a16:creationId xmlns:a16="http://schemas.microsoft.com/office/drawing/2014/main" id="{DC28A70A-A266-3A55-30B8-1D4432E98EB9}"/>
                  </a:ext>
                </a:extLst>
              </p:cNvPr>
              <p:cNvPicPr/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2095"/>
              <a:stretch/>
            </p:blipFill>
            <p:spPr bwMode="gray">
              <a:xfrm>
                <a:off x="108871" y="12"/>
                <a:ext cx="10360434" cy="7561522"/>
              </a:xfrm>
              <a:prstGeom prst="rect">
                <a:avLst/>
              </a:prstGeom>
            </p:spPr>
          </p:pic>
          <p:pic>
            <p:nvPicPr>
              <p:cNvPr id="3692" name="bg object 20">
                <a:extLst>
                  <a:ext uri="{FF2B5EF4-FFF2-40B4-BE49-F238E27FC236}">
                    <a16:creationId xmlns:a16="http://schemas.microsoft.com/office/drawing/2014/main" id="{09DE5E23-8489-BE0B-3720-282840A42093}"/>
                  </a:ext>
                </a:extLst>
              </p:cNvPr>
              <p:cNvPicPr/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gray">
              <a:xfrm>
                <a:off x="7773822" y="589546"/>
                <a:ext cx="2535441" cy="1419847"/>
              </a:xfrm>
              <a:prstGeom prst="rect">
                <a:avLst/>
              </a:prstGeom>
            </p:spPr>
          </p:pic>
        </p:grpSp>
        <p:sp>
          <p:nvSpPr>
            <p:cNvPr id="1860" name="bg object 21">
              <a:extLst>
                <a:ext uri="{FF2B5EF4-FFF2-40B4-BE49-F238E27FC236}">
                  <a16:creationId xmlns:a16="http://schemas.microsoft.com/office/drawing/2014/main" id="{1451D9B9-3354-715E-464F-3BF37323BAA6}"/>
                </a:ext>
              </a:extLst>
            </p:cNvPr>
            <p:cNvSpPr/>
            <p:nvPr/>
          </p:nvSpPr>
          <p:spPr bwMode="gray">
            <a:xfrm>
              <a:off x="7310444" y="402871"/>
              <a:ext cx="1723008" cy="962362"/>
            </a:xfrm>
            <a:custGeom>
              <a:avLst/>
              <a:gdLst/>
              <a:ahLst/>
              <a:cxnLst/>
              <a:rect l="l" t="t" r="r" b="b"/>
              <a:pathLst>
                <a:path w="2533015" h="1414780">
                  <a:moveTo>
                    <a:pt x="0" y="1414386"/>
                  </a:moveTo>
                  <a:lnTo>
                    <a:pt x="2532710" y="1414386"/>
                  </a:lnTo>
                  <a:lnTo>
                    <a:pt x="2532710" y="0"/>
                  </a:lnTo>
                  <a:lnTo>
                    <a:pt x="0" y="0"/>
                  </a:lnTo>
                  <a:lnTo>
                    <a:pt x="0" y="1414386"/>
                  </a:lnTo>
                  <a:close/>
                </a:path>
              </a:pathLst>
            </a:custGeom>
            <a:ln w="1365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lang="en-US"/>
            </a:p>
          </p:txBody>
        </p:sp>
        <p:grpSp>
          <p:nvGrpSpPr>
            <p:cNvPr id="1861" name="Grafik 21">
              <a:extLst>
                <a:ext uri="{FF2B5EF4-FFF2-40B4-BE49-F238E27FC236}">
                  <a16:creationId xmlns:a16="http://schemas.microsoft.com/office/drawing/2014/main" id="{E66E77FB-4E04-238A-8A32-6E6F93CEFFB1}"/>
                </a:ext>
              </a:extLst>
            </p:cNvPr>
            <p:cNvGrpSpPr/>
            <p:nvPr/>
          </p:nvGrpSpPr>
          <p:grpSpPr>
            <a:xfrm>
              <a:off x="7507413" y="543599"/>
              <a:ext cx="125666" cy="38383"/>
              <a:chOff x="7507413" y="543599"/>
              <a:chExt cx="125666" cy="38383"/>
            </a:xfrm>
            <a:solidFill>
              <a:srgbClr val="000000"/>
            </a:solidFill>
          </p:grpSpPr>
          <p:sp>
            <p:nvSpPr>
              <p:cNvPr id="3686" name="Freihandform: Form 3685">
                <a:extLst>
                  <a:ext uri="{FF2B5EF4-FFF2-40B4-BE49-F238E27FC236}">
                    <a16:creationId xmlns:a16="http://schemas.microsoft.com/office/drawing/2014/main" id="{83ABC6DA-F541-B0A3-8C10-919A829C414A}"/>
                  </a:ext>
                </a:extLst>
              </p:cNvPr>
              <p:cNvSpPr/>
              <p:nvPr/>
            </p:nvSpPr>
            <p:spPr>
              <a:xfrm>
                <a:off x="7507413" y="543599"/>
                <a:ext cx="29753" cy="37762"/>
              </a:xfrm>
              <a:custGeom>
                <a:avLst/>
                <a:gdLst>
                  <a:gd name="connsiteX0" fmla="*/ 0 w 29753"/>
                  <a:gd name="connsiteY0" fmla="*/ 37762 h 37762"/>
                  <a:gd name="connsiteX1" fmla="*/ 0 w 29753"/>
                  <a:gd name="connsiteY1" fmla="*/ 0 h 37762"/>
                  <a:gd name="connsiteX2" fmla="*/ 5125 w 29753"/>
                  <a:gd name="connsiteY2" fmla="*/ 0 h 37762"/>
                  <a:gd name="connsiteX3" fmla="*/ 24967 w 29753"/>
                  <a:gd name="connsiteY3" fmla="*/ 29659 h 37762"/>
                  <a:gd name="connsiteX4" fmla="*/ 24967 w 29753"/>
                  <a:gd name="connsiteY4" fmla="*/ 0 h 37762"/>
                  <a:gd name="connsiteX5" fmla="*/ 29753 w 29753"/>
                  <a:gd name="connsiteY5" fmla="*/ 0 h 37762"/>
                  <a:gd name="connsiteX6" fmla="*/ 29753 w 29753"/>
                  <a:gd name="connsiteY6" fmla="*/ 37762 h 37762"/>
                  <a:gd name="connsiteX7" fmla="*/ 24628 w 29753"/>
                  <a:gd name="connsiteY7" fmla="*/ 37762 h 37762"/>
                  <a:gd name="connsiteX8" fmla="*/ 4786 w 29753"/>
                  <a:gd name="connsiteY8" fmla="*/ 8084 h 37762"/>
                  <a:gd name="connsiteX9" fmla="*/ 4786 w 29753"/>
                  <a:gd name="connsiteY9" fmla="*/ 37762 h 37762"/>
                  <a:gd name="connsiteX10" fmla="*/ 0 w 29753"/>
                  <a:gd name="connsiteY10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753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5125" y="0"/>
                    </a:lnTo>
                    <a:lnTo>
                      <a:pt x="24967" y="29659"/>
                    </a:lnTo>
                    <a:lnTo>
                      <a:pt x="24967" y="0"/>
                    </a:lnTo>
                    <a:lnTo>
                      <a:pt x="29753" y="0"/>
                    </a:lnTo>
                    <a:lnTo>
                      <a:pt x="29753" y="37762"/>
                    </a:lnTo>
                    <a:lnTo>
                      <a:pt x="24628" y="37762"/>
                    </a:lnTo>
                    <a:lnTo>
                      <a:pt x="4786" y="8084"/>
                    </a:lnTo>
                    <a:lnTo>
                      <a:pt x="478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87" name="Freihandform: Form 3686">
                <a:extLst>
                  <a:ext uri="{FF2B5EF4-FFF2-40B4-BE49-F238E27FC236}">
                    <a16:creationId xmlns:a16="http://schemas.microsoft.com/office/drawing/2014/main" id="{C7A07D2B-3E0C-8155-6923-B806507AA26D}"/>
                  </a:ext>
                </a:extLst>
              </p:cNvPr>
              <p:cNvSpPr/>
              <p:nvPr/>
            </p:nvSpPr>
            <p:spPr>
              <a:xfrm>
                <a:off x="7545006" y="543599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5 w 4635"/>
                  <a:gd name="connsiteY7" fmla="*/ 10402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5" y="10402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88" name="Freihandform: Form 3687">
                <a:extLst>
                  <a:ext uri="{FF2B5EF4-FFF2-40B4-BE49-F238E27FC236}">
                    <a16:creationId xmlns:a16="http://schemas.microsoft.com/office/drawing/2014/main" id="{8E53584C-51A8-9373-6A73-65163D889456}"/>
                  </a:ext>
                </a:extLst>
              </p:cNvPr>
              <p:cNvSpPr/>
              <p:nvPr/>
            </p:nvSpPr>
            <p:spPr>
              <a:xfrm>
                <a:off x="7554239" y="553982"/>
                <a:ext cx="24213" cy="27379"/>
              </a:xfrm>
              <a:custGeom>
                <a:avLst/>
                <a:gdLst>
                  <a:gd name="connsiteX0" fmla="*/ 19 w 24213"/>
                  <a:gd name="connsiteY0" fmla="*/ 27379 h 27379"/>
                  <a:gd name="connsiteX1" fmla="*/ 19 w 24213"/>
                  <a:gd name="connsiteY1" fmla="*/ 23611 h 27379"/>
                  <a:gd name="connsiteX2" fmla="*/ 17430 w 24213"/>
                  <a:gd name="connsiteY2" fmla="*/ 3618 h 27379"/>
                  <a:gd name="connsiteX3" fmla="*/ 12192 w 24213"/>
                  <a:gd name="connsiteY3" fmla="*/ 3769 h 27379"/>
                  <a:gd name="connsiteX4" fmla="*/ 1036 w 24213"/>
                  <a:gd name="connsiteY4" fmla="*/ 3769 h 27379"/>
                  <a:gd name="connsiteX5" fmla="*/ 1036 w 24213"/>
                  <a:gd name="connsiteY5" fmla="*/ 0 h 27379"/>
                  <a:gd name="connsiteX6" fmla="*/ 23404 w 24213"/>
                  <a:gd name="connsiteY6" fmla="*/ 0 h 27379"/>
                  <a:gd name="connsiteX7" fmla="*/ 23404 w 24213"/>
                  <a:gd name="connsiteY7" fmla="*/ 3071 h 27379"/>
                  <a:gd name="connsiteX8" fmla="*/ 8593 w 24213"/>
                  <a:gd name="connsiteY8" fmla="*/ 20426 h 27379"/>
                  <a:gd name="connsiteX9" fmla="*/ 5728 w 24213"/>
                  <a:gd name="connsiteY9" fmla="*/ 23592 h 27379"/>
                  <a:gd name="connsiteX10" fmla="*/ 11570 w 24213"/>
                  <a:gd name="connsiteY10" fmla="*/ 23366 h 27379"/>
                  <a:gd name="connsiteX11" fmla="*/ 24214 w 24213"/>
                  <a:gd name="connsiteY11" fmla="*/ 23366 h 27379"/>
                  <a:gd name="connsiteX12" fmla="*/ 24214 w 24213"/>
                  <a:gd name="connsiteY12" fmla="*/ 27361 h 27379"/>
                  <a:gd name="connsiteX13" fmla="*/ 0 w 24213"/>
                  <a:gd name="connsiteY13" fmla="*/ 27361 h 2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213" h="27379">
                    <a:moveTo>
                      <a:pt x="19" y="27379"/>
                    </a:moveTo>
                    <a:lnTo>
                      <a:pt x="19" y="23611"/>
                    </a:lnTo>
                    <a:lnTo>
                      <a:pt x="17430" y="3618"/>
                    </a:lnTo>
                    <a:cubicBezTo>
                      <a:pt x="15451" y="3712"/>
                      <a:pt x="13718" y="3769"/>
                      <a:pt x="12192" y="3769"/>
                    </a:cubicBezTo>
                    <a:lnTo>
                      <a:pt x="1036" y="3769"/>
                    </a:lnTo>
                    <a:lnTo>
                      <a:pt x="1036" y="0"/>
                    </a:lnTo>
                    <a:lnTo>
                      <a:pt x="23404" y="0"/>
                    </a:lnTo>
                    <a:lnTo>
                      <a:pt x="23404" y="3071"/>
                    </a:lnTo>
                    <a:lnTo>
                      <a:pt x="8593" y="20426"/>
                    </a:lnTo>
                    <a:lnTo>
                      <a:pt x="5728" y="23592"/>
                    </a:lnTo>
                    <a:cubicBezTo>
                      <a:pt x="7801" y="23441"/>
                      <a:pt x="9761" y="23366"/>
                      <a:pt x="11570" y="23366"/>
                    </a:cubicBezTo>
                    <a:lnTo>
                      <a:pt x="24214" y="23366"/>
                    </a:lnTo>
                    <a:lnTo>
                      <a:pt x="24214" y="27361"/>
                    </a:lnTo>
                    <a:lnTo>
                      <a:pt x="0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89" name="Freihandform: Form 3688">
                <a:extLst>
                  <a:ext uri="{FF2B5EF4-FFF2-40B4-BE49-F238E27FC236}">
                    <a16:creationId xmlns:a16="http://schemas.microsoft.com/office/drawing/2014/main" id="{BA76C42D-6EF2-DBC5-797D-7DE833BB71ED}"/>
                  </a:ext>
                </a:extLst>
              </p:cNvPr>
              <p:cNvSpPr/>
              <p:nvPr/>
            </p:nvSpPr>
            <p:spPr>
              <a:xfrm>
                <a:off x="7580619" y="553982"/>
                <a:ext cx="24213" cy="27379"/>
              </a:xfrm>
              <a:custGeom>
                <a:avLst/>
                <a:gdLst>
                  <a:gd name="connsiteX0" fmla="*/ 19 w 24213"/>
                  <a:gd name="connsiteY0" fmla="*/ 27379 h 27379"/>
                  <a:gd name="connsiteX1" fmla="*/ 19 w 24213"/>
                  <a:gd name="connsiteY1" fmla="*/ 23611 h 27379"/>
                  <a:gd name="connsiteX2" fmla="*/ 17430 w 24213"/>
                  <a:gd name="connsiteY2" fmla="*/ 3618 h 27379"/>
                  <a:gd name="connsiteX3" fmla="*/ 12192 w 24213"/>
                  <a:gd name="connsiteY3" fmla="*/ 3769 h 27379"/>
                  <a:gd name="connsiteX4" fmla="*/ 1036 w 24213"/>
                  <a:gd name="connsiteY4" fmla="*/ 3769 h 27379"/>
                  <a:gd name="connsiteX5" fmla="*/ 1036 w 24213"/>
                  <a:gd name="connsiteY5" fmla="*/ 0 h 27379"/>
                  <a:gd name="connsiteX6" fmla="*/ 23404 w 24213"/>
                  <a:gd name="connsiteY6" fmla="*/ 0 h 27379"/>
                  <a:gd name="connsiteX7" fmla="*/ 23404 w 24213"/>
                  <a:gd name="connsiteY7" fmla="*/ 3071 h 27379"/>
                  <a:gd name="connsiteX8" fmla="*/ 8593 w 24213"/>
                  <a:gd name="connsiteY8" fmla="*/ 20426 h 27379"/>
                  <a:gd name="connsiteX9" fmla="*/ 5728 w 24213"/>
                  <a:gd name="connsiteY9" fmla="*/ 23592 h 27379"/>
                  <a:gd name="connsiteX10" fmla="*/ 11570 w 24213"/>
                  <a:gd name="connsiteY10" fmla="*/ 23366 h 27379"/>
                  <a:gd name="connsiteX11" fmla="*/ 24214 w 24213"/>
                  <a:gd name="connsiteY11" fmla="*/ 23366 h 27379"/>
                  <a:gd name="connsiteX12" fmla="*/ 24214 w 24213"/>
                  <a:gd name="connsiteY12" fmla="*/ 27361 h 27379"/>
                  <a:gd name="connsiteX13" fmla="*/ 0 w 24213"/>
                  <a:gd name="connsiteY13" fmla="*/ 27361 h 2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213" h="27379">
                    <a:moveTo>
                      <a:pt x="19" y="27379"/>
                    </a:moveTo>
                    <a:lnTo>
                      <a:pt x="19" y="23611"/>
                    </a:lnTo>
                    <a:lnTo>
                      <a:pt x="17430" y="3618"/>
                    </a:lnTo>
                    <a:cubicBezTo>
                      <a:pt x="15451" y="3712"/>
                      <a:pt x="13718" y="3769"/>
                      <a:pt x="12192" y="3769"/>
                    </a:cubicBezTo>
                    <a:lnTo>
                      <a:pt x="1036" y="3769"/>
                    </a:lnTo>
                    <a:lnTo>
                      <a:pt x="1036" y="0"/>
                    </a:lnTo>
                    <a:lnTo>
                      <a:pt x="23404" y="0"/>
                    </a:lnTo>
                    <a:lnTo>
                      <a:pt x="23404" y="3071"/>
                    </a:lnTo>
                    <a:lnTo>
                      <a:pt x="8593" y="20426"/>
                    </a:lnTo>
                    <a:lnTo>
                      <a:pt x="5728" y="23592"/>
                    </a:lnTo>
                    <a:cubicBezTo>
                      <a:pt x="7801" y="23441"/>
                      <a:pt x="9761" y="23366"/>
                      <a:pt x="11570" y="23366"/>
                    </a:cubicBezTo>
                    <a:lnTo>
                      <a:pt x="24214" y="23366"/>
                    </a:lnTo>
                    <a:lnTo>
                      <a:pt x="24214" y="27361"/>
                    </a:lnTo>
                    <a:lnTo>
                      <a:pt x="0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90" name="Freihandform: Form 3689">
                <a:extLst>
                  <a:ext uri="{FF2B5EF4-FFF2-40B4-BE49-F238E27FC236}">
                    <a16:creationId xmlns:a16="http://schemas.microsoft.com/office/drawing/2014/main" id="{2025E613-B5B0-FB39-CA50-4F465D421B82}"/>
                  </a:ext>
                </a:extLst>
              </p:cNvPr>
              <p:cNvSpPr/>
              <p:nvPr/>
            </p:nvSpPr>
            <p:spPr>
              <a:xfrm>
                <a:off x="7607886" y="553360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1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1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1 w 25193"/>
                  <a:gd name="connsiteY15" fmla="*/ 8423 h 28623"/>
                  <a:gd name="connsiteX16" fmla="*/ 2845 w 25193"/>
                  <a:gd name="connsiteY16" fmla="*/ 3712 h 28623"/>
                  <a:gd name="connsiteX17" fmla="*/ 6935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6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2" y="27888"/>
                      <a:pt x="2431" y="26418"/>
                    </a:cubicBezTo>
                    <a:cubicBezTo>
                      <a:pt x="811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1"/>
                    </a:cubicBezTo>
                    <a:cubicBezTo>
                      <a:pt x="14529" y="11758"/>
                      <a:pt x="17280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9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9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1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5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80" y="27003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62" name="Grafik 21">
              <a:extLst>
                <a:ext uri="{FF2B5EF4-FFF2-40B4-BE49-F238E27FC236}">
                  <a16:creationId xmlns:a16="http://schemas.microsoft.com/office/drawing/2014/main" id="{73302897-A03D-5BD4-C17E-471988FE496B}"/>
                </a:ext>
              </a:extLst>
            </p:cNvPr>
            <p:cNvGrpSpPr/>
            <p:nvPr/>
          </p:nvGrpSpPr>
          <p:grpSpPr>
            <a:xfrm>
              <a:off x="7627427" y="778482"/>
              <a:ext cx="118393" cy="39099"/>
              <a:chOff x="7627427" y="778482"/>
              <a:chExt cx="118393" cy="39099"/>
            </a:xfrm>
            <a:solidFill>
              <a:srgbClr val="000000"/>
            </a:solidFill>
          </p:grpSpPr>
          <p:sp>
            <p:nvSpPr>
              <p:cNvPr id="3681" name="Freihandform: Form 3680">
                <a:extLst>
                  <a:ext uri="{FF2B5EF4-FFF2-40B4-BE49-F238E27FC236}">
                    <a16:creationId xmlns:a16="http://schemas.microsoft.com/office/drawing/2014/main" id="{494E7480-9888-1328-BEF3-93E1DE4AB018}"/>
                  </a:ext>
                </a:extLst>
              </p:cNvPr>
              <p:cNvSpPr/>
              <p:nvPr/>
            </p:nvSpPr>
            <p:spPr>
              <a:xfrm>
                <a:off x="7627427" y="778482"/>
                <a:ext cx="36141" cy="39099"/>
              </a:xfrm>
              <a:custGeom>
                <a:avLst/>
                <a:gdLst>
                  <a:gd name="connsiteX0" fmla="*/ 19 w 36141"/>
                  <a:gd name="connsiteY0" fmla="*/ 20031 h 39099"/>
                  <a:gd name="connsiteX1" fmla="*/ 5069 w 36141"/>
                  <a:gd name="connsiteY1" fmla="*/ 5314 h 39099"/>
                  <a:gd name="connsiteX2" fmla="*/ 18108 w 36141"/>
                  <a:gd name="connsiteY2" fmla="*/ 0 h 39099"/>
                  <a:gd name="connsiteX3" fmla="*/ 27530 w 36141"/>
                  <a:gd name="connsiteY3" fmla="*/ 2506 h 39099"/>
                  <a:gd name="connsiteX4" fmla="*/ 33937 w 36141"/>
                  <a:gd name="connsiteY4" fmla="*/ 9478 h 39099"/>
                  <a:gd name="connsiteX5" fmla="*/ 36141 w 36141"/>
                  <a:gd name="connsiteY5" fmla="*/ 19616 h 39099"/>
                  <a:gd name="connsiteX6" fmla="*/ 33824 w 36141"/>
                  <a:gd name="connsiteY6" fmla="*/ 29904 h 39099"/>
                  <a:gd name="connsiteX7" fmla="*/ 27247 w 36141"/>
                  <a:gd name="connsiteY7" fmla="*/ 36763 h 39099"/>
                  <a:gd name="connsiteX8" fmla="*/ 18071 w 36141"/>
                  <a:gd name="connsiteY8" fmla="*/ 39100 h 39099"/>
                  <a:gd name="connsiteX9" fmla="*/ 8536 w 36141"/>
                  <a:gd name="connsiteY9" fmla="*/ 36518 h 39099"/>
                  <a:gd name="connsiteX10" fmla="*/ 2167 w 36141"/>
                  <a:gd name="connsiteY10" fmla="*/ 29490 h 39099"/>
                  <a:gd name="connsiteX11" fmla="*/ 0 w 36141"/>
                  <a:gd name="connsiteY11" fmla="*/ 20068 h 39099"/>
                  <a:gd name="connsiteX12" fmla="*/ 5163 w 36141"/>
                  <a:gd name="connsiteY12" fmla="*/ 20106 h 39099"/>
                  <a:gd name="connsiteX13" fmla="*/ 8837 w 36141"/>
                  <a:gd name="connsiteY13" fmla="*/ 30865 h 39099"/>
                  <a:gd name="connsiteX14" fmla="*/ 18052 w 36141"/>
                  <a:gd name="connsiteY14" fmla="*/ 34785 h 39099"/>
                  <a:gd name="connsiteX15" fmla="*/ 27342 w 36141"/>
                  <a:gd name="connsiteY15" fmla="*/ 30809 h 39099"/>
                  <a:gd name="connsiteX16" fmla="*/ 30978 w 36141"/>
                  <a:gd name="connsiteY16" fmla="*/ 19559 h 39099"/>
                  <a:gd name="connsiteX17" fmla="*/ 29414 w 36141"/>
                  <a:gd name="connsiteY17" fmla="*/ 11513 h 39099"/>
                  <a:gd name="connsiteX18" fmla="*/ 24854 w 36141"/>
                  <a:gd name="connsiteY18" fmla="*/ 6181 h 39099"/>
                  <a:gd name="connsiteX19" fmla="*/ 18108 w 36141"/>
                  <a:gd name="connsiteY19" fmla="*/ 4296 h 39099"/>
                  <a:gd name="connsiteX20" fmla="*/ 8969 w 36141"/>
                  <a:gd name="connsiteY20" fmla="*/ 7933 h 39099"/>
                  <a:gd name="connsiteX21" fmla="*/ 5144 w 36141"/>
                  <a:gd name="connsiteY21" fmla="*/ 20106 h 39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6141" h="39099">
                    <a:moveTo>
                      <a:pt x="19" y="20031"/>
                    </a:moveTo>
                    <a:cubicBezTo>
                      <a:pt x="19" y="13756"/>
                      <a:pt x="1696" y="8856"/>
                      <a:pt x="5069" y="5314"/>
                    </a:cubicBezTo>
                    <a:cubicBezTo>
                      <a:pt x="8442" y="1771"/>
                      <a:pt x="12776" y="0"/>
                      <a:pt x="18108" y="0"/>
                    </a:cubicBezTo>
                    <a:cubicBezTo>
                      <a:pt x="21594" y="0"/>
                      <a:pt x="24741" y="829"/>
                      <a:pt x="27530" y="2506"/>
                    </a:cubicBezTo>
                    <a:cubicBezTo>
                      <a:pt x="30338" y="4164"/>
                      <a:pt x="32467" y="6501"/>
                      <a:pt x="33937" y="9478"/>
                    </a:cubicBezTo>
                    <a:cubicBezTo>
                      <a:pt x="35407" y="12455"/>
                      <a:pt x="36141" y="15847"/>
                      <a:pt x="36141" y="19616"/>
                    </a:cubicBezTo>
                    <a:cubicBezTo>
                      <a:pt x="36141" y="23385"/>
                      <a:pt x="35369" y="26871"/>
                      <a:pt x="33824" y="29904"/>
                    </a:cubicBezTo>
                    <a:cubicBezTo>
                      <a:pt x="32278" y="32938"/>
                      <a:pt x="30093" y="35218"/>
                      <a:pt x="27247" y="36763"/>
                    </a:cubicBezTo>
                    <a:cubicBezTo>
                      <a:pt x="24402" y="38309"/>
                      <a:pt x="21350" y="39100"/>
                      <a:pt x="18071" y="39100"/>
                    </a:cubicBezTo>
                    <a:cubicBezTo>
                      <a:pt x="14509" y="39100"/>
                      <a:pt x="11344" y="38233"/>
                      <a:pt x="8536" y="36518"/>
                    </a:cubicBezTo>
                    <a:cubicBezTo>
                      <a:pt x="5728" y="34804"/>
                      <a:pt x="3618" y="32448"/>
                      <a:pt x="2167" y="29490"/>
                    </a:cubicBezTo>
                    <a:cubicBezTo>
                      <a:pt x="716" y="26531"/>
                      <a:pt x="0" y="23366"/>
                      <a:pt x="0" y="20068"/>
                    </a:cubicBezTo>
                    <a:close/>
                    <a:moveTo>
                      <a:pt x="5163" y="20106"/>
                    </a:moveTo>
                    <a:cubicBezTo>
                      <a:pt x="5163" y="24666"/>
                      <a:pt x="6388" y="28246"/>
                      <a:pt x="8837" y="30865"/>
                    </a:cubicBezTo>
                    <a:cubicBezTo>
                      <a:pt x="11287" y="33485"/>
                      <a:pt x="14358" y="34785"/>
                      <a:pt x="18052" y="34785"/>
                    </a:cubicBezTo>
                    <a:cubicBezTo>
                      <a:pt x="21745" y="34785"/>
                      <a:pt x="24911" y="33466"/>
                      <a:pt x="27342" y="30809"/>
                    </a:cubicBezTo>
                    <a:cubicBezTo>
                      <a:pt x="29773" y="28171"/>
                      <a:pt x="30978" y="24402"/>
                      <a:pt x="30978" y="19559"/>
                    </a:cubicBezTo>
                    <a:cubicBezTo>
                      <a:pt x="30978" y="16488"/>
                      <a:pt x="30451" y="13793"/>
                      <a:pt x="29414" y="11513"/>
                    </a:cubicBezTo>
                    <a:cubicBezTo>
                      <a:pt x="28378" y="9214"/>
                      <a:pt x="26852" y="7443"/>
                      <a:pt x="24854" y="6181"/>
                    </a:cubicBezTo>
                    <a:cubicBezTo>
                      <a:pt x="22857" y="4918"/>
                      <a:pt x="20615" y="4296"/>
                      <a:pt x="18108" y="4296"/>
                    </a:cubicBezTo>
                    <a:cubicBezTo>
                      <a:pt x="14566" y="4296"/>
                      <a:pt x="11532" y="5502"/>
                      <a:pt x="8969" y="7933"/>
                    </a:cubicBezTo>
                    <a:cubicBezTo>
                      <a:pt x="6407" y="10364"/>
                      <a:pt x="5144" y="14415"/>
                      <a:pt x="5144" y="2010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82" name="Freihandform: Form 3681">
                <a:extLst>
                  <a:ext uri="{FF2B5EF4-FFF2-40B4-BE49-F238E27FC236}">
                    <a16:creationId xmlns:a16="http://schemas.microsoft.com/office/drawing/2014/main" id="{A8976018-9F48-9279-6911-7356B5EBBD6C}"/>
                  </a:ext>
                </a:extLst>
              </p:cNvPr>
              <p:cNvSpPr/>
              <p:nvPr/>
            </p:nvSpPr>
            <p:spPr>
              <a:xfrm>
                <a:off x="7669315" y="779142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83" name="Freihandform: Form 3682">
                <a:extLst>
                  <a:ext uri="{FF2B5EF4-FFF2-40B4-BE49-F238E27FC236}">
                    <a16:creationId xmlns:a16="http://schemas.microsoft.com/office/drawing/2014/main" id="{F1D345B6-17E0-DE10-BC85-AF07431F6B03}"/>
                  </a:ext>
                </a:extLst>
              </p:cNvPr>
              <p:cNvSpPr/>
              <p:nvPr/>
            </p:nvSpPr>
            <p:spPr>
              <a:xfrm>
                <a:off x="7681111" y="779142"/>
                <a:ext cx="23742" cy="38383"/>
              </a:xfrm>
              <a:custGeom>
                <a:avLst/>
                <a:gdLst>
                  <a:gd name="connsiteX0" fmla="*/ 4296 w 23742"/>
                  <a:gd name="connsiteY0" fmla="*/ 37762 h 38383"/>
                  <a:gd name="connsiteX1" fmla="*/ 0 w 23742"/>
                  <a:gd name="connsiteY1" fmla="*/ 37762 h 38383"/>
                  <a:gd name="connsiteX2" fmla="*/ 0 w 23742"/>
                  <a:gd name="connsiteY2" fmla="*/ 0 h 38383"/>
                  <a:gd name="connsiteX3" fmla="*/ 4635 w 23742"/>
                  <a:gd name="connsiteY3" fmla="*/ 0 h 38383"/>
                  <a:gd name="connsiteX4" fmla="*/ 4635 w 23742"/>
                  <a:gd name="connsiteY4" fmla="*/ 13473 h 38383"/>
                  <a:gd name="connsiteX5" fmla="*/ 12135 w 23742"/>
                  <a:gd name="connsiteY5" fmla="*/ 9780 h 38383"/>
                  <a:gd name="connsiteX6" fmla="*/ 16921 w 23742"/>
                  <a:gd name="connsiteY6" fmla="*/ 10797 h 38383"/>
                  <a:gd name="connsiteX7" fmla="*/ 20633 w 23742"/>
                  <a:gd name="connsiteY7" fmla="*/ 13661 h 38383"/>
                  <a:gd name="connsiteX8" fmla="*/ 22913 w 23742"/>
                  <a:gd name="connsiteY8" fmla="*/ 18108 h 38383"/>
                  <a:gd name="connsiteX9" fmla="*/ 23743 w 23742"/>
                  <a:gd name="connsiteY9" fmla="*/ 23667 h 38383"/>
                  <a:gd name="connsiteX10" fmla="*/ 20257 w 23742"/>
                  <a:gd name="connsiteY10" fmla="*/ 34540 h 38383"/>
                  <a:gd name="connsiteX11" fmla="*/ 11909 w 23742"/>
                  <a:gd name="connsiteY11" fmla="*/ 38384 h 38383"/>
                  <a:gd name="connsiteX12" fmla="*/ 4315 w 23742"/>
                  <a:gd name="connsiteY12" fmla="*/ 34333 h 38383"/>
                  <a:gd name="connsiteX13" fmla="*/ 4315 w 23742"/>
                  <a:gd name="connsiteY13" fmla="*/ 37762 h 38383"/>
                  <a:gd name="connsiteX14" fmla="*/ 4240 w 23742"/>
                  <a:gd name="connsiteY14" fmla="*/ 23875 h 38383"/>
                  <a:gd name="connsiteX15" fmla="*/ 5578 w 23742"/>
                  <a:gd name="connsiteY15" fmla="*/ 30978 h 38383"/>
                  <a:gd name="connsiteX16" fmla="*/ 11495 w 23742"/>
                  <a:gd name="connsiteY16" fmla="*/ 34559 h 38383"/>
                  <a:gd name="connsiteX17" fmla="*/ 16752 w 23742"/>
                  <a:gd name="connsiteY17" fmla="*/ 31921 h 38383"/>
                  <a:gd name="connsiteX18" fmla="*/ 18975 w 23742"/>
                  <a:gd name="connsiteY18" fmla="*/ 24044 h 38383"/>
                  <a:gd name="connsiteX19" fmla="*/ 16846 w 23742"/>
                  <a:gd name="connsiteY19" fmla="*/ 16130 h 38383"/>
                  <a:gd name="connsiteX20" fmla="*/ 11702 w 23742"/>
                  <a:gd name="connsiteY20" fmla="*/ 13586 h 38383"/>
                  <a:gd name="connsiteX21" fmla="*/ 6444 w 23742"/>
                  <a:gd name="connsiteY21" fmla="*/ 16224 h 38383"/>
                  <a:gd name="connsiteX22" fmla="*/ 4221 w 23742"/>
                  <a:gd name="connsiteY22" fmla="*/ 23856 h 38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3742" h="38383">
                    <a:moveTo>
                      <a:pt x="4296" y="37762"/>
                    </a:moveTo>
                    <a:lnTo>
                      <a:pt x="0" y="37762"/>
                    </a:ln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473"/>
                    </a:lnTo>
                    <a:cubicBezTo>
                      <a:pt x="6595" y="11023"/>
                      <a:pt x="9101" y="9780"/>
                      <a:pt x="12135" y="9780"/>
                    </a:cubicBezTo>
                    <a:cubicBezTo>
                      <a:pt x="13812" y="9780"/>
                      <a:pt x="15414" y="10119"/>
                      <a:pt x="16921" y="10797"/>
                    </a:cubicBezTo>
                    <a:cubicBezTo>
                      <a:pt x="18429" y="11476"/>
                      <a:pt x="19654" y="12437"/>
                      <a:pt x="20633" y="13661"/>
                    </a:cubicBezTo>
                    <a:cubicBezTo>
                      <a:pt x="21594" y="14886"/>
                      <a:pt x="22367" y="16375"/>
                      <a:pt x="22913" y="18108"/>
                    </a:cubicBezTo>
                    <a:cubicBezTo>
                      <a:pt x="23460" y="19842"/>
                      <a:pt x="23743" y="21708"/>
                      <a:pt x="23743" y="23667"/>
                    </a:cubicBezTo>
                    <a:cubicBezTo>
                      <a:pt x="23743" y="28359"/>
                      <a:pt x="22574" y="31977"/>
                      <a:pt x="20257" y="34540"/>
                    </a:cubicBezTo>
                    <a:cubicBezTo>
                      <a:pt x="17939" y="37103"/>
                      <a:pt x="15150" y="38384"/>
                      <a:pt x="11909" y="38384"/>
                    </a:cubicBezTo>
                    <a:cubicBezTo>
                      <a:pt x="8668" y="38384"/>
                      <a:pt x="6143" y="37027"/>
                      <a:pt x="4315" y="34333"/>
                    </a:cubicBezTo>
                    <a:lnTo>
                      <a:pt x="4315" y="37762"/>
                    </a:lnTo>
                    <a:close/>
                    <a:moveTo>
                      <a:pt x="4240" y="23875"/>
                    </a:moveTo>
                    <a:cubicBezTo>
                      <a:pt x="4240" y="27153"/>
                      <a:pt x="4692" y="29528"/>
                      <a:pt x="5578" y="30978"/>
                    </a:cubicBezTo>
                    <a:cubicBezTo>
                      <a:pt x="7047" y="33372"/>
                      <a:pt x="9007" y="34559"/>
                      <a:pt x="11495" y="34559"/>
                    </a:cubicBezTo>
                    <a:cubicBezTo>
                      <a:pt x="13529" y="34559"/>
                      <a:pt x="15282" y="33673"/>
                      <a:pt x="16752" y="31921"/>
                    </a:cubicBezTo>
                    <a:cubicBezTo>
                      <a:pt x="18221" y="30168"/>
                      <a:pt x="18975" y="27530"/>
                      <a:pt x="18975" y="24044"/>
                    </a:cubicBezTo>
                    <a:cubicBezTo>
                      <a:pt x="18975" y="20558"/>
                      <a:pt x="18259" y="17845"/>
                      <a:pt x="16846" y="16130"/>
                    </a:cubicBezTo>
                    <a:cubicBezTo>
                      <a:pt x="15433" y="14415"/>
                      <a:pt x="13718" y="13586"/>
                      <a:pt x="11702" y="13586"/>
                    </a:cubicBezTo>
                    <a:cubicBezTo>
                      <a:pt x="9685" y="13586"/>
                      <a:pt x="7933" y="14472"/>
                      <a:pt x="6444" y="16224"/>
                    </a:cubicBezTo>
                    <a:cubicBezTo>
                      <a:pt x="4974" y="17977"/>
                      <a:pt x="4221" y="20539"/>
                      <a:pt x="4221" y="238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84" name="Freihandform: Form 3683">
                <a:extLst>
                  <a:ext uri="{FF2B5EF4-FFF2-40B4-BE49-F238E27FC236}">
                    <a16:creationId xmlns:a16="http://schemas.microsoft.com/office/drawing/2014/main" id="{FBA42367-C454-8851-DBC0-C72E383BB9F5}"/>
                  </a:ext>
                </a:extLst>
              </p:cNvPr>
              <p:cNvSpPr/>
              <p:nvPr/>
            </p:nvSpPr>
            <p:spPr>
              <a:xfrm>
                <a:off x="7710507" y="779142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5 w 4635"/>
                  <a:gd name="connsiteY7" fmla="*/ 10402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5" y="10402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85" name="Freihandform: Form 3684">
                <a:extLst>
                  <a:ext uri="{FF2B5EF4-FFF2-40B4-BE49-F238E27FC236}">
                    <a16:creationId xmlns:a16="http://schemas.microsoft.com/office/drawing/2014/main" id="{B2CDE2FD-FC68-74A7-7239-45FB6CC82549}"/>
                  </a:ext>
                </a:extLst>
              </p:cNvPr>
              <p:cNvSpPr/>
              <p:nvPr/>
            </p:nvSpPr>
            <p:spPr>
              <a:xfrm>
                <a:off x="7720626" y="788902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0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9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5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94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80" y="27003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63" name="Grafik 21">
              <a:extLst>
                <a:ext uri="{FF2B5EF4-FFF2-40B4-BE49-F238E27FC236}">
                  <a16:creationId xmlns:a16="http://schemas.microsoft.com/office/drawing/2014/main" id="{7A860C17-EC0A-ABF7-24A8-C3542597FB5D}"/>
                </a:ext>
              </a:extLst>
            </p:cNvPr>
            <p:cNvGrpSpPr/>
            <p:nvPr/>
          </p:nvGrpSpPr>
          <p:grpSpPr>
            <a:xfrm>
              <a:off x="7999357" y="580608"/>
              <a:ext cx="99888" cy="48936"/>
              <a:chOff x="7999357" y="580608"/>
              <a:chExt cx="99888" cy="48936"/>
            </a:xfrm>
            <a:solidFill>
              <a:srgbClr val="000000"/>
            </a:solidFill>
          </p:grpSpPr>
          <p:sp>
            <p:nvSpPr>
              <p:cNvPr id="3676" name="Freihandform: Form 3675">
                <a:extLst>
                  <a:ext uri="{FF2B5EF4-FFF2-40B4-BE49-F238E27FC236}">
                    <a16:creationId xmlns:a16="http://schemas.microsoft.com/office/drawing/2014/main" id="{57C3B580-3562-4DF6-D36A-765F3201FAEE}"/>
                  </a:ext>
                </a:extLst>
              </p:cNvPr>
              <p:cNvSpPr/>
              <p:nvPr/>
            </p:nvSpPr>
            <p:spPr>
              <a:xfrm>
                <a:off x="7999357" y="580608"/>
                <a:ext cx="30092" cy="39062"/>
              </a:xfrm>
              <a:custGeom>
                <a:avLst/>
                <a:gdLst>
                  <a:gd name="connsiteX0" fmla="*/ 0 w 30092"/>
                  <a:gd name="connsiteY0" fmla="*/ 26305 h 39062"/>
                  <a:gd name="connsiteX1" fmla="*/ 4711 w 30092"/>
                  <a:gd name="connsiteY1" fmla="*/ 25891 h 39062"/>
                  <a:gd name="connsiteX2" fmla="*/ 6275 w 30092"/>
                  <a:gd name="connsiteY2" fmla="*/ 30545 h 39062"/>
                  <a:gd name="connsiteX3" fmla="*/ 10081 w 30092"/>
                  <a:gd name="connsiteY3" fmla="*/ 33485 h 39062"/>
                  <a:gd name="connsiteX4" fmla="*/ 15885 w 30092"/>
                  <a:gd name="connsiteY4" fmla="*/ 34596 h 39062"/>
                  <a:gd name="connsiteX5" fmla="*/ 20935 w 30092"/>
                  <a:gd name="connsiteY5" fmla="*/ 33748 h 39062"/>
                  <a:gd name="connsiteX6" fmla="*/ 24195 w 30092"/>
                  <a:gd name="connsiteY6" fmla="*/ 31412 h 39062"/>
                  <a:gd name="connsiteX7" fmla="*/ 25269 w 30092"/>
                  <a:gd name="connsiteY7" fmla="*/ 28171 h 39062"/>
                  <a:gd name="connsiteX8" fmla="*/ 24233 w 30092"/>
                  <a:gd name="connsiteY8" fmla="*/ 25062 h 39062"/>
                  <a:gd name="connsiteX9" fmla="*/ 20841 w 30092"/>
                  <a:gd name="connsiteY9" fmla="*/ 22838 h 39062"/>
                  <a:gd name="connsiteX10" fmla="*/ 14114 w 30092"/>
                  <a:gd name="connsiteY10" fmla="*/ 20992 h 39062"/>
                  <a:gd name="connsiteX11" fmla="*/ 6822 w 30092"/>
                  <a:gd name="connsiteY11" fmla="*/ 18636 h 39062"/>
                  <a:gd name="connsiteX12" fmla="*/ 2789 w 30092"/>
                  <a:gd name="connsiteY12" fmla="*/ 15112 h 39062"/>
                  <a:gd name="connsiteX13" fmla="*/ 1470 w 30092"/>
                  <a:gd name="connsiteY13" fmla="*/ 10402 h 39062"/>
                  <a:gd name="connsiteX14" fmla="*/ 3091 w 30092"/>
                  <a:gd name="connsiteY14" fmla="*/ 5050 h 39062"/>
                  <a:gd name="connsiteX15" fmla="*/ 7839 w 30092"/>
                  <a:gd name="connsiteY15" fmla="*/ 1281 h 39062"/>
                  <a:gd name="connsiteX16" fmla="*/ 14773 w 30092"/>
                  <a:gd name="connsiteY16" fmla="*/ 0 h 39062"/>
                  <a:gd name="connsiteX17" fmla="*/ 22179 w 30092"/>
                  <a:gd name="connsiteY17" fmla="*/ 1357 h 39062"/>
                  <a:gd name="connsiteX18" fmla="*/ 27116 w 30092"/>
                  <a:gd name="connsiteY18" fmla="*/ 5333 h 39062"/>
                  <a:gd name="connsiteX19" fmla="*/ 28962 w 30092"/>
                  <a:gd name="connsiteY19" fmla="*/ 11287 h 39062"/>
                  <a:gd name="connsiteX20" fmla="*/ 24176 w 30092"/>
                  <a:gd name="connsiteY20" fmla="*/ 11645 h 39062"/>
                  <a:gd name="connsiteX21" fmla="*/ 21557 w 30092"/>
                  <a:gd name="connsiteY21" fmla="*/ 6237 h 39062"/>
                  <a:gd name="connsiteX22" fmla="*/ 14981 w 30092"/>
                  <a:gd name="connsiteY22" fmla="*/ 4409 h 39062"/>
                  <a:gd name="connsiteX23" fmla="*/ 8367 w 30092"/>
                  <a:gd name="connsiteY23" fmla="*/ 6068 h 39062"/>
                  <a:gd name="connsiteX24" fmla="*/ 6294 w 30092"/>
                  <a:gd name="connsiteY24" fmla="*/ 10081 h 39062"/>
                  <a:gd name="connsiteX25" fmla="*/ 7764 w 30092"/>
                  <a:gd name="connsiteY25" fmla="*/ 13435 h 39062"/>
                  <a:gd name="connsiteX26" fmla="*/ 15301 w 30092"/>
                  <a:gd name="connsiteY26" fmla="*/ 16130 h 39062"/>
                  <a:gd name="connsiteX27" fmla="*/ 23667 w 30092"/>
                  <a:gd name="connsiteY27" fmla="*/ 18542 h 39062"/>
                  <a:gd name="connsiteX28" fmla="*/ 28529 w 30092"/>
                  <a:gd name="connsiteY28" fmla="*/ 22386 h 39062"/>
                  <a:gd name="connsiteX29" fmla="*/ 30093 w 30092"/>
                  <a:gd name="connsiteY29" fmla="*/ 27756 h 39062"/>
                  <a:gd name="connsiteX30" fmla="*/ 28359 w 30092"/>
                  <a:gd name="connsiteY30" fmla="*/ 33428 h 39062"/>
                  <a:gd name="connsiteX31" fmla="*/ 23404 w 30092"/>
                  <a:gd name="connsiteY31" fmla="*/ 37574 h 39062"/>
                  <a:gd name="connsiteX32" fmla="*/ 16130 w 30092"/>
                  <a:gd name="connsiteY32" fmla="*/ 39062 h 39062"/>
                  <a:gd name="connsiteX33" fmla="*/ 7537 w 30092"/>
                  <a:gd name="connsiteY33" fmla="*/ 37574 h 39062"/>
                  <a:gd name="connsiteX34" fmla="*/ 2111 w 30092"/>
                  <a:gd name="connsiteY34" fmla="*/ 33070 h 39062"/>
                  <a:gd name="connsiteX35" fmla="*/ 38 w 30092"/>
                  <a:gd name="connsiteY35" fmla="*/ 26287 h 39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0092" h="39062">
                    <a:moveTo>
                      <a:pt x="0" y="26305"/>
                    </a:moveTo>
                    <a:lnTo>
                      <a:pt x="4711" y="25891"/>
                    </a:lnTo>
                    <a:cubicBezTo>
                      <a:pt x="4937" y="27775"/>
                      <a:pt x="5446" y="29339"/>
                      <a:pt x="6275" y="30545"/>
                    </a:cubicBezTo>
                    <a:cubicBezTo>
                      <a:pt x="7085" y="31751"/>
                      <a:pt x="8367" y="32731"/>
                      <a:pt x="10081" y="33485"/>
                    </a:cubicBezTo>
                    <a:cubicBezTo>
                      <a:pt x="11796" y="34238"/>
                      <a:pt x="13737" y="34596"/>
                      <a:pt x="15885" y="34596"/>
                    </a:cubicBezTo>
                    <a:cubicBezTo>
                      <a:pt x="17788" y="34596"/>
                      <a:pt x="19465" y="34314"/>
                      <a:pt x="20935" y="33748"/>
                    </a:cubicBezTo>
                    <a:cubicBezTo>
                      <a:pt x="22386" y="33183"/>
                      <a:pt x="23479" y="32411"/>
                      <a:pt x="24195" y="31412"/>
                    </a:cubicBezTo>
                    <a:cubicBezTo>
                      <a:pt x="24911" y="30432"/>
                      <a:pt x="25269" y="29339"/>
                      <a:pt x="25269" y="28171"/>
                    </a:cubicBezTo>
                    <a:cubicBezTo>
                      <a:pt x="25269" y="27003"/>
                      <a:pt x="24930" y="25947"/>
                      <a:pt x="24233" y="25062"/>
                    </a:cubicBezTo>
                    <a:cubicBezTo>
                      <a:pt x="23535" y="24176"/>
                      <a:pt x="22405" y="23441"/>
                      <a:pt x="20841" y="22838"/>
                    </a:cubicBezTo>
                    <a:cubicBezTo>
                      <a:pt x="19823" y="22442"/>
                      <a:pt x="17581" y="21821"/>
                      <a:pt x="14114" y="20992"/>
                    </a:cubicBezTo>
                    <a:cubicBezTo>
                      <a:pt x="10647" y="20162"/>
                      <a:pt x="8216" y="19371"/>
                      <a:pt x="6822" y="18636"/>
                    </a:cubicBezTo>
                    <a:cubicBezTo>
                      <a:pt x="5013" y="17694"/>
                      <a:pt x="3675" y="16526"/>
                      <a:pt x="2789" y="15112"/>
                    </a:cubicBezTo>
                    <a:cubicBezTo>
                      <a:pt x="1903" y="13718"/>
                      <a:pt x="1470" y="12154"/>
                      <a:pt x="1470" y="10402"/>
                    </a:cubicBezTo>
                    <a:cubicBezTo>
                      <a:pt x="1470" y="8498"/>
                      <a:pt x="2016" y="6708"/>
                      <a:pt x="3091" y="5050"/>
                    </a:cubicBezTo>
                    <a:cubicBezTo>
                      <a:pt x="4165" y="3392"/>
                      <a:pt x="5747" y="2129"/>
                      <a:pt x="7839" y="1281"/>
                    </a:cubicBezTo>
                    <a:cubicBezTo>
                      <a:pt x="9912" y="415"/>
                      <a:pt x="12229" y="0"/>
                      <a:pt x="14773" y="0"/>
                    </a:cubicBezTo>
                    <a:cubicBezTo>
                      <a:pt x="17562" y="0"/>
                      <a:pt x="20031" y="452"/>
                      <a:pt x="22179" y="1357"/>
                    </a:cubicBezTo>
                    <a:cubicBezTo>
                      <a:pt x="24327" y="2261"/>
                      <a:pt x="25966" y="3580"/>
                      <a:pt x="27116" y="5333"/>
                    </a:cubicBezTo>
                    <a:cubicBezTo>
                      <a:pt x="28265" y="7085"/>
                      <a:pt x="28887" y="9064"/>
                      <a:pt x="28962" y="11287"/>
                    </a:cubicBezTo>
                    <a:lnTo>
                      <a:pt x="24176" y="11645"/>
                    </a:lnTo>
                    <a:cubicBezTo>
                      <a:pt x="23913" y="9252"/>
                      <a:pt x="23045" y="7462"/>
                      <a:pt x="21557" y="6237"/>
                    </a:cubicBezTo>
                    <a:cubicBezTo>
                      <a:pt x="20068" y="5012"/>
                      <a:pt x="17882" y="4409"/>
                      <a:pt x="14981" y="4409"/>
                    </a:cubicBezTo>
                    <a:cubicBezTo>
                      <a:pt x="12079" y="4409"/>
                      <a:pt x="9761" y="4956"/>
                      <a:pt x="8367" y="6068"/>
                    </a:cubicBezTo>
                    <a:cubicBezTo>
                      <a:pt x="6991" y="7179"/>
                      <a:pt x="6294" y="8517"/>
                      <a:pt x="6294" y="10081"/>
                    </a:cubicBezTo>
                    <a:cubicBezTo>
                      <a:pt x="6294" y="11438"/>
                      <a:pt x="6784" y="12550"/>
                      <a:pt x="7764" y="13435"/>
                    </a:cubicBezTo>
                    <a:cubicBezTo>
                      <a:pt x="8725" y="14302"/>
                      <a:pt x="11231" y="15207"/>
                      <a:pt x="15301" y="16130"/>
                    </a:cubicBezTo>
                    <a:cubicBezTo>
                      <a:pt x="19371" y="17053"/>
                      <a:pt x="22141" y="17845"/>
                      <a:pt x="23667" y="18542"/>
                    </a:cubicBezTo>
                    <a:cubicBezTo>
                      <a:pt x="25872" y="19559"/>
                      <a:pt x="27493" y="20841"/>
                      <a:pt x="28529" y="22386"/>
                    </a:cubicBezTo>
                    <a:cubicBezTo>
                      <a:pt x="29566" y="23950"/>
                      <a:pt x="30093" y="25740"/>
                      <a:pt x="30093" y="27756"/>
                    </a:cubicBezTo>
                    <a:cubicBezTo>
                      <a:pt x="30093" y="29773"/>
                      <a:pt x="29509" y="31657"/>
                      <a:pt x="28359" y="33428"/>
                    </a:cubicBezTo>
                    <a:cubicBezTo>
                      <a:pt x="27210" y="35199"/>
                      <a:pt x="25552" y="36594"/>
                      <a:pt x="23404" y="37574"/>
                    </a:cubicBezTo>
                    <a:cubicBezTo>
                      <a:pt x="21255" y="38554"/>
                      <a:pt x="18825" y="39062"/>
                      <a:pt x="16130" y="39062"/>
                    </a:cubicBezTo>
                    <a:cubicBezTo>
                      <a:pt x="12719" y="39062"/>
                      <a:pt x="9855" y="38572"/>
                      <a:pt x="7537" y="37574"/>
                    </a:cubicBezTo>
                    <a:cubicBezTo>
                      <a:pt x="5220" y="36575"/>
                      <a:pt x="3411" y="35086"/>
                      <a:pt x="2111" y="33070"/>
                    </a:cubicBezTo>
                    <a:cubicBezTo>
                      <a:pt x="811" y="31054"/>
                      <a:pt x="113" y="28812"/>
                      <a:pt x="38" y="262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77" name="Freihandform: Form 3676">
                <a:extLst>
                  <a:ext uri="{FF2B5EF4-FFF2-40B4-BE49-F238E27FC236}">
                    <a16:creationId xmlns:a16="http://schemas.microsoft.com/office/drawing/2014/main" id="{0501AB7D-747A-9801-C719-4D809B54B3F7}"/>
                  </a:ext>
                </a:extLst>
              </p:cNvPr>
              <p:cNvSpPr/>
              <p:nvPr/>
            </p:nvSpPr>
            <p:spPr>
              <a:xfrm>
                <a:off x="8035630" y="591085"/>
                <a:ext cx="23761" cy="38459"/>
              </a:xfrm>
              <a:custGeom>
                <a:avLst/>
                <a:gdLst>
                  <a:gd name="connsiteX0" fmla="*/ 19 w 23761"/>
                  <a:gd name="connsiteY0" fmla="*/ 38440 h 38459"/>
                  <a:gd name="connsiteX1" fmla="*/ 19 w 23761"/>
                  <a:gd name="connsiteY1" fmla="*/ 603 h 38459"/>
                  <a:gd name="connsiteX2" fmla="*/ 4240 w 23761"/>
                  <a:gd name="connsiteY2" fmla="*/ 603 h 38459"/>
                  <a:gd name="connsiteX3" fmla="*/ 4240 w 23761"/>
                  <a:gd name="connsiteY3" fmla="*/ 4164 h 38459"/>
                  <a:gd name="connsiteX4" fmla="*/ 7613 w 23761"/>
                  <a:gd name="connsiteY4" fmla="*/ 1036 h 38459"/>
                  <a:gd name="connsiteX5" fmla="*/ 12173 w 23761"/>
                  <a:gd name="connsiteY5" fmla="*/ 0 h 38459"/>
                  <a:gd name="connsiteX6" fmla="*/ 18353 w 23761"/>
                  <a:gd name="connsiteY6" fmla="*/ 1809 h 38459"/>
                  <a:gd name="connsiteX7" fmla="*/ 22405 w 23761"/>
                  <a:gd name="connsiteY7" fmla="*/ 6897 h 38459"/>
                  <a:gd name="connsiteX8" fmla="*/ 23762 w 23761"/>
                  <a:gd name="connsiteY8" fmla="*/ 14095 h 38459"/>
                  <a:gd name="connsiteX9" fmla="*/ 22254 w 23761"/>
                  <a:gd name="connsiteY9" fmla="*/ 21651 h 38459"/>
                  <a:gd name="connsiteX10" fmla="*/ 17882 w 23761"/>
                  <a:gd name="connsiteY10" fmla="*/ 26795 h 38459"/>
                  <a:gd name="connsiteX11" fmla="*/ 11834 w 23761"/>
                  <a:gd name="connsiteY11" fmla="*/ 28585 h 38459"/>
                  <a:gd name="connsiteX12" fmla="*/ 7669 w 23761"/>
                  <a:gd name="connsiteY12" fmla="*/ 27606 h 38459"/>
                  <a:gd name="connsiteX13" fmla="*/ 4636 w 23761"/>
                  <a:gd name="connsiteY13" fmla="*/ 25137 h 38459"/>
                  <a:gd name="connsiteX14" fmla="*/ 4636 w 23761"/>
                  <a:gd name="connsiteY14" fmla="*/ 38459 h 38459"/>
                  <a:gd name="connsiteX15" fmla="*/ 0 w 23761"/>
                  <a:gd name="connsiteY15" fmla="*/ 38459 h 38459"/>
                  <a:gd name="connsiteX16" fmla="*/ 4221 w 23761"/>
                  <a:gd name="connsiteY16" fmla="*/ 14434 h 38459"/>
                  <a:gd name="connsiteX17" fmla="*/ 6350 w 23761"/>
                  <a:gd name="connsiteY17" fmla="*/ 22235 h 38459"/>
                  <a:gd name="connsiteX18" fmla="*/ 11532 w 23761"/>
                  <a:gd name="connsiteY18" fmla="*/ 24760 h 38459"/>
                  <a:gd name="connsiteX19" fmla="*/ 16827 w 23761"/>
                  <a:gd name="connsiteY19" fmla="*/ 22141 h 38459"/>
                  <a:gd name="connsiteX20" fmla="*/ 19032 w 23761"/>
                  <a:gd name="connsiteY20" fmla="*/ 14038 h 38459"/>
                  <a:gd name="connsiteX21" fmla="*/ 16884 w 23761"/>
                  <a:gd name="connsiteY21" fmla="*/ 6199 h 38459"/>
                  <a:gd name="connsiteX22" fmla="*/ 11739 w 23761"/>
                  <a:gd name="connsiteY22" fmla="*/ 3599 h 38459"/>
                  <a:gd name="connsiteX23" fmla="*/ 6501 w 23761"/>
                  <a:gd name="connsiteY23" fmla="*/ 6369 h 38459"/>
                  <a:gd name="connsiteX24" fmla="*/ 4221 w 23761"/>
                  <a:gd name="connsiteY24" fmla="*/ 14415 h 38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3761" h="38459">
                    <a:moveTo>
                      <a:pt x="19" y="38440"/>
                    </a:moveTo>
                    <a:lnTo>
                      <a:pt x="19" y="603"/>
                    </a:lnTo>
                    <a:lnTo>
                      <a:pt x="4240" y="603"/>
                    </a:lnTo>
                    <a:lnTo>
                      <a:pt x="4240" y="4164"/>
                    </a:lnTo>
                    <a:cubicBezTo>
                      <a:pt x="5239" y="2770"/>
                      <a:pt x="6350" y="1734"/>
                      <a:pt x="7613" y="1036"/>
                    </a:cubicBezTo>
                    <a:cubicBezTo>
                      <a:pt x="8857" y="339"/>
                      <a:pt x="10383" y="0"/>
                      <a:pt x="12173" y="0"/>
                    </a:cubicBezTo>
                    <a:cubicBezTo>
                      <a:pt x="14510" y="0"/>
                      <a:pt x="16563" y="603"/>
                      <a:pt x="18353" y="1809"/>
                    </a:cubicBezTo>
                    <a:cubicBezTo>
                      <a:pt x="20144" y="3015"/>
                      <a:pt x="21482" y="4711"/>
                      <a:pt x="22405" y="6897"/>
                    </a:cubicBezTo>
                    <a:cubicBezTo>
                      <a:pt x="23309" y="9083"/>
                      <a:pt x="23762" y="11494"/>
                      <a:pt x="23762" y="14095"/>
                    </a:cubicBezTo>
                    <a:cubicBezTo>
                      <a:pt x="23762" y="16902"/>
                      <a:pt x="23253" y="19409"/>
                      <a:pt x="22254" y="21651"/>
                    </a:cubicBezTo>
                    <a:cubicBezTo>
                      <a:pt x="21255" y="23893"/>
                      <a:pt x="19786" y="25608"/>
                      <a:pt x="17882" y="26795"/>
                    </a:cubicBezTo>
                    <a:cubicBezTo>
                      <a:pt x="15960" y="27982"/>
                      <a:pt x="13963" y="28585"/>
                      <a:pt x="11834" y="28585"/>
                    </a:cubicBezTo>
                    <a:cubicBezTo>
                      <a:pt x="10289" y="28585"/>
                      <a:pt x="8894" y="28265"/>
                      <a:pt x="7669" y="27606"/>
                    </a:cubicBezTo>
                    <a:cubicBezTo>
                      <a:pt x="6445" y="26946"/>
                      <a:pt x="5427" y="26136"/>
                      <a:pt x="4636" y="25137"/>
                    </a:cubicBezTo>
                    <a:lnTo>
                      <a:pt x="4636" y="38459"/>
                    </a:lnTo>
                    <a:lnTo>
                      <a:pt x="0" y="38459"/>
                    </a:lnTo>
                    <a:close/>
                    <a:moveTo>
                      <a:pt x="4221" y="14434"/>
                    </a:moveTo>
                    <a:cubicBezTo>
                      <a:pt x="4221" y="17958"/>
                      <a:pt x="4937" y="20558"/>
                      <a:pt x="6350" y="22235"/>
                    </a:cubicBezTo>
                    <a:cubicBezTo>
                      <a:pt x="7783" y="23912"/>
                      <a:pt x="9497" y="24760"/>
                      <a:pt x="11532" y="24760"/>
                    </a:cubicBezTo>
                    <a:cubicBezTo>
                      <a:pt x="13568" y="24760"/>
                      <a:pt x="15358" y="23893"/>
                      <a:pt x="16827" y="22141"/>
                    </a:cubicBezTo>
                    <a:cubicBezTo>
                      <a:pt x="18297" y="20389"/>
                      <a:pt x="19032" y="17694"/>
                      <a:pt x="19032" y="14038"/>
                    </a:cubicBezTo>
                    <a:cubicBezTo>
                      <a:pt x="19032" y="10383"/>
                      <a:pt x="18316" y="7933"/>
                      <a:pt x="16884" y="6199"/>
                    </a:cubicBezTo>
                    <a:cubicBezTo>
                      <a:pt x="15452" y="4466"/>
                      <a:pt x="13737" y="3599"/>
                      <a:pt x="11739" y="3599"/>
                    </a:cubicBezTo>
                    <a:cubicBezTo>
                      <a:pt x="9742" y="3599"/>
                      <a:pt x="8008" y="4522"/>
                      <a:pt x="6501" y="6369"/>
                    </a:cubicBezTo>
                    <a:cubicBezTo>
                      <a:pt x="4994" y="8216"/>
                      <a:pt x="4221" y="10891"/>
                      <a:pt x="4221" y="14415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78" name="Freihandform: Form 3677">
                <a:extLst>
                  <a:ext uri="{FF2B5EF4-FFF2-40B4-BE49-F238E27FC236}">
                    <a16:creationId xmlns:a16="http://schemas.microsoft.com/office/drawing/2014/main" id="{B4893DD8-7038-DC96-4BFE-366190503BCE}"/>
                  </a:ext>
                </a:extLst>
              </p:cNvPr>
              <p:cNvSpPr/>
              <p:nvPr/>
            </p:nvSpPr>
            <p:spPr>
              <a:xfrm>
                <a:off x="8064894" y="581286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79" name="Freihandform: Form 3678">
                <a:extLst>
                  <a:ext uri="{FF2B5EF4-FFF2-40B4-BE49-F238E27FC236}">
                    <a16:creationId xmlns:a16="http://schemas.microsoft.com/office/drawing/2014/main" id="{976FD51A-00B8-A911-D825-DA5AC7543297}"/>
                  </a:ext>
                </a:extLst>
              </p:cNvPr>
              <p:cNvSpPr/>
              <p:nvPr/>
            </p:nvSpPr>
            <p:spPr>
              <a:xfrm>
                <a:off x="8076747" y="581286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5 w 4635"/>
                  <a:gd name="connsiteY7" fmla="*/ 10402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5" y="10402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80" name="Freihandform: Form 3679">
                <a:extLst>
                  <a:ext uri="{FF2B5EF4-FFF2-40B4-BE49-F238E27FC236}">
                    <a16:creationId xmlns:a16="http://schemas.microsoft.com/office/drawing/2014/main" id="{E39A15A9-D7FE-F035-7E1E-EA4FE4237320}"/>
                  </a:ext>
                </a:extLst>
              </p:cNvPr>
              <p:cNvSpPr/>
              <p:nvPr/>
            </p:nvSpPr>
            <p:spPr>
              <a:xfrm>
                <a:off x="8085905" y="582134"/>
                <a:ext cx="13340" cy="37272"/>
              </a:xfrm>
              <a:custGeom>
                <a:avLst/>
                <a:gdLst>
                  <a:gd name="connsiteX0" fmla="*/ 12663 w 13340"/>
                  <a:gd name="connsiteY0" fmla="*/ 32769 h 37272"/>
                  <a:gd name="connsiteX1" fmla="*/ 13341 w 13340"/>
                  <a:gd name="connsiteY1" fmla="*/ 36858 h 37272"/>
                  <a:gd name="connsiteX2" fmla="*/ 9836 w 13340"/>
                  <a:gd name="connsiteY2" fmla="*/ 37272 h 37272"/>
                  <a:gd name="connsiteX3" fmla="*/ 5917 w 13340"/>
                  <a:gd name="connsiteY3" fmla="*/ 36481 h 37272"/>
                  <a:gd name="connsiteX4" fmla="*/ 3957 w 13340"/>
                  <a:gd name="connsiteY4" fmla="*/ 34389 h 37272"/>
                  <a:gd name="connsiteX5" fmla="*/ 3391 w 13340"/>
                  <a:gd name="connsiteY5" fmla="*/ 28906 h 37272"/>
                  <a:gd name="connsiteX6" fmla="*/ 3391 w 13340"/>
                  <a:gd name="connsiteY6" fmla="*/ 13172 h 37272"/>
                  <a:gd name="connsiteX7" fmla="*/ 0 w 13340"/>
                  <a:gd name="connsiteY7" fmla="*/ 13172 h 37272"/>
                  <a:gd name="connsiteX8" fmla="*/ 0 w 13340"/>
                  <a:gd name="connsiteY8" fmla="*/ 9572 h 37272"/>
                  <a:gd name="connsiteX9" fmla="*/ 3391 w 13340"/>
                  <a:gd name="connsiteY9" fmla="*/ 9572 h 37272"/>
                  <a:gd name="connsiteX10" fmla="*/ 3391 w 13340"/>
                  <a:gd name="connsiteY10" fmla="*/ 2789 h 37272"/>
                  <a:gd name="connsiteX11" fmla="*/ 8008 w 13340"/>
                  <a:gd name="connsiteY11" fmla="*/ 0 h 37272"/>
                  <a:gd name="connsiteX12" fmla="*/ 8008 w 13340"/>
                  <a:gd name="connsiteY12" fmla="*/ 9554 h 37272"/>
                  <a:gd name="connsiteX13" fmla="*/ 12663 w 13340"/>
                  <a:gd name="connsiteY13" fmla="*/ 9554 h 37272"/>
                  <a:gd name="connsiteX14" fmla="*/ 12663 w 13340"/>
                  <a:gd name="connsiteY14" fmla="*/ 13153 h 37272"/>
                  <a:gd name="connsiteX15" fmla="*/ 8008 w 13340"/>
                  <a:gd name="connsiteY15" fmla="*/ 13153 h 37272"/>
                  <a:gd name="connsiteX16" fmla="*/ 8008 w 13340"/>
                  <a:gd name="connsiteY16" fmla="*/ 29151 h 37272"/>
                  <a:gd name="connsiteX17" fmla="*/ 8253 w 13340"/>
                  <a:gd name="connsiteY17" fmla="*/ 31695 h 37272"/>
                  <a:gd name="connsiteX18" fmla="*/ 9044 w 13340"/>
                  <a:gd name="connsiteY18" fmla="*/ 32599 h 37272"/>
                  <a:gd name="connsiteX19" fmla="*/ 10627 w 13340"/>
                  <a:gd name="connsiteY19" fmla="*/ 32938 h 37272"/>
                  <a:gd name="connsiteX20" fmla="*/ 12663 w 13340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0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3" y="35953"/>
                      <a:pt x="4334" y="35256"/>
                      <a:pt x="3957" y="34389"/>
                    </a:cubicBezTo>
                    <a:cubicBezTo>
                      <a:pt x="3580" y="33522"/>
                      <a:pt x="3391" y="31695"/>
                      <a:pt x="3391" y="28906"/>
                    </a:cubicBezTo>
                    <a:lnTo>
                      <a:pt x="3391" y="13172"/>
                    </a:lnTo>
                    <a:lnTo>
                      <a:pt x="0" y="13172"/>
                    </a:lnTo>
                    <a:lnTo>
                      <a:pt x="0" y="9572"/>
                    </a:lnTo>
                    <a:lnTo>
                      <a:pt x="3391" y="9572"/>
                    </a:lnTo>
                    <a:lnTo>
                      <a:pt x="3391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3" y="31318"/>
                      <a:pt x="8253" y="31695"/>
                    </a:cubicBezTo>
                    <a:cubicBezTo>
                      <a:pt x="8423" y="32071"/>
                      <a:pt x="8687" y="32373"/>
                      <a:pt x="9044" y="32599"/>
                    </a:cubicBezTo>
                    <a:cubicBezTo>
                      <a:pt x="9422" y="32825"/>
                      <a:pt x="9949" y="32938"/>
                      <a:pt x="10627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64" name="Grafik 21">
              <a:extLst>
                <a:ext uri="{FF2B5EF4-FFF2-40B4-BE49-F238E27FC236}">
                  <a16:creationId xmlns:a16="http://schemas.microsoft.com/office/drawing/2014/main" id="{04FC58E2-9470-5C85-979F-19B8B895F93C}"/>
                </a:ext>
              </a:extLst>
            </p:cNvPr>
            <p:cNvGrpSpPr/>
            <p:nvPr/>
          </p:nvGrpSpPr>
          <p:grpSpPr>
            <a:xfrm>
              <a:off x="7909003" y="453132"/>
              <a:ext cx="140232" cy="48860"/>
              <a:chOff x="7909003" y="453132"/>
              <a:chExt cx="140232" cy="48860"/>
            </a:xfrm>
            <a:solidFill>
              <a:srgbClr val="000000"/>
            </a:solidFill>
          </p:grpSpPr>
          <p:sp>
            <p:nvSpPr>
              <p:cNvPr id="3670" name="Freihandform: Form 3669">
                <a:extLst>
                  <a:ext uri="{FF2B5EF4-FFF2-40B4-BE49-F238E27FC236}">
                    <a16:creationId xmlns:a16="http://schemas.microsoft.com/office/drawing/2014/main" id="{6680E828-A17E-533A-F74B-F4A37BE9EC99}"/>
                  </a:ext>
                </a:extLst>
              </p:cNvPr>
              <p:cNvSpPr/>
              <p:nvPr/>
            </p:nvSpPr>
            <p:spPr>
              <a:xfrm>
                <a:off x="7909003" y="453151"/>
                <a:ext cx="33296" cy="37799"/>
              </a:xfrm>
              <a:custGeom>
                <a:avLst/>
                <a:gdLst>
                  <a:gd name="connsiteX0" fmla="*/ 19 w 33296"/>
                  <a:gd name="connsiteY0" fmla="*/ 37762 h 37799"/>
                  <a:gd name="connsiteX1" fmla="*/ 19 w 33296"/>
                  <a:gd name="connsiteY1" fmla="*/ 0 h 37799"/>
                  <a:gd name="connsiteX2" fmla="*/ 16771 w 33296"/>
                  <a:gd name="connsiteY2" fmla="*/ 0 h 37799"/>
                  <a:gd name="connsiteX3" fmla="*/ 24440 w 33296"/>
                  <a:gd name="connsiteY3" fmla="*/ 1018 h 37799"/>
                  <a:gd name="connsiteX4" fmla="*/ 28642 w 33296"/>
                  <a:gd name="connsiteY4" fmla="*/ 4617 h 37799"/>
                  <a:gd name="connsiteX5" fmla="*/ 30206 w 33296"/>
                  <a:gd name="connsiteY5" fmla="*/ 10307 h 37799"/>
                  <a:gd name="connsiteX6" fmla="*/ 27606 w 33296"/>
                  <a:gd name="connsiteY6" fmla="*/ 17091 h 37799"/>
                  <a:gd name="connsiteX7" fmla="*/ 19560 w 33296"/>
                  <a:gd name="connsiteY7" fmla="*/ 20596 h 37799"/>
                  <a:gd name="connsiteX8" fmla="*/ 22574 w 33296"/>
                  <a:gd name="connsiteY8" fmla="*/ 22480 h 37799"/>
                  <a:gd name="connsiteX9" fmla="*/ 26720 w 33296"/>
                  <a:gd name="connsiteY9" fmla="*/ 27511 h 37799"/>
                  <a:gd name="connsiteX10" fmla="*/ 33296 w 33296"/>
                  <a:gd name="connsiteY10" fmla="*/ 37800 h 37799"/>
                  <a:gd name="connsiteX11" fmla="*/ 27003 w 33296"/>
                  <a:gd name="connsiteY11" fmla="*/ 37800 h 37799"/>
                  <a:gd name="connsiteX12" fmla="*/ 22009 w 33296"/>
                  <a:gd name="connsiteY12" fmla="*/ 29942 h 37799"/>
                  <a:gd name="connsiteX13" fmla="*/ 18410 w 33296"/>
                  <a:gd name="connsiteY13" fmla="*/ 24741 h 37799"/>
                  <a:gd name="connsiteX14" fmla="*/ 15866 w 33296"/>
                  <a:gd name="connsiteY14" fmla="*/ 22216 h 37799"/>
                  <a:gd name="connsiteX15" fmla="*/ 13586 w 33296"/>
                  <a:gd name="connsiteY15" fmla="*/ 21218 h 37799"/>
                  <a:gd name="connsiteX16" fmla="*/ 10797 w 33296"/>
                  <a:gd name="connsiteY16" fmla="*/ 21029 h 37799"/>
                  <a:gd name="connsiteX17" fmla="*/ 4994 w 33296"/>
                  <a:gd name="connsiteY17" fmla="*/ 21029 h 37799"/>
                  <a:gd name="connsiteX18" fmla="*/ 4994 w 33296"/>
                  <a:gd name="connsiteY18" fmla="*/ 37800 h 37799"/>
                  <a:gd name="connsiteX19" fmla="*/ 0 w 33296"/>
                  <a:gd name="connsiteY19" fmla="*/ 37800 h 37799"/>
                  <a:gd name="connsiteX20" fmla="*/ 5013 w 33296"/>
                  <a:gd name="connsiteY20" fmla="*/ 16658 h 37799"/>
                  <a:gd name="connsiteX21" fmla="*/ 15753 w 33296"/>
                  <a:gd name="connsiteY21" fmla="*/ 16658 h 37799"/>
                  <a:gd name="connsiteX22" fmla="*/ 21104 w 33296"/>
                  <a:gd name="connsiteY22" fmla="*/ 15941 h 37799"/>
                  <a:gd name="connsiteX23" fmla="*/ 24044 w 33296"/>
                  <a:gd name="connsiteY23" fmla="*/ 13680 h 37799"/>
                  <a:gd name="connsiteX24" fmla="*/ 25043 w 33296"/>
                  <a:gd name="connsiteY24" fmla="*/ 10288 h 37799"/>
                  <a:gd name="connsiteX25" fmla="*/ 23102 w 33296"/>
                  <a:gd name="connsiteY25" fmla="*/ 5879 h 37799"/>
                  <a:gd name="connsiteX26" fmla="*/ 16959 w 33296"/>
                  <a:gd name="connsiteY26" fmla="*/ 4146 h 37799"/>
                  <a:gd name="connsiteX27" fmla="*/ 5013 w 33296"/>
                  <a:gd name="connsiteY27" fmla="*/ 4146 h 37799"/>
                  <a:gd name="connsiteX28" fmla="*/ 5013 w 33296"/>
                  <a:gd name="connsiteY28" fmla="*/ 16639 h 37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3296" h="37799">
                    <a:moveTo>
                      <a:pt x="19" y="37762"/>
                    </a:moveTo>
                    <a:lnTo>
                      <a:pt x="19" y="0"/>
                    </a:lnTo>
                    <a:lnTo>
                      <a:pt x="16771" y="0"/>
                    </a:lnTo>
                    <a:cubicBezTo>
                      <a:pt x="20143" y="0"/>
                      <a:pt x="22687" y="339"/>
                      <a:pt x="24440" y="1018"/>
                    </a:cubicBezTo>
                    <a:cubicBezTo>
                      <a:pt x="26193" y="1696"/>
                      <a:pt x="27587" y="2902"/>
                      <a:pt x="28642" y="4617"/>
                    </a:cubicBezTo>
                    <a:cubicBezTo>
                      <a:pt x="29697" y="6331"/>
                      <a:pt x="30206" y="8235"/>
                      <a:pt x="30206" y="10307"/>
                    </a:cubicBezTo>
                    <a:cubicBezTo>
                      <a:pt x="30206" y="12983"/>
                      <a:pt x="29339" y="15244"/>
                      <a:pt x="27606" y="17091"/>
                    </a:cubicBezTo>
                    <a:cubicBezTo>
                      <a:pt x="25872" y="18938"/>
                      <a:pt x="23196" y="20087"/>
                      <a:pt x="19560" y="20596"/>
                    </a:cubicBezTo>
                    <a:cubicBezTo>
                      <a:pt x="20879" y="21236"/>
                      <a:pt x="21896" y="21858"/>
                      <a:pt x="22574" y="22480"/>
                    </a:cubicBezTo>
                    <a:cubicBezTo>
                      <a:pt x="24044" y="23818"/>
                      <a:pt x="25420" y="25495"/>
                      <a:pt x="26720" y="27511"/>
                    </a:cubicBezTo>
                    <a:lnTo>
                      <a:pt x="33296" y="37800"/>
                    </a:lnTo>
                    <a:lnTo>
                      <a:pt x="27003" y="37800"/>
                    </a:lnTo>
                    <a:lnTo>
                      <a:pt x="22009" y="29942"/>
                    </a:lnTo>
                    <a:cubicBezTo>
                      <a:pt x="20558" y="27681"/>
                      <a:pt x="19352" y="25947"/>
                      <a:pt x="18410" y="24741"/>
                    </a:cubicBezTo>
                    <a:cubicBezTo>
                      <a:pt x="17468" y="23535"/>
                      <a:pt x="16620" y="22706"/>
                      <a:pt x="15866" y="22216"/>
                    </a:cubicBezTo>
                    <a:cubicBezTo>
                      <a:pt x="15112" y="21726"/>
                      <a:pt x="14359" y="21406"/>
                      <a:pt x="13586" y="21218"/>
                    </a:cubicBezTo>
                    <a:cubicBezTo>
                      <a:pt x="13021" y="21105"/>
                      <a:pt x="12097" y="21029"/>
                      <a:pt x="10797" y="21029"/>
                    </a:cubicBezTo>
                    <a:lnTo>
                      <a:pt x="4994" y="21029"/>
                    </a:lnTo>
                    <a:lnTo>
                      <a:pt x="4994" y="37800"/>
                    </a:lnTo>
                    <a:lnTo>
                      <a:pt x="0" y="37800"/>
                    </a:lnTo>
                    <a:close/>
                    <a:moveTo>
                      <a:pt x="5013" y="16658"/>
                    </a:moveTo>
                    <a:lnTo>
                      <a:pt x="15753" y="16658"/>
                    </a:lnTo>
                    <a:cubicBezTo>
                      <a:pt x="18033" y="16658"/>
                      <a:pt x="19823" y="16431"/>
                      <a:pt x="21104" y="15941"/>
                    </a:cubicBezTo>
                    <a:cubicBezTo>
                      <a:pt x="22386" y="15452"/>
                      <a:pt x="23366" y="14717"/>
                      <a:pt x="24044" y="13680"/>
                    </a:cubicBezTo>
                    <a:cubicBezTo>
                      <a:pt x="24723" y="12644"/>
                      <a:pt x="25043" y="11513"/>
                      <a:pt x="25043" y="10288"/>
                    </a:cubicBezTo>
                    <a:cubicBezTo>
                      <a:pt x="25043" y="8498"/>
                      <a:pt x="24402" y="7029"/>
                      <a:pt x="23102" y="5879"/>
                    </a:cubicBezTo>
                    <a:cubicBezTo>
                      <a:pt x="21802" y="4730"/>
                      <a:pt x="19748" y="4146"/>
                      <a:pt x="16959" y="4146"/>
                    </a:cubicBezTo>
                    <a:lnTo>
                      <a:pt x="5013" y="4146"/>
                    </a:lnTo>
                    <a:lnTo>
                      <a:pt x="5013" y="16639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71" name="Freihandform: Form 3670">
                <a:extLst>
                  <a:ext uri="{FF2B5EF4-FFF2-40B4-BE49-F238E27FC236}">
                    <a16:creationId xmlns:a16="http://schemas.microsoft.com/office/drawing/2014/main" id="{FAEF8FB6-026D-5EC1-9CE0-5A00B36875FC}"/>
                  </a:ext>
                </a:extLst>
              </p:cNvPr>
              <p:cNvSpPr/>
              <p:nvPr/>
            </p:nvSpPr>
            <p:spPr>
              <a:xfrm>
                <a:off x="7946483" y="453151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5 w 4635"/>
                  <a:gd name="connsiteY7" fmla="*/ 10402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5" y="10402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72" name="Freihandform: Form 3671">
                <a:extLst>
                  <a:ext uri="{FF2B5EF4-FFF2-40B4-BE49-F238E27FC236}">
                    <a16:creationId xmlns:a16="http://schemas.microsoft.com/office/drawing/2014/main" id="{841752E4-B7C2-62AE-99B6-DC829E212A53}"/>
                  </a:ext>
                </a:extLst>
              </p:cNvPr>
              <p:cNvSpPr/>
              <p:nvPr/>
            </p:nvSpPr>
            <p:spPr>
              <a:xfrm>
                <a:off x="7952267" y="453132"/>
                <a:ext cx="10533" cy="48860"/>
              </a:xfrm>
              <a:custGeom>
                <a:avLst/>
                <a:gdLst>
                  <a:gd name="connsiteX0" fmla="*/ 19 w 10533"/>
                  <a:gd name="connsiteY0" fmla="*/ 48390 h 48860"/>
                  <a:gd name="connsiteX1" fmla="*/ 886 w 10533"/>
                  <a:gd name="connsiteY1" fmla="*/ 44452 h 48860"/>
                  <a:gd name="connsiteX2" fmla="*/ 3072 w 10533"/>
                  <a:gd name="connsiteY2" fmla="*/ 44810 h 48860"/>
                  <a:gd name="connsiteX3" fmla="*/ 5182 w 10533"/>
                  <a:gd name="connsiteY3" fmla="*/ 43867 h 48860"/>
                  <a:gd name="connsiteX4" fmla="*/ 5879 w 10533"/>
                  <a:gd name="connsiteY4" fmla="*/ 39157 h 48860"/>
                  <a:gd name="connsiteX5" fmla="*/ 5879 w 10533"/>
                  <a:gd name="connsiteY5" fmla="*/ 10402 h 48860"/>
                  <a:gd name="connsiteX6" fmla="*/ 10515 w 10533"/>
                  <a:gd name="connsiteY6" fmla="*/ 10402 h 48860"/>
                  <a:gd name="connsiteX7" fmla="*/ 10515 w 10533"/>
                  <a:gd name="connsiteY7" fmla="*/ 39251 h 48860"/>
                  <a:gd name="connsiteX8" fmla="*/ 9196 w 10533"/>
                  <a:gd name="connsiteY8" fmla="*/ 46279 h 48860"/>
                  <a:gd name="connsiteX9" fmla="*/ 3637 w 10533"/>
                  <a:gd name="connsiteY9" fmla="*/ 48861 h 48860"/>
                  <a:gd name="connsiteX10" fmla="*/ 0 w 10533"/>
                  <a:gd name="connsiteY10" fmla="*/ 48371 h 48860"/>
                  <a:gd name="connsiteX11" fmla="*/ 5898 w 10533"/>
                  <a:gd name="connsiteY11" fmla="*/ 5389 h 48860"/>
                  <a:gd name="connsiteX12" fmla="*/ 5898 w 10533"/>
                  <a:gd name="connsiteY12" fmla="*/ 0 h 48860"/>
                  <a:gd name="connsiteX13" fmla="*/ 10534 w 10533"/>
                  <a:gd name="connsiteY13" fmla="*/ 0 h 48860"/>
                  <a:gd name="connsiteX14" fmla="*/ 10534 w 10533"/>
                  <a:gd name="connsiteY14" fmla="*/ 5389 h 48860"/>
                  <a:gd name="connsiteX15" fmla="*/ 5898 w 10533"/>
                  <a:gd name="connsiteY15" fmla="*/ 5389 h 4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533" h="48860">
                    <a:moveTo>
                      <a:pt x="19" y="48390"/>
                    </a:moveTo>
                    <a:lnTo>
                      <a:pt x="886" y="44452"/>
                    </a:lnTo>
                    <a:cubicBezTo>
                      <a:pt x="1809" y="44696"/>
                      <a:pt x="2544" y="44810"/>
                      <a:pt x="3072" y="44810"/>
                    </a:cubicBezTo>
                    <a:cubicBezTo>
                      <a:pt x="4014" y="44810"/>
                      <a:pt x="4730" y="44489"/>
                      <a:pt x="5182" y="43867"/>
                    </a:cubicBezTo>
                    <a:cubicBezTo>
                      <a:pt x="5634" y="43246"/>
                      <a:pt x="5879" y="41682"/>
                      <a:pt x="5879" y="39157"/>
                    </a:cubicBezTo>
                    <a:lnTo>
                      <a:pt x="5879" y="10402"/>
                    </a:lnTo>
                    <a:lnTo>
                      <a:pt x="10515" y="10402"/>
                    </a:lnTo>
                    <a:lnTo>
                      <a:pt x="10515" y="39251"/>
                    </a:lnTo>
                    <a:cubicBezTo>
                      <a:pt x="10515" y="42624"/>
                      <a:pt x="10081" y="44960"/>
                      <a:pt x="9196" y="46279"/>
                    </a:cubicBezTo>
                    <a:cubicBezTo>
                      <a:pt x="8084" y="47994"/>
                      <a:pt x="6218" y="48861"/>
                      <a:pt x="3637" y="48861"/>
                    </a:cubicBezTo>
                    <a:cubicBezTo>
                      <a:pt x="2393" y="48861"/>
                      <a:pt x="1169" y="48691"/>
                      <a:pt x="0" y="48371"/>
                    </a:cubicBezTo>
                    <a:close/>
                    <a:moveTo>
                      <a:pt x="5898" y="5389"/>
                    </a:moveTo>
                    <a:lnTo>
                      <a:pt x="5898" y="0"/>
                    </a:lnTo>
                    <a:lnTo>
                      <a:pt x="10534" y="0"/>
                    </a:lnTo>
                    <a:lnTo>
                      <a:pt x="10534" y="5389"/>
                    </a:lnTo>
                    <a:lnTo>
                      <a:pt x="5898" y="5389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73" name="Freihandform: Form 3672">
                <a:extLst>
                  <a:ext uri="{FF2B5EF4-FFF2-40B4-BE49-F238E27FC236}">
                    <a16:creationId xmlns:a16="http://schemas.microsoft.com/office/drawing/2014/main" id="{DB896048-E1E1-D703-B993-1B5F5A1AADA8}"/>
                  </a:ext>
                </a:extLst>
              </p:cNvPr>
              <p:cNvSpPr/>
              <p:nvPr/>
            </p:nvSpPr>
            <p:spPr>
              <a:xfrm>
                <a:off x="7968341" y="462931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2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2 w 25231"/>
                  <a:gd name="connsiteY9" fmla="*/ 14246 h 28585"/>
                  <a:gd name="connsiteX10" fmla="*/ 25213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9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6"/>
                      <a:pt x="22933" y="24723"/>
                      <a:pt x="20879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2" y="3806"/>
                    </a:cubicBezTo>
                    <a:cubicBezTo>
                      <a:pt x="5936" y="1263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2" y="9723"/>
                      <a:pt x="25232" y="14246"/>
                    </a:cubicBezTo>
                    <a:cubicBezTo>
                      <a:pt x="25232" y="14528"/>
                      <a:pt x="25232" y="14924"/>
                      <a:pt x="25213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6"/>
                      <a:pt x="19579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60" y="7632"/>
                      <a:pt x="18599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74" name="Freihandform: Form 3673">
                <a:extLst>
                  <a:ext uri="{FF2B5EF4-FFF2-40B4-BE49-F238E27FC236}">
                    <a16:creationId xmlns:a16="http://schemas.microsoft.com/office/drawing/2014/main" id="{BEB6CDD6-8849-39DB-99E2-AE39F49D2DE1}"/>
                  </a:ext>
                </a:extLst>
              </p:cNvPr>
              <p:cNvSpPr/>
              <p:nvPr/>
            </p:nvSpPr>
            <p:spPr>
              <a:xfrm>
                <a:off x="7999244" y="453151"/>
                <a:ext cx="22687" cy="37780"/>
              </a:xfrm>
              <a:custGeom>
                <a:avLst/>
                <a:gdLst>
                  <a:gd name="connsiteX0" fmla="*/ 19 w 22687"/>
                  <a:gd name="connsiteY0" fmla="*/ 37762 h 37780"/>
                  <a:gd name="connsiteX1" fmla="*/ 19 w 22687"/>
                  <a:gd name="connsiteY1" fmla="*/ 0 h 37780"/>
                  <a:gd name="connsiteX2" fmla="*/ 4654 w 22687"/>
                  <a:gd name="connsiteY2" fmla="*/ 0 h 37780"/>
                  <a:gd name="connsiteX3" fmla="*/ 4654 w 22687"/>
                  <a:gd name="connsiteY3" fmla="*/ 21538 h 37780"/>
                  <a:gd name="connsiteX4" fmla="*/ 15621 w 22687"/>
                  <a:gd name="connsiteY4" fmla="*/ 10402 h 37780"/>
                  <a:gd name="connsiteX5" fmla="*/ 21632 w 22687"/>
                  <a:gd name="connsiteY5" fmla="*/ 10402 h 37780"/>
                  <a:gd name="connsiteX6" fmla="*/ 11174 w 22687"/>
                  <a:gd name="connsiteY6" fmla="*/ 20558 h 37780"/>
                  <a:gd name="connsiteX7" fmla="*/ 22687 w 22687"/>
                  <a:gd name="connsiteY7" fmla="*/ 37762 h 37780"/>
                  <a:gd name="connsiteX8" fmla="*/ 16959 w 22687"/>
                  <a:gd name="connsiteY8" fmla="*/ 37762 h 37780"/>
                  <a:gd name="connsiteX9" fmla="*/ 7914 w 22687"/>
                  <a:gd name="connsiteY9" fmla="*/ 23780 h 37780"/>
                  <a:gd name="connsiteX10" fmla="*/ 4635 w 22687"/>
                  <a:gd name="connsiteY10" fmla="*/ 26927 h 37780"/>
                  <a:gd name="connsiteX11" fmla="*/ 4635 w 22687"/>
                  <a:gd name="connsiteY11" fmla="*/ 37781 h 37780"/>
                  <a:gd name="connsiteX12" fmla="*/ 0 w 22687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687" h="37780">
                    <a:moveTo>
                      <a:pt x="19" y="37762"/>
                    </a:moveTo>
                    <a:lnTo>
                      <a:pt x="19" y="0"/>
                    </a:lnTo>
                    <a:lnTo>
                      <a:pt x="4654" y="0"/>
                    </a:lnTo>
                    <a:lnTo>
                      <a:pt x="4654" y="21538"/>
                    </a:lnTo>
                    <a:lnTo>
                      <a:pt x="15621" y="10402"/>
                    </a:lnTo>
                    <a:lnTo>
                      <a:pt x="21632" y="10402"/>
                    </a:lnTo>
                    <a:lnTo>
                      <a:pt x="11174" y="20558"/>
                    </a:lnTo>
                    <a:lnTo>
                      <a:pt x="22687" y="37762"/>
                    </a:lnTo>
                    <a:lnTo>
                      <a:pt x="16959" y="37762"/>
                    </a:lnTo>
                    <a:lnTo>
                      <a:pt x="7914" y="23780"/>
                    </a:lnTo>
                    <a:lnTo>
                      <a:pt x="4635" y="26927"/>
                    </a:lnTo>
                    <a:lnTo>
                      <a:pt x="4635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75" name="Freihandform: Form 3674">
                <a:extLst>
                  <a:ext uri="{FF2B5EF4-FFF2-40B4-BE49-F238E27FC236}">
                    <a16:creationId xmlns:a16="http://schemas.microsoft.com/office/drawing/2014/main" id="{858CAEE1-7967-6D33-8C03-725D808BE639}"/>
                  </a:ext>
                </a:extLst>
              </p:cNvPr>
              <p:cNvSpPr/>
              <p:nvPr/>
            </p:nvSpPr>
            <p:spPr>
              <a:xfrm>
                <a:off x="8024042" y="462912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1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1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9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94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3" y="27964"/>
                    </a:cubicBezTo>
                    <a:lnTo>
                      <a:pt x="20351" y="27964"/>
                    </a:lnTo>
                    <a:cubicBezTo>
                      <a:pt x="19880" y="27003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65" name="Grafik 21">
              <a:extLst>
                <a:ext uri="{FF2B5EF4-FFF2-40B4-BE49-F238E27FC236}">
                  <a16:creationId xmlns:a16="http://schemas.microsoft.com/office/drawing/2014/main" id="{D8024481-B76A-614C-C846-94C089ED600D}"/>
                </a:ext>
              </a:extLst>
            </p:cNvPr>
            <p:cNvGrpSpPr/>
            <p:nvPr/>
          </p:nvGrpSpPr>
          <p:grpSpPr>
            <a:xfrm>
              <a:off x="7693868" y="911045"/>
              <a:ext cx="193313" cy="38383"/>
              <a:chOff x="7693868" y="911045"/>
              <a:chExt cx="193313" cy="38383"/>
            </a:xfrm>
            <a:solidFill>
              <a:srgbClr val="000000"/>
            </a:solidFill>
          </p:grpSpPr>
          <p:sp>
            <p:nvSpPr>
              <p:cNvPr id="3663" name="Freihandform: Form 3662">
                <a:extLst>
                  <a:ext uri="{FF2B5EF4-FFF2-40B4-BE49-F238E27FC236}">
                    <a16:creationId xmlns:a16="http://schemas.microsoft.com/office/drawing/2014/main" id="{4495595D-CCF6-EF91-43C3-37744456C2EF}"/>
                  </a:ext>
                </a:extLst>
              </p:cNvPr>
              <p:cNvSpPr/>
              <p:nvPr/>
            </p:nvSpPr>
            <p:spPr>
              <a:xfrm>
                <a:off x="7693868" y="911045"/>
                <a:ext cx="23591" cy="37780"/>
              </a:xfrm>
              <a:custGeom>
                <a:avLst/>
                <a:gdLst>
                  <a:gd name="connsiteX0" fmla="*/ 0 w 23591"/>
                  <a:gd name="connsiteY0" fmla="*/ 37762 h 37780"/>
                  <a:gd name="connsiteX1" fmla="*/ 0 w 23591"/>
                  <a:gd name="connsiteY1" fmla="*/ 0 h 37780"/>
                  <a:gd name="connsiteX2" fmla="*/ 4993 w 23591"/>
                  <a:gd name="connsiteY2" fmla="*/ 0 h 37780"/>
                  <a:gd name="connsiteX3" fmla="*/ 4993 w 23591"/>
                  <a:gd name="connsiteY3" fmla="*/ 33315 h 37780"/>
                  <a:gd name="connsiteX4" fmla="*/ 23592 w 23591"/>
                  <a:gd name="connsiteY4" fmla="*/ 33315 h 37780"/>
                  <a:gd name="connsiteX5" fmla="*/ 23592 w 23591"/>
                  <a:gd name="connsiteY5" fmla="*/ 37781 h 37780"/>
                  <a:gd name="connsiteX6" fmla="*/ 0 w 23591"/>
                  <a:gd name="connsiteY6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91" h="37780">
                    <a:moveTo>
                      <a:pt x="0" y="37762"/>
                    </a:moveTo>
                    <a:lnTo>
                      <a:pt x="0" y="0"/>
                    </a:lnTo>
                    <a:lnTo>
                      <a:pt x="4993" y="0"/>
                    </a:lnTo>
                    <a:lnTo>
                      <a:pt x="4993" y="33315"/>
                    </a:lnTo>
                    <a:lnTo>
                      <a:pt x="23592" y="33315"/>
                    </a:lnTo>
                    <a:lnTo>
                      <a:pt x="23592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64" name="Freihandform: Form 3663">
                <a:extLst>
                  <a:ext uri="{FF2B5EF4-FFF2-40B4-BE49-F238E27FC236}">
                    <a16:creationId xmlns:a16="http://schemas.microsoft.com/office/drawing/2014/main" id="{32925B7B-2D77-F2A0-3645-8182FE0FAD7B}"/>
                  </a:ext>
                </a:extLst>
              </p:cNvPr>
              <p:cNvSpPr/>
              <p:nvPr/>
            </p:nvSpPr>
            <p:spPr>
              <a:xfrm>
                <a:off x="7721248" y="920806"/>
                <a:ext cx="25193" cy="28623"/>
              </a:xfrm>
              <a:custGeom>
                <a:avLst/>
                <a:gdLst>
                  <a:gd name="connsiteX0" fmla="*/ 19427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0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4 h 28623"/>
                  <a:gd name="connsiteX26" fmla="*/ 20351 w 25193"/>
                  <a:gd name="connsiteY26" fmla="*/ 27964 h 28623"/>
                  <a:gd name="connsiteX27" fmla="*/ 19427 w 25193"/>
                  <a:gd name="connsiteY27" fmla="*/ 24591 h 28623"/>
                  <a:gd name="connsiteX28" fmla="*/ 19032 w 25193"/>
                  <a:gd name="connsiteY28" fmla="*/ 14264 h 28623"/>
                  <a:gd name="connsiteX29" fmla="*/ 11456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0 w 25193"/>
                  <a:gd name="connsiteY37" fmla="*/ 15979 h 28623"/>
                  <a:gd name="connsiteX38" fmla="*/ 19050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7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3" y="25834"/>
                      <a:pt x="24609" y="26927"/>
                      <a:pt x="25193" y="27964"/>
                    </a:cubicBezTo>
                    <a:lnTo>
                      <a:pt x="20351" y="27964"/>
                    </a:lnTo>
                    <a:cubicBezTo>
                      <a:pt x="19861" y="27003"/>
                      <a:pt x="19559" y="25872"/>
                      <a:pt x="19427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65" name="Freihandform: Form 3664">
                <a:extLst>
                  <a:ext uri="{FF2B5EF4-FFF2-40B4-BE49-F238E27FC236}">
                    <a16:creationId xmlns:a16="http://schemas.microsoft.com/office/drawing/2014/main" id="{B24335D4-EDBE-67CB-751E-1161C307BA6E}"/>
                  </a:ext>
                </a:extLst>
              </p:cNvPr>
              <p:cNvSpPr/>
              <p:nvPr/>
            </p:nvSpPr>
            <p:spPr>
              <a:xfrm>
                <a:off x="7752151" y="920825"/>
                <a:ext cx="37083" cy="27982"/>
              </a:xfrm>
              <a:custGeom>
                <a:avLst/>
                <a:gdLst>
                  <a:gd name="connsiteX0" fmla="*/ 19 w 37083"/>
                  <a:gd name="connsiteY0" fmla="*/ 27982 h 27982"/>
                  <a:gd name="connsiteX1" fmla="*/ 19 w 37083"/>
                  <a:gd name="connsiteY1" fmla="*/ 622 h 27982"/>
                  <a:gd name="connsiteX2" fmla="*/ 4164 w 37083"/>
                  <a:gd name="connsiteY2" fmla="*/ 622 h 27982"/>
                  <a:gd name="connsiteX3" fmla="*/ 4164 w 37083"/>
                  <a:gd name="connsiteY3" fmla="*/ 4466 h 27982"/>
                  <a:gd name="connsiteX4" fmla="*/ 7594 w 37083"/>
                  <a:gd name="connsiteY4" fmla="*/ 1225 h 27982"/>
                  <a:gd name="connsiteX5" fmla="*/ 12456 w 37083"/>
                  <a:gd name="connsiteY5" fmla="*/ 0 h 27982"/>
                  <a:gd name="connsiteX6" fmla="*/ 17449 w 37083"/>
                  <a:gd name="connsiteY6" fmla="*/ 1263 h 27982"/>
                  <a:gd name="connsiteX7" fmla="*/ 20200 w 37083"/>
                  <a:gd name="connsiteY7" fmla="*/ 4786 h 27982"/>
                  <a:gd name="connsiteX8" fmla="*/ 28642 w 37083"/>
                  <a:gd name="connsiteY8" fmla="*/ 0 h 27982"/>
                  <a:gd name="connsiteX9" fmla="*/ 34898 w 37083"/>
                  <a:gd name="connsiteY9" fmla="*/ 2261 h 27982"/>
                  <a:gd name="connsiteX10" fmla="*/ 37084 w 37083"/>
                  <a:gd name="connsiteY10" fmla="*/ 9196 h 27982"/>
                  <a:gd name="connsiteX11" fmla="*/ 37084 w 37083"/>
                  <a:gd name="connsiteY11" fmla="*/ 27982 h 27982"/>
                  <a:gd name="connsiteX12" fmla="*/ 32467 w 37083"/>
                  <a:gd name="connsiteY12" fmla="*/ 27982 h 27982"/>
                  <a:gd name="connsiteX13" fmla="*/ 32467 w 37083"/>
                  <a:gd name="connsiteY13" fmla="*/ 10741 h 27982"/>
                  <a:gd name="connsiteX14" fmla="*/ 32015 w 37083"/>
                  <a:gd name="connsiteY14" fmla="*/ 6727 h 27982"/>
                  <a:gd name="connsiteX15" fmla="*/ 30376 w 37083"/>
                  <a:gd name="connsiteY15" fmla="*/ 4749 h 27982"/>
                  <a:gd name="connsiteX16" fmla="*/ 27587 w 37083"/>
                  <a:gd name="connsiteY16" fmla="*/ 3995 h 27982"/>
                  <a:gd name="connsiteX17" fmla="*/ 22801 w 37083"/>
                  <a:gd name="connsiteY17" fmla="*/ 5917 h 27982"/>
                  <a:gd name="connsiteX18" fmla="*/ 20897 w 37083"/>
                  <a:gd name="connsiteY18" fmla="*/ 12060 h 27982"/>
                  <a:gd name="connsiteX19" fmla="*/ 20897 w 37083"/>
                  <a:gd name="connsiteY19" fmla="*/ 27964 h 27982"/>
                  <a:gd name="connsiteX20" fmla="*/ 16262 w 37083"/>
                  <a:gd name="connsiteY20" fmla="*/ 27964 h 27982"/>
                  <a:gd name="connsiteX21" fmla="*/ 16262 w 37083"/>
                  <a:gd name="connsiteY21" fmla="*/ 10194 h 27982"/>
                  <a:gd name="connsiteX22" fmla="*/ 15131 w 37083"/>
                  <a:gd name="connsiteY22" fmla="*/ 5559 h 27982"/>
                  <a:gd name="connsiteX23" fmla="*/ 11419 w 37083"/>
                  <a:gd name="connsiteY23" fmla="*/ 4014 h 27982"/>
                  <a:gd name="connsiteX24" fmla="*/ 7801 w 37083"/>
                  <a:gd name="connsiteY24" fmla="*/ 5050 h 27982"/>
                  <a:gd name="connsiteX25" fmla="*/ 5389 w 37083"/>
                  <a:gd name="connsiteY25" fmla="*/ 8065 h 27982"/>
                  <a:gd name="connsiteX26" fmla="*/ 4635 w 37083"/>
                  <a:gd name="connsiteY26" fmla="*/ 13793 h 27982"/>
                  <a:gd name="connsiteX27" fmla="*/ 4635 w 37083"/>
                  <a:gd name="connsiteY27" fmla="*/ 27982 h 27982"/>
                  <a:gd name="connsiteX28" fmla="*/ 0 w 37083"/>
                  <a:gd name="connsiteY28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7083" h="27982">
                    <a:moveTo>
                      <a:pt x="19" y="27982"/>
                    </a:moveTo>
                    <a:lnTo>
                      <a:pt x="19" y="622"/>
                    </a:lnTo>
                    <a:lnTo>
                      <a:pt x="4164" y="622"/>
                    </a:lnTo>
                    <a:lnTo>
                      <a:pt x="4164" y="4466"/>
                    </a:lnTo>
                    <a:cubicBezTo>
                      <a:pt x="5031" y="3128"/>
                      <a:pt x="6162" y="2054"/>
                      <a:pt x="7594" y="1225"/>
                    </a:cubicBezTo>
                    <a:cubicBezTo>
                      <a:pt x="9026" y="415"/>
                      <a:pt x="10647" y="0"/>
                      <a:pt x="12456" y="0"/>
                    </a:cubicBezTo>
                    <a:cubicBezTo>
                      <a:pt x="14490" y="0"/>
                      <a:pt x="16149" y="415"/>
                      <a:pt x="17449" y="1263"/>
                    </a:cubicBezTo>
                    <a:cubicBezTo>
                      <a:pt x="18749" y="2110"/>
                      <a:pt x="19654" y="3279"/>
                      <a:pt x="20200" y="4786"/>
                    </a:cubicBezTo>
                    <a:cubicBezTo>
                      <a:pt x="22367" y="1583"/>
                      <a:pt x="25175" y="0"/>
                      <a:pt x="28642" y="0"/>
                    </a:cubicBezTo>
                    <a:cubicBezTo>
                      <a:pt x="31356" y="0"/>
                      <a:pt x="33447" y="754"/>
                      <a:pt x="34898" y="2261"/>
                    </a:cubicBezTo>
                    <a:cubicBezTo>
                      <a:pt x="36349" y="3769"/>
                      <a:pt x="37084" y="6086"/>
                      <a:pt x="37084" y="9196"/>
                    </a:cubicBezTo>
                    <a:lnTo>
                      <a:pt x="37084" y="27982"/>
                    </a:lnTo>
                    <a:lnTo>
                      <a:pt x="32467" y="27982"/>
                    </a:lnTo>
                    <a:lnTo>
                      <a:pt x="32467" y="10741"/>
                    </a:lnTo>
                    <a:cubicBezTo>
                      <a:pt x="32467" y="8894"/>
                      <a:pt x="32317" y="7556"/>
                      <a:pt x="32015" y="6727"/>
                    </a:cubicBezTo>
                    <a:cubicBezTo>
                      <a:pt x="31714" y="5917"/>
                      <a:pt x="31167" y="5257"/>
                      <a:pt x="30376" y="4749"/>
                    </a:cubicBezTo>
                    <a:cubicBezTo>
                      <a:pt x="29584" y="4259"/>
                      <a:pt x="28661" y="3995"/>
                      <a:pt x="27587" y="3995"/>
                    </a:cubicBezTo>
                    <a:cubicBezTo>
                      <a:pt x="25665" y="3995"/>
                      <a:pt x="24063" y="4635"/>
                      <a:pt x="22801" y="5917"/>
                    </a:cubicBezTo>
                    <a:cubicBezTo>
                      <a:pt x="21538" y="7198"/>
                      <a:pt x="20897" y="9252"/>
                      <a:pt x="20897" y="12060"/>
                    </a:cubicBezTo>
                    <a:lnTo>
                      <a:pt x="20897" y="27964"/>
                    </a:lnTo>
                    <a:lnTo>
                      <a:pt x="16262" y="27964"/>
                    </a:lnTo>
                    <a:lnTo>
                      <a:pt x="16262" y="10194"/>
                    </a:lnTo>
                    <a:cubicBezTo>
                      <a:pt x="16262" y="8140"/>
                      <a:pt x="15885" y="6595"/>
                      <a:pt x="15131" y="5559"/>
                    </a:cubicBezTo>
                    <a:cubicBezTo>
                      <a:pt x="14378" y="4522"/>
                      <a:pt x="13134" y="4014"/>
                      <a:pt x="11419" y="4014"/>
                    </a:cubicBezTo>
                    <a:cubicBezTo>
                      <a:pt x="10119" y="4014"/>
                      <a:pt x="8913" y="4353"/>
                      <a:pt x="7801" y="5050"/>
                    </a:cubicBezTo>
                    <a:cubicBezTo>
                      <a:pt x="6689" y="5747"/>
                      <a:pt x="5898" y="6746"/>
                      <a:pt x="5389" y="8065"/>
                    </a:cubicBezTo>
                    <a:cubicBezTo>
                      <a:pt x="4899" y="9384"/>
                      <a:pt x="4635" y="11287"/>
                      <a:pt x="4635" y="13793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66" name="Freihandform: Form 3665">
                <a:extLst>
                  <a:ext uri="{FF2B5EF4-FFF2-40B4-BE49-F238E27FC236}">
                    <a16:creationId xmlns:a16="http://schemas.microsoft.com/office/drawing/2014/main" id="{9615EE8A-FAD1-A27F-E3DA-2A4A66A73E02}"/>
                  </a:ext>
                </a:extLst>
              </p:cNvPr>
              <p:cNvSpPr/>
              <p:nvPr/>
            </p:nvSpPr>
            <p:spPr>
              <a:xfrm>
                <a:off x="7794548" y="920825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39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2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2 w 25231"/>
                  <a:gd name="connsiteY9" fmla="*/ 14246 h 28585"/>
                  <a:gd name="connsiteX10" fmla="*/ 25213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9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6"/>
                      <a:pt x="22932" y="24722"/>
                      <a:pt x="20879" y="26268"/>
                    </a:cubicBezTo>
                    <a:cubicBezTo>
                      <a:pt x="18843" y="27813"/>
                      <a:pt x="16224" y="28585"/>
                      <a:pt x="13039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2" y="3806"/>
                    </a:cubicBezTo>
                    <a:cubicBezTo>
                      <a:pt x="5936" y="1263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2" y="9723"/>
                      <a:pt x="25232" y="14246"/>
                    </a:cubicBezTo>
                    <a:cubicBezTo>
                      <a:pt x="25232" y="14528"/>
                      <a:pt x="25232" y="14924"/>
                      <a:pt x="25213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6"/>
                      <a:pt x="19579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60" y="7632"/>
                      <a:pt x="18599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67" name="Freihandform: Form 3666">
                <a:extLst>
                  <a:ext uri="{FF2B5EF4-FFF2-40B4-BE49-F238E27FC236}">
                    <a16:creationId xmlns:a16="http://schemas.microsoft.com/office/drawing/2014/main" id="{FB0C5549-3CE2-E023-AFF2-6F564AA454D2}"/>
                  </a:ext>
                </a:extLst>
              </p:cNvPr>
              <p:cNvSpPr/>
              <p:nvPr/>
            </p:nvSpPr>
            <p:spPr>
              <a:xfrm>
                <a:off x="7823002" y="921428"/>
                <a:ext cx="24213" cy="27379"/>
              </a:xfrm>
              <a:custGeom>
                <a:avLst/>
                <a:gdLst>
                  <a:gd name="connsiteX0" fmla="*/ 19 w 24213"/>
                  <a:gd name="connsiteY0" fmla="*/ 27379 h 27379"/>
                  <a:gd name="connsiteX1" fmla="*/ 19 w 24213"/>
                  <a:gd name="connsiteY1" fmla="*/ 23611 h 27379"/>
                  <a:gd name="connsiteX2" fmla="*/ 17430 w 24213"/>
                  <a:gd name="connsiteY2" fmla="*/ 3618 h 27379"/>
                  <a:gd name="connsiteX3" fmla="*/ 12192 w 24213"/>
                  <a:gd name="connsiteY3" fmla="*/ 3769 h 27379"/>
                  <a:gd name="connsiteX4" fmla="*/ 1036 w 24213"/>
                  <a:gd name="connsiteY4" fmla="*/ 3769 h 27379"/>
                  <a:gd name="connsiteX5" fmla="*/ 1036 w 24213"/>
                  <a:gd name="connsiteY5" fmla="*/ 0 h 27379"/>
                  <a:gd name="connsiteX6" fmla="*/ 23403 w 24213"/>
                  <a:gd name="connsiteY6" fmla="*/ 0 h 27379"/>
                  <a:gd name="connsiteX7" fmla="*/ 23403 w 24213"/>
                  <a:gd name="connsiteY7" fmla="*/ 3071 h 27379"/>
                  <a:gd name="connsiteX8" fmla="*/ 8592 w 24213"/>
                  <a:gd name="connsiteY8" fmla="*/ 20426 h 27379"/>
                  <a:gd name="connsiteX9" fmla="*/ 5728 w 24213"/>
                  <a:gd name="connsiteY9" fmla="*/ 23592 h 27379"/>
                  <a:gd name="connsiteX10" fmla="*/ 11570 w 24213"/>
                  <a:gd name="connsiteY10" fmla="*/ 23366 h 27379"/>
                  <a:gd name="connsiteX11" fmla="*/ 24213 w 24213"/>
                  <a:gd name="connsiteY11" fmla="*/ 23366 h 27379"/>
                  <a:gd name="connsiteX12" fmla="*/ 24213 w 24213"/>
                  <a:gd name="connsiteY12" fmla="*/ 27361 h 27379"/>
                  <a:gd name="connsiteX13" fmla="*/ 0 w 24213"/>
                  <a:gd name="connsiteY13" fmla="*/ 27361 h 2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213" h="27379">
                    <a:moveTo>
                      <a:pt x="19" y="27379"/>
                    </a:moveTo>
                    <a:lnTo>
                      <a:pt x="19" y="23611"/>
                    </a:lnTo>
                    <a:lnTo>
                      <a:pt x="17430" y="3618"/>
                    </a:lnTo>
                    <a:cubicBezTo>
                      <a:pt x="15451" y="3712"/>
                      <a:pt x="13718" y="3769"/>
                      <a:pt x="12192" y="3769"/>
                    </a:cubicBezTo>
                    <a:lnTo>
                      <a:pt x="1036" y="3769"/>
                    </a:lnTo>
                    <a:lnTo>
                      <a:pt x="1036" y="0"/>
                    </a:lnTo>
                    <a:lnTo>
                      <a:pt x="23403" y="0"/>
                    </a:lnTo>
                    <a:lnTo>
                      <a:pt x="23403" y="3071"/>
                    </a:lnTo>
                    <a:lnTo>
                      <a:pt x="8592" y="20426"/>
                    </a:lnTo>
                    <a:lnTo>
                      <a:pt x="5728" y="23592"/>
                    </a:lnTo>
                    <a:cubicBezTo>
                      <a:pt x="7801" y="23441"/>
                      <a:pt x="9761" y="23366"/>
                      <a:pt x="11570" y="23366"/>
                    </a:cubicBezTo>
                    <a:lnTo>
                      <a:pt x="24213" y="23366"/>
                    </a:lnTo>
                    <a:lnTo>
                      <a:pt x="24213" y="27361"/>
                    </a:lnTo>
                    <a:lnTo>
                      <a:pt x="0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68" name="Freihandform: Form 3667">
                <a:extLst>
                  <a:ext uri="{FF2B5EF4-FFF2-40B4-BE49-F238E27FC236}">
                    <a16:creationId xmlns:a16="http://schemas.microsoft.com/office/drawing/2014/main" id="{4D37D8BF-8331-EC83-47D2-038FA8FDC1D7}"/>
                  </a:ext>
                </a:extLst>
              </p:cNvPr>
              <p:cNvSpPr/>
              <p:nvPr/>
            </p:nvSpPr>
            <p:spPr>
              <a:xfrm>
                <a:off x="7851870" y="911045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6 w 4635"/>
                  <a:gd name="connsiteY7" fmla="*/ 10402 h 37762"/>
                  <a:gd name="connsiteX8" fmla="*/ 4636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6" y="10402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69" name="Freihandform: Form 3668">
                <a:extLst>
                  <a:ext uri="{FF2B5EF4-FFF2-40B4-BE49-F238E27FC236}">
                    <a16:creationId xmlns:a16="http://schemas.microsoft.com/office/drawing/2014/main" id="{4A024212-B768-1608-32DE-863F89808A51}"/>
                  </a:ext>
                </a:extLst>
              </p:cNvPr>
              <p:cNvSpPr/>
              <p:nvPr/>
            </p:nvSpPr>
            <p:spPr>
              <a:xfrm>
                <a:off x="7861989" y="920806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3" y="27964"/>
                    </a:cubicBezTo>
                    <a:lnTo>
                      <a:pt x="20351" y="27964"/>
                    </a:lnTo>
                    <a:cubicBezTo>
                      <a:pt x="19861" y="27003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66" name="Grafik 21">
              <a:extLst>
                <a:ext uri="{FF2B5EF4-FFF2-40B4-BE49-F238E27FC236}">
                  <a16:creationId xmlns:a16="http://schemas.microsoft.com/office/drawing/2014/main" id="{EB9DA102-A065-0231-55A4-C7936D38976F}"/>
                </a:ext>
              </a:extLst>
            </p:cNvPr>
            <p:cNvGrpSpPr/>
            <p:nvPr/>
          </p:nvGrpSpPr>
          <p:grpSpPr>
            <a:xfrm>
              <a:off x="7743068" y="973209"/>
              <a:ext cx="143153" cy="38383"/>
              <a:chOff x="7743068" y="973209"/>
              <a:chExt cx="143153" cy="38383"/>
            </a:xfrm>
            <a:solidFill>
              <a:srgbClr val="000000"/>
            </a:solidFill>
          </p:grpSpPr>
          <p:sp>
            <p:nvSpPr>
              <p:cNvPr id="3658" name="Freihandform: Form 3657">
                <a:extLst>
                  <a:ext uri="{FF2B5EF4-FFF2-40B4-BE49-F238E27FC236}">
                    <a16:creationId xmlns:a16="http://schemas.microsoft.com/office/drawing/2014/main" id="{9F47EF4F-54AC-DE75-AF22-E8B8BDA1BDB8}"/>
                  </a:ext>
                </a:extLst>
              </p:cNvPr>
              <p:cNvSpPr/>
              <p:nvPr/>
            </p:nvSpPr>
            <p:spPr>
              <a:xfrm>
                <a:off x="7743068" y="973209"/>
                <a:ext cx="29942" cy="37780"/>
              </a:xfrm>
              <a:custGeom>
                <a:avLst/>
                <a:gdLst>
                  <a:gd name="connsiteX0" fmla="*/ 12437 w 29942"/>
                  <a:gd name="connsiteY0" fmla="*/ 37781 h 37780"/>
                  <a:gd name="connsiteX1" fmla="*/ 12437 w 29942"/>
                  <a:gd name="connsiteY1" fmla="*/ 4466 h 37780"/>
                  <a:gd name="connsiteX2" fmla="*/ 0 w 29942"/>
                  <a:gd name="connsiteY2" fmla="*/ 4466 h 37780"/>
                  <a:gd name="connsiteX3" fmla="*/ 0 w 29942"/>
                  <a:gd name="connsiteY3" fmla="*/ 0 h 37780"/>
                  <a:gd name="connsiteX4" fmla="*/ 29942 w 29942"/>
                  <a:gd name="connsiteY4" fmla="*/ 0 h 37780"/>
                  <a:gd name="connsiteX5" fmla="*/ 29942 w 29942"/>
                  <a:gd name="connsiteY5" fmla="*/ 4466 h 37780"/>
                  <a:gd name="connsiteX6" fmla="*/ 17449 w 29942"/>
                  <a:gd name="connsiteY6" fmla="*/ 4466 h 37780"/>
                  <a:gd name="connsiteX7" fmla="*/ 17449 w 29942"/>
                  <a:gd name="connsiteY7" fmla="*/ 37781 h 37780"/>
                  <a:gd name="connsiteX8" fmla="*/ 12456 w 29942"/>
                  <a:gd name="connsiteY8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942" h="37780">
                    <a:moveTo>
                      <a:pt x="12437" y="37781"/>
                    </a:moveTo>
                    <a:lnTo>
                      <a:pt x="12437" y="4466"/>
                    </a:lnTo>
                    <a:lnTo>
                      <a:pt x="0" y="4466"/>
                    </a:lnTo>
                    <a:lnTo>
                      <a:pt x="0" y="0"/>
                    </a:lnTo>
                    <a:lnTo>
                      <a:pt x="29942" y="0"/>
                    </a:lnTo>
                    <a:lnTo>
                      <a:pt x="29942" y="4466"/>
                    </a:lnTo>
                    <a:lnTo>
                      <a:pt x="17449" y="4466"/>
                    </a:lnTo>
                    <a:lnTo>
                      <a:pt x="17449" y="37781"/>
                    </a:lnTo>
                    <a:lnTo>
                      <a:pt x="12456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59" name="Freihandform: Form 3658">
                <a:extLst>
                  <a:ext uri="{FF2B5EF4-FFF2-40B4-BE49-F238E27FC236}">
                    <a16:creationId xmlns:a16="http://schemas.microsoft.com/office/drawing/2014/main" id="{6CE96875-C76F-AC99-2418-F50E3051B8A7}"/>
                  </a:ext>
                </a:extLst>
              </p:cNvPr>
              <p:cNvSpPr/>
              <p:nvPr/>
            </p:nvSpPr>
            <p:spPr>
              <a:xfrm>
                <a:off x="7770127" y="983008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39 w 25231"/>
                  <a:gd name="connsiteY3" fmla="*/ 28585 h 28585"/>
                  <a:gd name="connsiteX4" fmla="*/ 3523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6"/>
                      <a:pt x="22932" y="24722"/>
                      <a:pt x="20879" y="26268"/>
                    </a:cubicBezTo>
                    <a:cubicBezTo>
                      <a:pt x="18843" y="27813"/>
                      <a:pt x="16224" y="28585"/>
                      <a:pt x="13039" y="28585"/>
                    </a:cubicBezTo>
                    <a:cubicBezTo>
                      <a:pt x="9045" y="28585"/>
                      <a:pt x="5860" y="27361"/>
                      <a:pt x="3523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5" y="1263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4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6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60" name="Freihandform: Form 3659">
                <a:extLst>
                  <a:ext uri="{FF2B5EF4-FFF2-40B4-BE49-F238E27FC236}">
                    <a16:creationId xmlns:a16="http://schemas.microsoft.com/office/drawing/2014/main" id="{D378C92A-FBC0-2E52-D220-0ACEA4C802CE}"/>
                  </a:ext>
                </a:extLst>
              </p:cNvPr>
              <p:cNvSpPr/>
              <p:nvPr/>
            </p:nvSpPr>
            <p:spPr>
              <a:xfrm>
                <a:off x="7800974" y="983008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5 w 14867"/>
                  <a:gd name="connsiteY2" fmla="*/ 622 h 27982"/>
                  <a:gd name="connsiteX3" fmla="*/ 4165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8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6 w 14867"/>
                  <a:gd name="connsiteY11" fmla="*/ 13661 h 27982"/>
                  <a:gd name="connsiteX12" fmla="*/ 4636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5" y="622"/>
                    </a:lnTo>
                    <a:lnTo>
                      <a:pt x="4165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8" y="1489"/>
                    </a:cubicBezTo>
                    <a:lnTo>
                      <a:pt x="13266" y="5785"/>
                    </a:lnTo>
                    <a:cubicBezTo>
                      <a:pt x="12135" y="5107"/>
                      <a:pt x="11005" y="4786"/>
                      <a:pt x="9874" y="4786"/>
                    </a:cubicBezTo>
                    <a:cubicBezTo>
                      <a:pt x="8857" y="4786"/>
                      <a:pt x="7952" y="5088"/>
                      <a:pt x="7142" y="5710"/>
                    </a:cubicBezTo>
                    <a:cubicBezTo>
                      <a:pt x="6332" y="6313"/>
                      <a:pt x="5766" y="7161"/>
                      <a:pt x="5408" y="8253"/>
                    </a:cubicBezTo>
                    <a:cubicBezTo>
                      <a:pt x="4899" y="9912"/>
                      <a:pt x="4636" y="11702"/>
                      <a:pt x="4636" y="13661"/>
                    </a:cubicBezTo>
                    <a:lnTo>
                      <a:pt x="4636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61" name="Freihandform: Form 3660">
                <a:extLst>
                  <a:ext uri="{FF2B5EF4-FFF2-40B4-BE49-F238E27FC236}">
                    <a16:creationId xmlns:a16="http://schemas.microsoft.com/office/drawing/2014/main" id="{E18C264C-B27F-804C-CB40-9C0E3B0017D5}"/>
                  </a:ext>
                </a:extLst>
              </p:cNvPr>
              <p:cNvSpPr/>
              <p:nvPr/>
            </p:nvSpPr>
            <p:spPr>
              <a:xfrm>
                <a:off x="7818574" y="983008"/>
                <a:ext cx="37083" cy="27982"/>
              </a:xfrm>
              <a:custGeom>
                <a:avLst/>
                <a:gdLst>
                  <a:gd name="connsiteX0" fmla="*/ 19 w 37083"/>
                  <a:gd name="connsiteY0" fmla="*/ 27982 h 27982"/>
                  <a:gd name="connsiteX1" fmla="*/ 19 w 37083"/>
                  <a:gd name="connsiteY1" fmla="*/ 622 h 27982"/>
                  <a:gd name="connsiteX2" fmla="*/ 4164 w 37083"/>
                  <a:gd name="connsiteY2" fmla="*/ 622 h 27982"/>
                  <a:gd name="connsiteX3" fmla="*/ 4164 w 37083"/>
                  <a:gd name="connsiteY3" fmla="*/ 4466 h 27982"/>
                  <a:gd name="connsiteX4" fmla="*/ 7594 w 37083"/>
                  <a:gd name="connsiteY4" fmla="*/ 1225 h 27982"/>
                  <a:gd name="connsiteX5" fmla="*/ 12456 w 37083"/>
                  <a:gd name="connsiteY5" fmla="*/ 0 h 27982"/>
                  <a:gd name="connsiteX6" fmla="*/ 17449 w 37083"/>
                  <a:gd name="connsiteY6" fmla="*/ 1263 h 27982"/>
                  <a:gd name="connsiteX7" fmla="*/ 20200 w 37083"/>
                  <a:gd name="connsiteY7" fmla="*/ 4786 h 27982"/>
                  <a:gd name="connsiteX8" fmla="*/ 28642 w 37083"/>
                  <a:gd name="connsiteY8" fmla="*/ 0 h 27982"/>
                  <a:gd name="connsiteX9" fmla="*/ 34898 w 37083"/>
                  <a:gd name="connsiteY9" fmla="*/ 2261 h 27982"/>
                  <a:gd name="connsiteX10" fmla="*/ 37084 w 37083"/>
                  <a:gd name="connsiteY10" fmla="*/ 9196 h 27982"/>
                  <a:gd name="connsiteX11" fmla="*/ 37084 w 37083"/>
                  <a:gd name="connsiteY11" fmla="*/ 27982 h 27982"/>
                  <a:gd name="connsiteX12" fmla="*/ 32467 w 37083"/>
                  <a:gd name="connsiteY12" fmla="*/ 27982 h 27982"/>
                  <a:gd name="connsiteX13" fmla="*/ 32467 w 37083"/>
                  <a:gd name="connsiteY13" fmla="*/ 10741 h 27982"/>
                  <a:gd name="connsiteX14" fmla="*/ 32015 w 37083"/>
                  <a:gd name="connsiteY14" fmla="*/ 6727 h 27982"/>
                  <a:gd name="connsiteX15" fmla="*/ 30376 w 37083"/>
                  <a:gd name="connsiteY15" fmla="*/ 4749 h 27982"/>
                  <a:gd name="connsiteX16" fmla="*/ 27587 w 37083"/>
                  <a:gd name="connsiteY16" fmla="*/ 3995 h 27982"/>
                  <a:gd name="connsiteX17" fmla="*/ 22801 w 37083"/>
                  <a:gd name="connsiteY17" fmla="*/ 5917 h 27982"/>
                  <a:gd name="connsiteX18" fmla="*/ 20897 w 37083"/>
                  <a:gd name="connsiteY18" fmla="*/ 12060 h 27982"/>
                  <a:gd name="connsiteX19" fmla="*/ 20897 w 37083"/>
                  <a:gd name="connsiteY19" fmla="*/ 27964 h 27982"/>
                  <a:gd name="connsiteX20" fmla="*/ 16262 w 37083"/>
                  <a:gd name="connsiteY20" fmla="*/ 27964 h 27982"/>
                  <a:gd name="connsiteX21" fmla="*/ 16262 w 37083"/>
                  <a:gd name="connsiteY21" fmla="*/ 10194 h 27982"/>
                  <a:gd name="connsiteX22" fmla="*/ 15131 w 37083"/>
                  <a:gd name="connsiteY22" fmla="*/ 5559 h 27982"/>
                  <a:gd name="connsiteX23" fmla="*/ 11419 w 37083"/>
                  <a:gd name="connsiteY23" fmla="*/ 4014 h 27982"/>
                  <a:gd name="connsiteX24" fmla="*/ 7801 w 37083"/>
                  <a:gd name="connsiteY24" fmla="*/ 5050 h 27982"/>
                  <a:gd name="connsiteX25" fmla="*/ 5389 w 37083"/>
                  <a:gd name="connsiteY25" fmla="*/ 8065 h 27982"/>
                  <a:gd name="connsiteX26" fmla="*/ 4635 w 37083"/>
                  <a:gd name="connsiteY26" fmla="*/ 13793 h 27982"/>
                  <a:gd name="connsiteX27" fmla="*/ 4635 w 37083"/>
                  <a:gd name="connsiteY27" fmla="*/ 27982 h 27982"/>
                  <a:gd name="connsiteX28" fmla="*/ 0 w 37083"/>
                  <a:gd name="connsiteY28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7083" h="27982">
                    <a:moveTo>
                      <a:pt x="19" y="27982"/>
                    </a:moveTo>
                    <a:lnTo>
                      <a:pt x="19" y="622"/>
                    </a:lnTo>
                    <a:lnTo>
                      <a:pt x="4164" y="622"/>
                    </a:lnTo>
                    <a:lnTo>
                      <a:pt x="4164" y="4466"/>
                    </a:lnTo>
                    <a:cubicBezTo>
                      <a:pt x="5031" y="3128"/>
                      <a:pt x="6162" y="2054"/>
                      <a:pt x="7594" y="1225"/>
                    </a:cubicBezTo>
                    <a:cubicBezTo>
                      <a:pt x="9026" y="415"/>
                      <a:pt x="10647" y="0"/>
                      <a:pt x="12456" y="0"/>
                    </a:cubicBezTo>
                    <a:cubicBezTo>
                      <a:pt x="14490" y="0"/>
                      <a:pt x="16149" y="415"/>
                      <a:pt x="17449" y="1263"/>
                    </a:cubicBezTo>
                    <a:cubicBezTo>
                      <a:pt x="18749" y="2110"/>
                      <a:pt x="19654" y="3279"/>
                      <a:pt x="20200" y="4786"/>
                    </a:cubicBezTo>
                    <a:cubicBezTo>
                      <a:pt x="22367" y="1583"/>
                      <a:pt x="25175" y="0"/>
                      <a:pt x="28642" y="0"/>
                    </a:cubicBezTo>
                    <a:cubicBezTo>
                      <a:pt x="31356" y="0"/>
                      <a:pt x="33447" y="754"/>
                      <a:pt x="34898" y="2261"/>
                    </a:cubicBezTo>
                    <a:cubicBezTo>
                      <a:pt x="36349" y="3769"/>
                      <a:pt x="37084" y="6086"/>
                      <a:pt x="37084" y="9196"/>
                    </a:cubicBezTo>
                    <a:lnTo>
                      <a:pt x="37084" y="27982"/>
                    </a:lnTo>
                    <a:lnTo>
                      <a:pt x="32467" y="27982"/>
                    </a:lnTo>
                    <a:lnTo>
                      <a:pt x="32467" y="10741"/>
                    </a:lnTo>
                    <a:cubicBezTo>
                      <a:pt x="32467" y="8894"/>
                      <a:pt x="32317" y="7556"/>
                      <a:pt x="32015" y="6727"/>
                    </a:cubicBezTo>
                    <a:cubicBezTo>
                      <a:pt x="31714" y="5917"/>
                      <a:pt x="31167" y="5257"/>
                      <a:pt x="30376" y="4749"/>
                    </a:cubicBezTo>
                    <a:cubicBezTo>
                      <a:pt x="29584" y="4259"/>
                      <a:pt x="28661" y="3995"/>
                      <a:pt x="27587" y="3995"/>
                    </a:cubicBezTo>
                    <a:cubicBezTo>
                      <a:pt x="25665" y="3995"/>
                      <a:pt x="24063" y="4635"/>
                      <a:pt x="22801" y="5917"/>
                    </a:cubicBezTo>
                    <a:cubicBezTo>
                      <a:pt x="21538" y="7198"/>
                      <a:pt x="20897" y="9252"/>
                      <a:pt x="20897" y="12060"/>
                    </a:cubicBezTo>
                    <a:lnTo>
                      <a:pt x="20897" y="27964"/>
                    </a:lnTo>
                    <a:lnTo>
                      <a:pt x="16262" y="27964"/>
                    </a:lnTo>
                    <a:lnTo>
                      <a:pt x="16262" y="10194"/>
                    </a:lnTo>
                    <a:cubicBezTo>
                      <a:pt x="16262" y="8140"/>
                      <a:pt x="15885" y="6595"/>
                      <a:pt x="15131" y="5559"/>
                    </a:cubicBezTo>
                    <a:cubicBezTo>
                      <a:pt x="14378" y="4522"/>
                      <a:pt x="13134" y="4014"/>
                      <a:pt x="11419" y="4014"/>
                    </a:cubicBezTo>
                    <a:cubicBezTo>
                      <a:pt x="10119" y="4014"/>
                      <a:pt x="8913" y="4353"/>
                      <a:pt x="7801" y="5050"/>
                    </a:cubicBezTo>
                    <a:cubicBezTo>
                      <a:pt x="6689" y="5747"/>
                      <a:pt x="5898" y="6746"/>
                      <a:pt x="5389" y="8065"/>
                    </a:cubicBezTo>
                    <a:cubicBezTo>
                      <a:pt x="4899" y="9384"/>
                      <a:pt x="4635" y="11287"/>
                      <a:pt x="4635" y="13793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62" name="Freihandform: Form 3661">
                <a:extLst>
                  <a:ext uri="{FF2B5EF4-FFF2-40B4-BE49-F238E27FC236}">
                    <a16:creationId xmlns:a16="http://schemas.microsoft.com/office/drawing/2014/main" id="{0CB83271-D5E7-BA51-24AF-DC98270064BA}"/>
                  </a:ext>
                </a:extLst>
              </p:cNvPr>
              <p:cNvSpPr/>
              <p:nvPr/>
            </p:nvSpPr>
            <p:spPr>
              <a:xfrm>
                <a:off x="7860990" y="983008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39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2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2 w 25231"/>
                  <a:gd name="connsiteY9" fmla="*/ 14246 h 28585"/>
                  <a:gd name="connsiteX10" fmla="*/ 25213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9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6"/>
                      <a:pt x="22932" y="24722"/>
                      <a:pt x="20879" y="26268"/>
                    </a:cubicBezTo>
                    <a:cubicBezTo>
                      <a:pt x="18843" y="27813"/>
                      <a:pt x="16224" y="28585"/>
                      <a:pt x="13039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2" y="3806"/>
                    </a:cubicBezTo>
                    <a:cubicBezTo>
                      <a:pt x="5935" y="1263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2" y="9723"/>
                      <a:pt x="25232" y="14246"/>
                    </a:cubicBezTo>
                    <a:cubicBezTo>
                      <a:pt x="25232" y="14528"/>
                      <a:pt x="25232" y="14924"/>
                      <a:pt x="25213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6"/>
                      <a:pt x="19579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60" y="7632"/>
                      <a:pt x="18599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67" name="Grafik 21">
              <a:extLst>
                <a:ext uri="{FF2B5EF4-FFF2-40B4-BE49-F238E27FC236}">
                  <a16:creationId xmlns:a16="http://schemas.microsoft.com/office/drawing/2014/main" id="{1B9440A1-959A-7B08-6A8A-DE8364572BD9}"/>
                </a:ext>
              </a:extLst>
            </p:cNvPr>
            <p:cNvGrpSpPr/>
            <p:nvPr/>
          </p:nvGrpSpPr>
          <p:grpSpPr>
            <a:xfrm>
              <a:off x="8206559" y="1244573"/>
              <a:ext cx="215021" cy="38402"/>
              <a:chOff x="8206559" y="1244573"/>
              <a:chExt cx="215021" cy="38402"/>
            </a:xfrm>
            <a:solidFill>
              <a:srgbClr val="000000"/>
            </a:solidFill>
          </p:grpSpPr>
          <p:sp>
            <p:nvSpPr>
              <p:cNvPr id="3649" name="Freihandform: Form 3648">
                <a:extLst>
                  <a:ext uri="{FF2B5EF4-FFF2-40B4-BE49-F238E27FC236}">
                    <a16:creationId xmlns:a16="http://schemas.microsoft.com/office/drawing/2014/main" id="{8590253C-37D2-399D-4434-97C88A678B9A}"/>
                  </a:ext>
                </a:extLst>
              </p:cNvPr>
              <p:cNvSpPr/>
              <p:nvPr/>
            </p:nvSpPr>
            <p:spPr>
              <a:xfrm>
                <a:off x="8206559" y="1244573"/>
                <a:ext cx="29621" cy="37762"/>
              </a:xfrm>
              <a:custGeom>
                <a:avLst/>
                <a:gdLst>
                  <a:gd name="connsiteX0" fmla="*/ 0 w 29621"/>
                  <a:gd name="connsiteY0" fmla="*/ 37762 h 37762"/>
                  <a:gd name="connsiteX1" fmla="*/ 0 w 29621"/>
                  <a:gd name="connsiteY1" fmla="*/ 0 h 37762"/>
                  <a:gd name="connsiteX2" fmla="*/ 4993 w 29621"/>
                  <a:gd name="connsiteY2" fmla="*/ 0 h 37762"/>
                  <a:gd name="connsiteX3" fmla="*/ 4993 w 29621"/>
                  <a:gd name="connsiteY3" fmla="*/ 15508 h 37762"/>
                  <a:gd name="connsiteX4" fmla="*/ 24628 w 29621"/>
                  <a:gd name="connsiteY4" fmla="*/ 15508 h 37762"/>
                  <a:gd name="connsiteX5" fmla="*/ 24628 w 29621"/>
                  <a:gd name="connsiteY5" fmla="*/ 0 h 37762"/>
                  <a:gd name="connsiteX6" fmla="*/ 29622 w 29621"/>
                  <a:gd name="connsiteY6" fmla="*/ 0 h 37762"/>
                  <a:gd name="connsiteX7" fmla="*/ 29622 w 29621"/>
                  <a:gd name="connsiteY7" fmla="*/ 37762 h 37762"/>
                  <a:gd name="connsiteX8" fmla="*/ 24628 w 29621"/>
                  <a:gd name="connsiteY8" fmla="*/ 37762 h 37762"/>
                  <a:gd name="connsiteX9" fmla="*/ 24628 w 29621"/>
                  <a:gd name="connsiteY9" fmla="*/ 19955 h 37762"/>
                  <a:gd name="connsiteX10" fmla="*/ 4993 w 29621"/>
                  <a:gd name="connsiteY10" fmla="*/ 19955 h 37762"/>
                  <a:gd name="connsiteX11" fmla="*/ 4993 w 29621"/>
                  <a:gd name="connsiteY11" fmla="*/ 37762 h 37762"/>
                  <a:gd name="connsiteX12" fmla="*/ 0 w 29621"/>
                  <a:gd name="connsiteY12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21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993" y="0"/>
                    </a:lnTo>
                    <a:lnTo>
                      <a:pt x="4993" y="15508"/>
                    </a:lnTo>
                    <a:lnTo>
                      <a:pt x="24628" y="15508"/>
                    </a:lnTo>
                    <a:lnTo>
                      <a:pt x="24628" y="0"/>
                    </a:lnTo>
                    <a:lnTo>
                      <a:pt x="29622" y="0"/>
                    </a:lnTo>
                    <a:lnTo>
                      <a:pt x="29622" y="37762"/>
                    </a:lnTo>
                    <a:lnTo>
                      <a:pt x="24628" y="37762"/>
                    </a:lnTo>
                    <a:lnTo>
                      <a:pt x="24628" y="19955"/>
                    </a:lnTo>
                    <a:lnTo>
                      <a:pt x="4993" y="19955"/>
                    </a:lnTo>
                    <a:lnTo>
                      <a:pt x="4993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50" name="Freihandform: Form 3649">
                <a:extLst>
                  <a:ext uri="{FF2B5EF4-FFF2-40B4-BE49-F238E27FC236}">
                    <a16:creationId xmlns:a16="http://schemas.microsoft.com/office/drawing/2014/main" id="{84D7DD2C-983D-6881-0018-D1B3A21A4706}"/>
                  </a:ext>
                </a:extLst>
              </p:cNvPr>
              <p:cNvSpPr/>
              <p:nvPr/>
            </p:nvSpPr>
            <p:spPr>
              <a:xfrm>
                <a:off x="8242361" y="1254352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0 w 25231"/>
                  <a:gd name="connsiteY1" fmla="*/ 19748 h 28585"/>
                  <a:gd name="connsiteX2" fmla="*/ 20878 w 25231"/>
                  <a:gd name="connsiteY2" fmla="*/ 26268 h 28585"/>
                  <a:gd name="connsiteX3" fmla="*/ 13039 w 25231"/>
                  <a:gd name="connsiteY3" fmla="*/ 28585 h 28585"/>
                  <a:gd name="connsiteX4" fmla="*/ 3523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5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0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0" y="19748"/>
                    </a:lnTo>
                    <a:cubicBezTo>
                      <a:pt x="24327" y="22556"/>
                      <a:pt x="22932" y="24722"/>
                      <a:pt x="20878" y="26268"/>
                    </a:cubicBezTo>
                    <a:cubicBezTo>
                      <a:pt x="18825" y="27813"/>
                      <a:pt x="16224" y="28585"/>
                      <a:pt x="13039" y="28585"/>
                    </a:cubicBezTo>
                    <a:cubicBezTo>
                      <a:pt x="9044" y="28585"/>
                      <a:pt x="5860" y="27361"/>
                      <a:pt x="3523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5" y="1263"/>
                      <a:pt x="9007" y="0"/>
                      <a:pt x="12775" y="0"/>
                    </a:cubicBezTo>
                    <a:cubicBezTo>
                      <a:pt x="16544" y="0"/>
                      <a:pt x="19427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4" y="18485"/>
                      <a:pt x="5822" y="20803"/>
                      <a:pt x="7349" y="22386"/>
                    </a:cubicBezTo>
                    <a:cubicBezTo>
                      <a:pt x="8875" y="23969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6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0" y="11664"/>
                    </a:lnTo>
                    <a:cubicBezTo>
                      <a:pt x="20143" y="9365"/>
                      <a:pt x="19559" y="7632"/>
                      <a:pt x="18598" y="6482"/>
                    </a:cubicBezTo>
                    <a:cubicBezTo>
                      <a:pt x="17128" y="4692"/>
                      <a:pt x="15206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19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51" name="Freihandform: Form 3650">
                <a:extLst>
                  <a:ext uri="{FF2B5EF4-FFF2-40B4-BE49-F238E27FC236}">
                    <a16:creationId xmlns:a16="http://schemas.microsoft.com/office/drawing/2014/main" id="{DB8CBD2C-33EC-FAD8-B277-B554450E70CC}"/>
                  </a:ext>
                </a:extLst>
              </p:cNvPr>
              <p:cNvSpPr/>
              <p:nvPr/>
            </p:nvSpPr>
            <p:spPr>
              <a:xfrm>
                <a:off x="8273208" y="1254352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39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7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10"/>
                    </a:cubicBezTo>
                    <a:cubicBezTo>
                      <a:pt x="6332" y="6331"/>
                      <a:pt x="5766" y="7161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52" name="Freihandform: Form 3651">
                <a:extLst>
                  <a:ext uri="{FF2B5EF4-FFF2-40B4-BE49-F238E27FC236}">
                    <a16:creationId xmlns:a16="http://schemas.microsoft.com/office/drawing/2014/main" id="{ADBDA790-C95C-8563-C1A0-3620FE70DE0A}"/>
                  </a:ext>
                </a:extLst>
              </p:cNvPr>
              <p:cNvSpPr/>
              <p:nvPr/>
            </p:nvSpPr>
            <p:spPr>
              <a:xfrm>
                <a:off x="8289262" y="1254334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5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3" y="27964"/>
                    </a:cubicBezTo>
                    <a:lnTo>
                      <a:pt x="20351" y="27964"/>
                    </a:lnTo>
                    <a:cubicBezTo>
                      <a:pt x="19880" y="27003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53" name="Freihandform: Form 3652">
                <a:extLst>
                  <a:ext uri="{FF2B5EF4-FFF2-40B4-BE49-F238E27FC236}">
                    <a16:creationId xmlns:a16="http://schemas.microsoft.com/office/drawing/2014/main" id="{EDA2DA6F-DFB5-F4BA-A1D9-30C0BA74B161}"/>
                  </a:ext>
                </a:extLst>
              </p:cNvPr>
              <p:cNvSpPr/>
              <p:nvPr/>
            </p:nvSpPr>
            <p:spPr>
              <a:xfrm>
                <a:off x="8320184" y="1244573"/>
                <a:ext cx="22687" cy="37780"/>
              </a:xfrm>
              <a:custGeom>
                <a:avLst/>
                <a:gdLst>
                  <a:gd name="connsiteX0" fmla="*/ 19 w 22687"/>
                  <a:gd name="connsiteY0" fmla="*/ 37762 h 37780"/>
                  <a:gd name="connsiteX1" fmla="*/ 19 w 22687"/>
                  <a:gd name="connsiteY1" fmla="*/ 0 h 37780"/>
                  <a:gd name="connsiteX2" fmla="*/ 4654 w 22687"/>
                  <a:gd name="connsiteY2" fmla="*/ 0 h 37780"/>
                  <a:gd name="connsiteX3" fmla="*/ 4654 w 22687"/>
                  <a:gd name="connsiteY3" fmla="*/ 21538 h 37780"/>
                  <a:gd name="connsiteX4" fmla="*/ 15621 w 22687"/>
                  <a:gd name="connsiteY4" fmla="*/ 10402 h 37780"/>
                  <a:gd name="connsiteX5" fmla="*/ 21632 w 22687"/>
                  <a:gd name="connsiteY5" fmla="*/ 10402 h 37780"/>
                  <a:gd name="connsiteX6" fmla="*/ 11174 w 22687"/>
                  <a:gd name="connsiteY6" fmla="*/ 20558 h 37780"/>
                  <a:gd name="connsiteX7" fmla="*/ 22687 w 22687"/>
                  <a:gd name="connsiteY7" fmla="*/ 37762 h 37780"/>
                  <a:gd name="connsiteX8" fmla="*/ 16959 w 22687"/>
                  <a:gd name="connsiteY8" fmla="*/ 37762 h 37780"/>
                  <a:gd name="connsiteX9" fmla="*/ 7915 w 22687"/>
                  <a:gd name="connsiteY9" fmla="*/ 23780 h 37780"/>
                  <a:gd name="connsiteX10" fmla="*/ 4635 w 22687"/>
                  <a:gd name="connsiteY10" fmla="*/ 26927 h 37780"/>
                  <a:gd name="connsiteX11" fmla="*/ 4635 w 22687"/>
                  <a:gd name="connsiteY11" fmla="*/ 37781 h 37780"/>
                  <a:gd name="connsiteX12" fmla="*/ 0 w 22687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687" h="37780">
                    <a:moveTo>
                      <a:pt x="19" y="37762"/>
                    </a:moveTo>
                    <a:lnTo>
                      <a:pt x="19" y="0"/>
                    </a:lnTo>
                    <a:lnTo>
                      <a:pt x="4654" y="0"/>
                    </a:lnTo>
                    <a:lnTo>
                      <a:pt x="4654" y="21538"/>
                    </a:lnTo>
                    <a:lnTo>
                      <a:pt x="15621" y="10402"/>
                    </a:lnTo>
                    <a:lnTo>
                      <a:pt x="21632" y="10402"/>
                    </a:lnTo>
                    <a:lnTo>
                      <a:pt x="11174" y="20558"/>
                    </a:lnTo>
                    <a:lnTo>
                      <a:pt x="22687" y="37762"/>
                    </a:lnTo>
                    <a:lnTo>
                      <a:pt x="16959" y="37762"/>
                    </a:lnTo>
                    <a:lnTo>
                      <a:pt x="7915" y="23780"/>
                    </a:lnTo>
                    <a:lnTo>
                      <a:pt x="4635" y="26927"/>
                    </a:lnTo>
                    <a:lnTo>
                      <a:pt x="4635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54" name="Freihandform: Form 3653">
                <a:extLst>
                  <a:ext uri="{FF2B5EF4-FFF2-40B4-BE49-F238E27FC236}">
                    <a16:creationId xmlns:a16="http://schemas.microsoft.com/office/drawing/2014/main" id="{0FE55C36-59CF-2C49-7058-BB722B6A4EC2}"/>
                  </a:ext>
                </a:extLst>
              </p:cNvPr>
              <p:cNvSpPr/>
              <p:nvPr/>
            </p:nvSpPr>
            <p:spPr>
              <a:xfrm>
                <a:off x="8346452" y="1244573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55" name="Freihandform: Form 3654">
                <a:extLst>
                  <a:ext uri="{FF2B5EF4-FFF2-40B4-BE49-F238E27FC236}">
                    <a16:creationId xmlns:a16="http://schemas.microsoft.com/office/drawing/2014/main" id="{5A8F5445-59CB-6C74-F59D-26AA14391DF0}"/>
                  </a:ext>
                </a:extLst>
              </p:cNvPr>
              <p:cNvSpPr/>
              <p:nvPr/>
            </p:nvSpPr>
            <p:spPr>
              <a:xfrm>
                <a:off x="8358304" y="1244573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6 w 4635"/>
                  <a:gd name="connsiteY7" fmla="*/ 10402 h 37762"/>
                  <a:gd name="connsiteX8" fmla="*/ 4636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6" y="10402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56" name="Freihandform: Form 3655">
                <a:extLst>
                  <a:ext uri="{FF2B5EF4-FFF2-40B4-BE49-F238E27FC236}">
                    <a16:creationId xmlns:a16="http://schemas.microsoft.com/office/drawing/2014/main" id="{09DEDB4A-39AE-FD43-D27A-7334BE1D3250}"/>
                  </a:ext>
                </a:extLst>
              </p:cNvPr>
              <p:cNvSpPr/>
              <p:nvPr/>
            </p:nvSpPr>
            <p:spPr>
              <a:xfrm>
                <a:off x="8368254" y="1254371"/>
                <a:ext cx="25646" cy="28604"/>
              </a:xfrm>
              <a:custGeom>
                <a:avLst/>
                <a:gdLst>
                  <a:gd name="connsiteX0" fmla="*/ 19 w 25646"/>
                  <a:gd name="connsiteY0" fmla="*/ 14283 h 28604"/>
                  <a:gd name="connsiteX1" fmla="*/ 4240 w 25646"/>
                  <a:gd name="connsiteY1" fmla="*/ 3034 h 28604"/>
                  <a:gd name="connsiteX2" fmla="*/ 12851 w 25646"/>
                  <a:gd name="connsiteY2" fmla="*/ 0 h 28604"/>
                  <a:gd name="connsiteX3" fmla="*/ 22066 w 25646"/>
                  <a:gd name="connsiteY3" fmla="*/ 3693 h 28604"/>
                  <a:gd name="connsiteX4" fmla="*/ 25646 w 25646"/>
                  <a:gd name="connsiteY4" fmla="*/ 13906 h 28604"/>
                  <a:gd name="connsiteX5" fmla="*/ 24063 w 25646"/>
                  <a:gd name="connsiteY5" fmla="*/ 22216 h 28604"/>
                  <a:gd name="connsiteX6" fmla="*/ 19446 w 25646"/>
                  <a:gd name="connsiteY6" fmla="*/ 26927 h 28604"/>
                  <a:gd name="connsiteX7" fmla="*/ 12832 w 25646"/>
                  <a:gd name="connsiteY7" fmla="*/ 28604 h 28604"/>
                  <a:gd name="connsiteX8" fmla="*/ 3543 w 25646"/>
                  <a:gd name="connsiteY8" fmla="*/ 24911 h 28604"/>
                  <a:gd name="connsiteX9" fmla="*/ 0 w 25646"/>
                  <a:gd name="connsiteY9" fmla="*/ 14302 h 28604"/>
                  <a:gd name="connsiteX10" fmla="*/ 4786 w 25646"/>
                  <a:gd name="connsiteY10" fmla="*/ 14283 h 28604"/>
                  <a:gd name="connsiteX11" fmla="*/ 7085 w 25646"/>
                  <a:gd name="connsiteY11" fmla="*/ 22160 h 28604"/>
                  <a:gd name="connsiteX12" fmla="*/ 12851 w 25646"/>
                  <a:gd name="connsiteY12" fmla="*/ 24779 h 28604"/>
                  <a:gd name="connsiteX13" fmla="*/ 18599 w 25646"/>
                  <a:gd name="connsiteY13" fmla="*/ 22160 h 28604"/>
                  <a:gd name="connsiteX14" fmla="*/ 20897 w 25646"/>
                  <a:gd name="connsiteY14" fmla="*/ 14151 h 28604"/>
                  <a:gd name="connsiteX15" fmla="*/ 18599 w 25646"/>
                  <a:gd name="connsiteY15" fmla="*/ 6463 h 28604"/>
                  <a:gd name="connsiteX16" fmla="*/ 12870 w 25646"/>
                  <a:gd name="connsiteY16" fmla="*/ 3844 h 28604"/>
                  <a:gd name="connsiteX17" fmla="*/ 7104 w 25646"/>
                  <a:gd name="connsiteY17" fmla="*/ 6444 h 28604"/>
                  <a:gd name="connsiteX18" fmla="*/ 4805 w 25646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6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40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912"/>
                      <a:pt x="10534" y="24779"/>
                      <a:pt x="12851" y="24779"/>
                    </a:cubicBezTo>
                    <a:cubicBezTo>
                      <a:pt x="15169" y="24779"/>
                      <a:pt x="17072" y="23912"/>
                      <a:pt x="18599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9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57" name="Freihandform: Form 3656">
                <a:extLst>
                  <a:ext uri="{FF2B5EF4-FFF2-40B4-BE49-F238E27FC236}">
                    <a16:creationId xmlns:a16="http://schemas.microsoft.com/office/drawing/2014/main" id="{E3082168-0DA0-2C64-4431-34727E70B430}"/>
                  </a:ext>
                </a:extLst>
              </p:cNvPr>
              <p:cNvSpPr/>
              <p:nvPr/>
            </p:nvSpPr>
            <p:spPr>
              <a:xfrm>
                <a:off x="8399345" y="1254352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1 w 22235"/>
                  <a:gd name="connsiteY6" fmla="*/ 3222 h 28001"/>
                  <a:gd name="connsiteX7" fmla="*/ 21972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8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1" y="3222"/>
                    </a:cubicBezTo>
                    <a:cubicBezTo>
                      <a:pt x="21218" y="4183"/>
                      <a:pt x="21689" y="5333"/>
                      <a:pt x="21972" y="6652"/>
                    </a:cubicBezTo>
                    <a:cubicBezTo>
                      <a:pt x="22141" y="7519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2" y="7179"/>
                      <a:pt x="4635" y="9554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68" name="Grafik 21">
              <a:extLst>
                <a:ext uri="{FF2B5EF4-FFF2-40B4-BE49-F238E27FC236}">
                  <a16:creationId xmlns:a16="http://schemas.microsoft.com/office/drawing/2014/main" id="{39589742-CB86-5021-00CE-C4AE248259AB}"/>
                </a:ext>
              </a:extLst>
            </p:cNvPr>
            <p:cNvGrpSpPr/>
            <p:nvPr/>
          </p:nvGrpSpPr>
          <p:grpSpPr>
            <a:xfrm>
              <a:off x="8777965" y="1067445"/>
              <a:ext cx="173792" cy="48860"/>
              <a:chOff x="8777965" y="1067445"/>
              <a:chExt cx="173792" cy="48860"/>
            </a:xfrm>
            <a:solidFill>
              <a:srgbClr val="000000"/>
            </a:solidFill>
          </p:grpSpPr>
          <p:sp>
            <p:nvSpPr>
              <p:cNvPr id="3642" name="Freihandform: Form 3641">
                <a:extLst>
                  <a:ext uri="{FF2B5EF4-FFF2-40B4-BE49-F238E27FC236}">
                    <a16:creationId xmlns:a16="http://schemas.microsoft.com/office/drawing/2014/main" id="{92EB31EE-29C1-DA01-E8CB-35CF4A003A69}"/>
                  </a:ext>
                </a:extLst>
              </p:cNvPr>
              <p:cNvSpPr/>
              <p:nvPr/>
            </p:nvSpPr>
            <p:spPr>
              <a:xfrm>
                <a:off x="8777965" y="1067445"/>
                <a:ext cx="35350" cy="37762"/>
              </a:xfrm>
              <a:custGeom>
                <a:avLst/>
                <a:gdLst>
                  <a:gd name="connsiteX0" fmla="*/ 0 w 35350"/>
                  <a:gd name="connsiteY0" fmla="*/ 37762 h 37762"/>
                  <a:gd name="connsiteX1" fmla="*/ 14509 w 35350"/>
                  <a:gd name="connsiteY1" fmla="*/ 0 h 37762"/>
                  <a:gd name="connsiteX2" fmla="*/ 19898 w 35350"/>
                  <a:gd name="connsiteY2" fmla="*/ 0 h 37762"/>
                  <a:gd name="connsiteX3" fmla="*/ 35350 w 35350"/>
                  <a:gd name="connsiteY3" fmla="*/ 37762 h 37762"/>
                  <a:gd name="connsiteX4" fmla="*/ 29659 w 35350"/>
                  <a:gd name="connsiteY4" fmla="*/ 37762 h 37762"/>
                  <a:gd name="connsiteX5" fmla="*/ 25250 w 35350"/>
                  <a:gd name="connsiteY5" fmla="*/ 26324 h 37762"/>
                  <a:gd name="connsiteX6" fmla="*/ 9459 w 35350"/>
                  <a:gd name="connsiteY6" fmla="*/ 26324 h 37762"/>
                  <a:gd name="connsiteX7" fmla="*/ 5314 w 35350"/>
                  <a:gd name="connsiteY7" fmla="*/ 37762 h 37762"/>
                  <a:gd name="connsiteX8" fmla="*/ 0 w 35350"/>
                  <a:gd name="connsiteY8" fmla="*/ 37762 h 37762"/>
                  <a:gd name="connsiteX9" fmla="*/ 10891 w 35350"/>
                  <a:gd name="connsiteY9" fmla="*/ 22254 h 37762"/>
                  <a:gd name="connsiteX10" fmla="*/ 23686 w 35350"/>
                  <a:gd name="connsiteY10" fmla="*/ 22254 h 37762"/>
                  <a:gd name="connsiteX11" fmla="*/ 19748 w 35350"/>
                  <a:gd name="connsiteY11" fmla="*/ 11796 h 37762"/>
                  <a:gd name="connsiteX12" fmla="*/ 17072 w 35350"/>
                  <a:gd name="connsiteY12" fmla="*/ 3957 h 37762"/>
                  <a:gd name="connsiteX13" fmla="*/ 15037 w 35350"/>
                  <a:gd name="connsiteY13" fmla="*/ 11174 h 37762"/>
                  <a:gd name="connsiteX14" fmla="*/ 10891 w 35350"/>
                  <a:gd name="connsiteY14" fmla="*/ 22254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5350" h="37762">
                    <a:moveTo>
                      <a:pt x="0" y="37762"/>
                    </a:moveTo>
                    <a:lnTo>
                      <a:pt x="14509" y="0"/>
                    </a:lnTo>
                    <a:lnTo>
                      <a:pt x="19898" y="0"/>
                    </a:lnTo>
                    <a:lnTo>
                      <a:pt x="35350" y="37762"/>
                    </a:lnTo>
                    <a:lnTo>
                      <a:pt x="29659" y="37762"/>
                    </a:lnTo>
                    <a:lnTo>
                      <a:pt x="25250" y="26324"/>
                    </a:lnTo>
                    <a:lnTo>
                      <a:pt x="9459" y="26324"/>
                    </a:lnTo>
                    <a:lnTo>
                      <a:pt x="5314" y="37762"/>
                    </a:lnTo>
                    <a:lnTo>
                      <a:pt x="0" y="37762"/>
                    </a:lnTo>
                    <a:close/>
                    <a:moveTo>
                      <a:pt x="10891" y="22254"/>
                    </a:moveTo>
                    <a:lnTo>
                      <a:pt x="23686" y="22254"/>
                    </a:lnTo>
                    <a:lnTo>
                      <a:pt x="19748" y="11796"/>
                    </a:lnTo>
                    <a:cubicBezTo>
                      <a:pt x="18542" y="8611"/>
                      <a:pt x="17656" y="6011"/>
                      <a:pt x="17072" y="3957"/>
                    </a:cubicBezTo>
                    <a:cubicBezTo>
                      <a:pt x="16582" y="6388"/>
                      <a:pt x="15904" y="8781"/>
                      <a:pt x="15037" y="11174"/>
                    </a:cubicBezTo>
                    <a:lnTo>
                      <a:pt x="10891" y="22254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43" name="Freihandform: Form 3642">
                <a:extLst>
                  <a:ext uri="{FF2B5EF4-FFF2-40B4-BE49-F238E27FC236}">
                    <a16:creationId xmlns:a16="http://schemas.microsoft.com/office/drawing/2014/main" id="{FF3F02A6-9FDE-A244-46B1-C53DC9CBB696}"/>
                  </a:ext>
                </a:extLst>
              </p:cNvPr>
              <p:cNvSpPr/>
              <p:nvPr/>
            </p:nvSpPr>
            <p:spPr>
              <a:xfrm>
                <a:off x="8816707" y="1077225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1 w 22235"/>
                  <a:gd name="connsiteY6" fmla="*/ 3222 h 28001"/>
                  <a:gd name="connsiteX7" fmla="*/ 21972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909 w 22235"/>
                  <a:gd name="connsiteY14" fmla="*/ 4033 h 28001"/>
                  <a:gd name="connsiteX15" fmla="*/ 6803 w 22235"/>
                  <a:gd name="connsiteY15" fmla="*/ 5917 h 28001"/>
                  <a:gd name="connsiteX16" fmla="*/ 4654 w 22235"/>
                  <a:gd name="connsiteY16" fmla="*/ 13058 h 28001"/>
                  <a:gd name="connsiteX17" fmla="*/ 4654 w 22235"/>
                  <a:gd name="connsiteY17" fmla="*/ 28001 h 28001"/>
                  <a:gd name="connsiteX18" fmla="*/ 19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8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1" y="3222"/>
                    </a:cubicBezTo>
                    <a:cubicBezTo>
                      <a:pt x="21199" y="4183"/>
                      <a:pt x="21689" y="5333"/>
                      <a:pt x="21972" y="6652"/>
                    </a:cubicBezTo>
                    <a:cubicBezTo>
                      <a:pt x="22141" y="7519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909" y="4033"/>
                    </a:cubicBezTo>
                    <a:cubicBezTo>
                      <a:pt x="9930" y="4033"/>
                      <a:pt x="8235" y="4654"/>
                      <a:pt x="6803" y="5917"/>
                    </a:cubicBezTo>
                    <a:cubicBezTo>
                      <a:pt x="5371" y="7179"/>
                      <a:pt x="4654" y="9554"/>
                      <a:pt x="4654" y="13058"/>
                    </a:cubicBezTo>
                    <a:lnTo>
                      <a:pt x="4654" y="28001"/>
                    </a:lnTo>
                    <a:lnTo>
                      <a:pt x="19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44" name="Freihandform: Form 3643">
                <a:extLst>
                  <a:ext uri="{FF2B5EF4-FFF2-40B4-BE49-F238E27FC236}">
                    <a16:creationId xmlns:a16="http://schemas.microsoft.com/office/drawing/2014/main" id="{B3E4FFE1-FD2C-36BC-04FE-E1D9CA7E4A34}"/>
                  </a:ext>
                </a:extLst>
              </p:cNvPr>
              <p:cNvSpPr/>
              <p:nvPr/>
            </p:nvSpPr>
            <p:spPr>
              <a:xfrm>
                <a:off x="8843521" y="1068293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7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1 h 37272"/>
                  <a:gd name="connsiteX7" fmla="*/ 0 w 13341"/>
                  <a:gd name="connsiteY7" fmla="*/ 13171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4 w 13341"/>
                  <a:gd name="connsiteY17" fmla="*/ 31695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7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1" y="33522"/>
                      <a:pt x="3392" y="31695"/>
                      <a:pt x="3392" y="28906"/>
                    </a:cubicBezTo>
                    <a:lnTo>
                      <a:pt x="3392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4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7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45" name="Freihandform: Form 3644">
                <a:extLst>
                  <a:ext uri="{FF2B5EF4-FFF2-40B4-BE49-F238E27FC236}">
                    <a16:creationId xmlns:a16="http://schemas.microsoft.com/office/drawing/2014/main" id="{5682915A-DC0E-20BF-0863-1738C073A6EB}"/>
                  </a:ext>
                </a:extLst>
              </p:cNvPr>
              <p:cNvSpPr/>
              <p:nvPr/>
            </p:nvSpPr>
            <p:spPr>
              <a:xfrm>
                <a:off x="8859142" y="1077206"/>
                <a:ext cx="25174" cy="28623"/>
              </a:xfrm>
              <a:custGeom>
                <a:avLst/>
                <a:gdLst>
                  <a:gd name="connsiteX0" fmla="*/ 19428 w 25174"/>
                  <a:gd name="connsiteY0" fmla="*/ 24628 h 28623"/>
                  <a:gd name="connsiteX1" fmla="*/ 14472 w 25174"/>
                  <a:gd name="connsiteY1" fmla="*/ 27719 h 28623"/>
                  <a:gd name="connsiteX2" fmla="*/ 9365 w 25174"/>
                  <a:gd name="connsiteY2" fmla="*/ 28623 h 28623"/>
                  <a:gd name="connsiteX3" fmla="*/ 2431 w 25174"/>
                  <a:gd name="connsiteY3" fmla="*/ 26418 h 28623"/>
                  <a:gd name="connsiteX4" fmla="*/ 0 w 25174"/>
                  <a:gd name="connsiteY4" fmla="*/ 20784 h 28623"/>
                  <a:gd name="connsiteX5" fmla="*/ 904 w 25174"/>
                  <a:gd name="connsiteY5" fmla="*/ 17110 h 28623"/>
                  <a:gd name="connsiteX6" fmla="*/ 3298 w 25174"/>
                  <a:gd name="connsiteY6" fmla="*/ 14434 h 28623"/>
                  <a:gd name="connsiteX7" fmla="*/ 6633 w 25174"/>
                  <a:gd name="connsiteY7" fmla="*/ 12908 h 28623"/>
                  <a:gd name="connsiteX8" fmla="*/ 10759 w 25174"/>
                  <a:gd name="connsiteY8" fmla="*/ 12210 h 28623"/>
                  <a:gd name="connsiteX9" fmla="*/ 19032 w 25174"/>
                  <a:gd name="connsiteY9" fmla="*/ 10609 h 28623"/>
                  <a:gd name="connsiteX10" fmla="*/ 19051 w 25174"/>
                  <a:gd name="connsiteY10" fmla="*/ 9403 h 28623"/>
                  <a:gd name="connsiteX11" fmla="*/ 17732 w 25174"/>
                  <a:gd name="connsiteY11" fmla="*/ 5408 h 28623"/>
                  <a:gd name="connsiteX12" fmla="*/ 12456 w 25174"/>
                  <a:gd name="connsiteY12" fmla="*/ 3844 h 28623"/>
                  <a:gd name="connsiteX13" fmla="*/ 7632 w 25174"/>
                  <a:gd name="connsiteY13" fmla="*/ 4993 h 28623"/>
                  <a:gd name="connsiteX14" fmla="*/ 5333 w 25174"/>
                  <a:gd name="connsiteY14" fmla="*/ 9045 h 28623"/>
                  <a:gd name="connsiteX15" fmla="*/ 792 w 25174"/>
                  <a:gd name="connsiteY15" fmla="*/ 8423 h 28623"/>
                  <a:gd name="connsiteX16" fmla="*/ 2827 w 25174"/>
                  <a:gd name="connsiteY16" fmla="*/ 3712 h 28623"/>
                  <a:gd name="connsiteX17" fmla="*/ 6916 w 25174"/>
                  <a:gd name="connsiteY17" fmla="*/ 961 h 28623"/>
                  <a:gd name="connsiteX18" fmla="*/ 13115 w 25174"/>
                  <a:gd name="connsiteY18" fmla="*/ 0 h 28623"/>
                  <a:gd name="connsiteX19" fmla="*/ 18806 w 25174"/>
                  <a:gd name="connsiteY19" fmla="*/ 829 h 28623"/>
                  <a:gd name="connsiteX20" fmla="*/ 22028 w 25174"/>
                  <a:gd name="connsiteY20" fmla="*/ 2902 h 28623"/>
                  <a:gd name="connsiteX21" fmla="*/ 23479 w 25174"/>
                  <a:gd name="connsiteY21" fmla="*/ 6049 h 28623"/>
                  <a:gd name="connsiteX22" fmla="*/ 23705 w 25174"/>
                  <a:gd name="connsiteY22" fmla="*/ 10326 h 28623"/>
                  <a:gd name="connsiteX23" fmla="*/ 23705 w 25174"/>
                  <a:gd name="connsiteY23" fmla="*/ 16507 h 28623"/>
                  <a:gd name="connsiteX24" fmla="*/ 24006 w 25174"/>
                  <a:gd name="connsiteY24" fmla="*/ 24685 h 28623"/>
                  <a:gd name="connsiteX25" fmla="*/ 25175 w 25174"/>
                  <a:gd name="connsiteY25" fmla="*/ 27964 h 28623"/>
                  <a:gd name="connsiteX26" fmla="*/ 20332 w 25174"/>
                  <a:gd name="connsiteY26" fmla="*/ 27964 h 28623"/>
                  <a:gd name="connsiteX27" fmla="*/ 19409 w 25174"/>
                  <a:gd name="connsiteY27" fmla="*/ 24591 h 28623"/>
                  <a:gd name="connsiteX28" fmla="*/ 19032 w 25174"/>
                  <a:gd name="connsiteY28" fmla="*/ 14264 h 28623"/>
                  <a:gd name="connsiteX29" fmla="*/ 11457 w 25174"/>
                  <a:gd name="connsiteY29" fmla="*/ 16017 h 28623"/>
                  <a:gd name="connsiteX30" fmla="*/ 7406 w 25174"/>
                  <a:gd name="connsiteY30" fmla="*/ 16940 h 28623"/>
                  <a:gd name="connsiteX31" fmla="*/ 5578 w 25174"/>
                  <a:gd name="connsiteY31" fmla="*/ 18448 h 28623"/>
                  <a:gd name="connsiteX32" fmla="*/ 4937 w 25174"/>
                  <a:gd name="connsiteY32" fmla="*/ 20652 h 28623"/>
                  <a:gd name="connsiteX33" fmla="*/ 6332 w 25174"/>
                  <a:gd name="connsiteY33" fmla="*/ 23743 h 28623"/>
                  <a:gd name="connsiteX34" fmla="*/ 10439 w 25174"/>
                  <a:gd name="connsiteY34" fmla="*/ 24986 h 28623"/>
                  <a:gd name="connsiteX35" fmla="*/ 15207 w 25174"/>
                  <a:gd name="connsiteY35" fmla="*/ 23818 h 28623"/>
                  <a:gd name="connsiteX36" fmla="*/ 18278 w 25174"/>
                  <a:gd name="connsiteY36" fmla="*/ 20615 h 28623"/>
                  <a:gd name="connsiteX37" fmla="*/ 19032 w 25174"/>
                  <a:gd name="connsiteY37" fmla="*/ 15979 h 28623"/>
                  <a:gd name="connsiteX38" fmla="*/ 19032 w 25174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74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2" y="27888"/>
                      <a:pt x="2431" y="26418"/>
                    </a:cubicBezTo>
                    <a:cubicBezTo>
                      <a:pt x="811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04" y="17110"/>
                    </a:cubicBezTo>
                    <a:cubicBezTo>
                      <a:pt x="1508" y="15998"/>
                      <a:pt x="2318" y="15112"/>
                      <a:pt x="3298" y="14434"/>
                    </a:cubicBezTo>
                    <a:cubicBezTo>
                      <a:pt x="4277" y="13756"/>
                      <a:pt x="5408" y="13266"/>
                      <a:pt x="6633" y="12908"/>
                    </a:cubicBezTo>
                    <a:cubicBezTo>
                      <a:pt x="7537" y="12663"/>
                      <a:pt x="8913" y="12437"/>
                      <a:pt x="10759" y="12210"/>
                    </a:cubicBezTo>
                    <a:cubicBezTo>
                      <a:pt x="14509" y="11758"/>
                      <a:pt x="17261" y="11231"/>
                      <a:pt x="19032" y="10609"/>
                    </a:cubicBezTo>
                    <a:cubicBezTo>
                      <a:pt x="19032" y="9968"/>
                      <a:pt x="19051" y="9572"/>
                      <a:pt x="19051" y="9403"/>
                    </a:cubicBezTo>
                    <a:cubicBezTo>
                      <a:pt x="19051" y="7518"/>
                      <a:pt x="18617" y="6181"/>
                      <a:pt x="17732" y="5408"/>
                    </a:cubicBezTo>
                    <a:cubicBezTo>
                      <a:pt x="16545" y="4353"/>
                      <a:pt x="14792" y="3844"/>
                      <a:pt x="12456" y="3844"/>
                    </a:cubicBezTo>
                    <a:cubicBezTo>
                      <a:pt x="10270" y="3844"/>
                      <a:pt x="8668" y="4221"/>
                      <a:pt x="7632" y="4993"/>
                    </a:cubicBezTo>
                    <a:cubicBezTo>
                      <a:pt x="6595" y="5766"/>
                      <a:pt x="5823" y="7104"/>
                      <a:pt x="5333" y="9045"/>
                    </a:cubicBezTo>
                    <a:lnTo>
                      <a:pt x="792" y="8423"/>
                    </a:lnTo>
                    <a:cubicBezTo>
                      <a:pt x="1206" y="6482"/>
                      <a:pt x="1884" y="4918"/>
                      <a:pt x="2827" y="3712"/>
                    </a:cubicBezTo>
                    <a:cubicBezTo>
                      <a:pt x="3769" y="2525"/>
                      <a:pt x="5125" y="1602"/>
                      <a:pt x="6916" y="961"/>
                    </a:cubicBezTo>
                    <a:cubicBezTo>
                      <a:pt x="8706" y="320"/>
                      <a:pt x="10759" y="0"/>
                      <a:pt x="13115" y="0"/>
                    </a:cubicBezTo>
                    <a:cubicBezTo>
                      <a:pt x="15470" y="0"/>
                      <a:pt x="17355" y="283"/>
                      <a:pt x="18806" y="829"/>
                    </a:cubicBezTo>
                    <a:cubicBezTo>
                      <a:pt x="20257" y="1376"/>
                      <a:pt x="21331" y="2073"/>
                      <a:pt x="22028" y="2902"/>
                    </a:cubicBezTo>
                    <a:cubicBezTo>
                      <a:pt x="22706" y="3731"/>
                      <a:pt x="23196" y="4786"/>
                      <a:pt x="23479" y="6049"/>
                    </a:cubicBezTo>
                    <a:cubicBezTo>
                      <a:pt x="23630" y="6840"/>
                      <a:pt x="23705" y="8272"/>
                      <a:pt x="23705" y="10326"/>
                    </a:cubicBezTo>
                    <a:lnTo>
                      <a:pt x="23705" y="16507"/>
                    </a:lnTo>
                    <a:cubicBezTo>
                      <a:pt x="23705" y="20822"/>
                      <a:pt x="23799" y="23535"/>
                      <a:pt x="24006" y="24685"/>
                    </a:cubicBezTo>
                    <a:cubicBezTo>
                      <a:pt x="24214" y="25834"/>
                      <a:pt x="24591" y="26927"/>
                      <a:pt x="25175" y="27964"/>
                    </a:cubicBezTo>
                    <a:lnTo>
                      <a:pt x="20332" y="27964"/>
                    </a:lnTo>
                    <a:cubicBezTo>
                      <a:pt x="19842" y="27003"/>
                      <a:pt x="19541" y="25872"/>
                      <a:pt x="19409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32" y="23743"/>
                    </a:cubicBezTo>
                    <a:cubicBezTo>
                      <a:pt x="7274" y="24572"/>
                      <a:pt x="8630" y="24986"/>
                      <a:pt x="10439" y="24986"/>
                    </a:cubicBezTo>
                    <a:cubicBezTo>
                      <a:pt x="12248" y="24986"/>
                      <a:pt x="13812" y="24591"/>
                      <a:pt x="15207" y="23818"/>
                    </a:cubicBezTo>
                    <a:cubicBezTo>
                      <a:pt x="16601" y="23045"/>
                      <a:pt x="17619" y="21971"/>
                      <a:pt x="18278" y="20615"/>
                    </a:cubicBezTo>
                    <a:cubicBezTo>
                      <a:pt x="18768" y="19559"/>
                      <a:pt x="19032" y="18014"/>
                      <a:pt x="19032" y="15979"/>
                    </a:cubicBezTo>
                    <a:lnTo>
                      <a:pt x="19032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46" name="Freihandform: Form 3645">
                <a:extLst>
                  <a:ext uri="{FF2B5EF4-FFF2-40B4-BE49-F238E27FC236}">
                    <a16:creationId xmlns:a16="http://schemas.microsoft.com/office/drawing/2014/main" id="{C9206053-DB02-2EF0-D2DB-D4A6FC354C2E}"/>
                  </a:ext>
                </a:extLst>
              </p:cNvPr>
              <p:cNvSpPr/>
              <p:nvPr/>
            </p:nvSpPr>
            <p:spPr>
              <a:xfrm>
                <a:off x="8889951" y="1067445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47" name="Freihandform: Form 3646">
                <a:extLst>
                  <a:ext uri="{FF2B5EF4-FFF2-40B4-BE49-F238E27FC236}">
                    <a16:creationId xmlns:a16="http://schemas.microsoft.com/office/drawing/2014/main" id="{CFC25D53-7023-3642-01B1-400D5E8EA2D7}"/>
                  </a:ext>
                </a:extLst>
              </p:cNvPr>
              <p:cNvSpPr/>
              <p:nvPr/>
            </p:nvSpPr>
            <p:spPr>
              <a:xfrm>
                <a:off x="8899166" y="1077847"/>
                <a:ext cx="25042" cy="38459"/>
              </a:xfrm>
              <a:custGeom>
                <a:avLst/>
                <a:gdLst>
                  <a:gd name="connsiteX0" fmla="*/ 2412 w 25042"/>
                  <a:gd name="connsiteY0" fmla="*/ 37894 h 38459"/>
                  <a:gd name="connsiteX1" fmla="*/ 1903 w 25042"/>
                  <a:gd name="connsiteY1" fmla="*/ 33541 h 38459"/>
                  <a:gd name="connsiteX2" fmla="*/ 4560 w 25042"/>
                  <a:gd name="connsiteY2" fmla="*/ 33956 h 38459"/>
                  <a:gd name="connsiteX3" fmla="*/ 7029 w 25042"/>
                  <a:gd name="connsiteY3" fmla="*/ 33447 h 38459"/>
                  <a:gd name="connsiteX4" fmla="*/ 8555 w 25042"/>
                  <a:gd name="connsiteY4" fmla="*/ 31996 h 38459"/>
                  <a:gd name="connsiteX5" fmla="*/ 9968 w 25042"/>
                  <a:gd name="connsiteY5" fmla="*/ 28548 h 38459"/>
                  <a:gd name="connsiteX6" fmla="*/ 10383 w 25042"/>
                  <a:gd name="connsiteY6" fmla="*/ 27417 h 38459"/>
                  <a:gd name="connsiteX7" fmla="*/ 0 w 25042"/>
                  <a:gd name="connsiteY7" fmla="*/ 0 h 38459"/>
                  <a:gd name="connsiteX8" fmla="*/ 4994 w 25042"/>
                  <a:gd name="connsiteY8" fmla="*/ 0 h 38459"/>
                  <a:gd name="connsiteX9" fmla="*/ 10685 w 25042"/>
                  <a:gd name="connsiteY9" fmla="*/ 15847 h 38459"/>
                  <a:gd name="connsiteX10" fmla="*/ 12663 w 25042"/>
                  <a:gd name="connsiteY10" fmla="*/ 22179 h 38459"/>
                  <a:gd name="connsiteX11" fmla="*/ 14566 w 25042"/>
                  <a:gd name="connsiteY11" fmla="*/ 15941 h 38459"/>
                  <a:gd name="connsiteX12" fmla="*/ 20408 w 25042"/>
                  <a:gd name="connsiteY12" fmla="*/ 0 h 38459"/>
                  <a:gd name="connsiteX13" fmla="*/ 25043 w 25042"/>
                  <a:gd name="connsiteY13" fmla="*/ 0 h 38459"/>
                  <a:gd name="connsiteX14" fmla="*/ 14641 w 25042"/>
                  <a:gd name="connsiteY14" fmla="*/ 27832 h 38459"/>
                  <a:gd name="connsiteX15" fmla="*/ 12041 w 25042"/>
                  <a:gd name="connsiteY15" fmla="*/ 34031 h 38459"/>
                  <a:gd name="connsiteX16" fmla="*/ 9215 w 25042"/>
                  <a:gd name="connsiteY16" fmla="*/ 37385 h 38459"/>
                  <a:gd name="connsiteX17" fmla="*/ 5408 w 25042"/>
                  <a:gd name="connsiteY17" fmla="*/ 38459 h 38459"/>
                  <a:gd name="connsiteX18" fmla="*/ 2412 w 25042"/>
                  <a:gd name="connsiteY18" fmla="*/ 37894 h 38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042" h="38459">
                    <a:moveTo>
                      <a:pt x="2412" y="37894"/>
                    </a:moveTo>
                    <a:lnTo>
                      <a:pt x="1903" y="33541"/>
                    </a:lnTo>
                    <a:cubicBezTo>
                      <a:pt x="2921" y="33824"/>
                      <a:pt x="3806" y="33956"/>
                      <a:pt x="4560" y="33956"/>
                    </a:cubicBezTo>
                    <a:cubicBezTo>
                      <a:pt x="5596" y="33956"/>
                      <a:pt x="6407" y="33786"/>
                      <a:pt x="7029" y="33447"/>
                    </a:cubicBezTo>
                    <a:cubicBezTo>
                      <a:pt x="7651" y="33108"/>
                      <a:pt x="8159" y="32618"/>
                      <a:pt x="8555" y="31996"/>
                    </a:cubicBezTo>
                    <a:cubicBezTo>
                      <a:pt x="8838" y="31525"/>
                      <a:pt x="9309" y="30376"/>
                      <a:pt x="9968" y="28548"/>
                    </a:cubicBezTo>
                    <a:cubicBezTo>
                      <a:pt x="10044" y="28284"/>
                      <a:pt x="10195" y="27907"/>
                      <a:pt x="10383" y="27417"/>
                    </a:cubicBezTo>
                    <a:lnTo>
                      <a:pt x="0" y="0"/>
                    </a:lnTo>
                    <a:lnTo>
                      <a:pt x="4994" y="0"/>
                    </a:lnTo>
                    <a:lnTo>
                      <a:pt x="10685" y="15847"/>
                    </a:lnTo>
                    <a:cubicBezTo>
                      <a:pt x="11419" y="17863"/>
                      <a:pt x="12079" y="19974"/>
                      <a:pt x="12663" y="22179"/>
                    </a:cubicBezTo>
                    <a:cubicBezTo>
                      <a:pt x="13190" y="20049"/>
                      <a:pt x="13831" y="17977"/>
                      <a:pt x="14566" y="15941"/>
                    </a:cubicBezTo>
                    <a:lnTo>
                      <a:pt x="20408" y="0"/>
                    </a:lnTo>
                    <a:lnTo>
                      <a:pt x="25043" y="0"/>
                    </a:lnTo>
                    <a:lnTo>
                      <a:pt x="14641" y="27832"/>
                    </a:lnTo>
                    <a:cubicBezTo>
                      <a:pt x="13530" y="30828"/>
                      <a:pt x="12663" y="32901"/>
                      <a:pt x="12041" y="34031"/>
                    </a:cubicBezTo>
                    <a:cubicBezTo>
                      <a:pt x="11212" y="35557"/>
                      <a:pt x="10270" y="36688"/>
                      <a:pt x="9215" y="37385"/>
                    </a:cubicBezTo>
                    <a:cubicBezTo>
                      <a:pt x="8140" y="38101"/>
                      <a:pt x="6878" y="38459"/>
                      <a:pt x="5408" y="38459"/>
                    </a:cubicBezTo>
                    <a:cubicBezTo>
                      <a:pt x="4523" y="38459"/>
                      <a:pt x="3524" y="38271"/>
                      <a:pt x="2412" y="3789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48" name="Freihandform: Form 3647">
                <a:extLst>
                  <a:ext uri="{FF2B5EF4-FFF2-40B4-BE49-F238E27FC236}">
                    <a16:creationId xmlns:a16="http://schemas.microsoft.com/office/drawing/2014/main" id="{A6A35D9E-3555-4967-613D-506646A5B6DC}"/>
                  </a:ext>
                </a:extLst>
              </p:cNvPr>
              <p:cNvSpPr/>
              <p:nvPr/>
            </p:nvSpPr>
            <p:spPr>
              <a:xfrm>
                <a:off x="8926583" y="1077206"/>
                <a:ext cx="25174" cy="28623"/>
              </a:xfrm>
              <a:custGeom>
                <a:avLst/>
                <a:gdLst>
                  <a:gd name="connsiteX0" fmla="*/ 19428 w 25174"/>
                  <a:gd name="connsiteY0" fmla="*/ 24628 h 28623"/>
                  <a:gd name="connsiteX1" fmla="*/ 14472 w 25174"/>
                  <a:gd name="connsiteY1" fmla="*/ 27719 h 28623"/>
                  <a:gd name="connsiteX2" fmla="*/ 9365 w 25174"/>
                  <a:gd name="connsiteY2" fmla="*/ 28623 h 28623"/>
                  <a:gd name="connsiteX3" fmla="*/ 2431 w 25174"/>
                  <a:gd name="connsiteY3" fmla="*/ 26418 h 28623"/>
                  <a:gd name="connsiteX4" fmla="*/ 0 w 25174"/>
                  <a:gd name="connsiteY4" fmla="*/ 20784 h 28623"/>
                  <a:gd name="connsiteX5" fmla="*/ 904 w 25174"/>
                  <a:gd name="connsiteY5" fmla="*/ 17110 h 28623"/>
                  <a:gd name="connsiteX6" fmla="*/ 3298 w 25174"/>
                  <a:gd name="connsiteY6" fmla="*/ 14434 h 28623"/>
                  <a:gd name="connsiteX7" fmla="*/ 6633 w 25174"/>
                  <a:gd name="connsiteY7" fmla="*/ 12908 h 28623"/>
                  <a:gd name="connsiteX8" fmla="*/ 10759 w 25174"/>
                  <a:gd name="connsiteY8" fmla="*/ 12210 h 28623"/>
                  <a:gd name="connsiteX9" fmla="*/ 19032 w 25174"/>
                  <a:gd name="connsiteY9" fmla="*/ 10609 h 28623"/>
                  <a:gd name="connsiteX10" fmla="*/ 19051 w 25174"/>
                  <a:gd name="connsiteY10" fmla="*/ 9403 h 28623"/>
                  <a:gd name="connsiteX11" fmla="*/ 17731 w 25174"/>
                  <a:gd name="connsiteY11" fmla="*/ 5408 h 28623"/>
                  <a:gd name="connsiteX12" fmla="*/ 12456 w 25174"/>
                  <a:gd name="connsiteY12" fmla="*/ 3844 h 28623"/>
                  <a:gd name="connsiteX13" fmla="*/ 7632 w 25174"/>
                  <a:gd name="connsiteY13" fmla="*/ 4993 h 28623"/>
                  <a:gd name="connsiteX14" fmla="*/ 5333 w 25174"/>
                  <a:gd name="connsiteY14" fmla="*/ 9045 h 28623"/>
                  <a:gd name="connsiteX15" fmla="*/ 791 w 25174"/>
                  <a:gd name="connsiteY15" fmla="*/ 8423 h 28623"/>
                  <a:gd name="connsiteX16" fmla="*/ 2827 w 25174"/>
                  <a:gd name="connsiteY16" fmla="*/ 3712 h 28623"/>
                  <a:gd name="connsiteX17" fmla="*/ 6915 w 25174"/>
                  <a:gd name="connsiteY17" fmla="*/ 961 h 28623"/>
                  <a:gd name="connsiteX18" fmla="*/ 13115 w 25174"/>
                  <a:gd name="connsiteY18" fmla="*/ 0 h 28623"/>
                  <a:gd name="connsiteX19" fmla="*/ 18806 w 25174"/>
                  <a:gd name="connsiteY19" fmla="*/ 829 h 28623"/>
                  <a:gd name="connsiteX20" fmla="*/ 22028 w 25174"/>
                  <a:gd name="connsiteY20" fmla="*/ 2902 h 28623"/>
                  <a:gd name="connsiteX21" fmla="*/ 23479 w 25174"/>
                  <a:gd name="connsiteY21" fmla="*/ 6049 h 28623"/>
                  <a:gd name="connsiteX22" fmla="*/ 23705 w 25174"/>
                  <a:gd name="connsiteY22" fmla="*/ 10326 h 28623"/>
                  <a:gd name="connsiteX23" fmla="*/ 23705 w 25174"/>
                  <a:gd name="connsiteY23" fmla="*/ 16507 h 28623"/>
                  <a:gd name="connsiteX24" fmla="*/ 24006 w 25174"/>
                  <a:gd name="connsiteY24" fmla="*/ 24685 h 28623"/>
                  <a:gd name="connsiteX25" fmla="*/ 25175 w 25174"/>
                  <a:gd name="connsiteY25" fmla="*/ 27964 h 28623"/>
                  <a:gd name="connsiteX26" fmla="*/ 20332 w 25174"/>
                  <a:gd name="connsiteY26" fmla="*/ 27964 h 28623"/>
                  <a:gd name="connsiteX27" fmla="*/ 19409 w 25174"/>
                  <a:gd name="connsiteY27" fmla="*/ 24591 h 28623"/>
                  <a:gd name="connsiteX28" fmla="*/ 19032 w 25174"/>
                  <a:gd name="connsiteY28" fmla="*/ 14264 h 28623"/>
                  <a:gd name="connsiteX29" fmla="*/ 11457 w 25174"/>
                  <a:gd name="connsiteY29" fmla="*/ 16017 h 28623"/>
                  <a:gd name="connsiteX30" fmla="*/ 7405 w 25174"/>
                  <a:gd name="connsiteY30" fmla="*/ 16940 h 28623"/>
                  <a:gd name="connsiteX31" fmla="*/ 5578 w 25174"/>
                  <a:gd name="connsiteY31" fmla="*/ 18448 h 28623"/>
                  <a:gd name="connsiteX32" fmla="*/ 4937 w 25174"/>
                  <a:gd name="connsiteY32" fmla="*/ 20652 h 28623"/>
                  <a:gd name="connsiteX33" fmla="*/ 6332 w 25174"/>
                  <a:gd name="connsiteY33" fmla="*/ 23743 h 28623"/>
                  <a:gd name="connsiteX34" fmla="*/ 10439 w 25174"/>
                  <a:gd name="connsiteY34" fmla="*/ 24986 h 28623"/>
                  <a:gd name="connsiteX35" fmla="*/ 15207 w 25174"/>
                  <a:gd name="connsiteY35" fmla="*/ 23818 h 28623"/>
                  <a:gd name="connsiteX36" fmla="*/ 18278 w 25174"/>
                  <a:gd name="connsiteY36" fmla="*/ 20615 h 28623"/>
                  <a:gd name="connsiteX37" fmla="*/ 19032 w 25174"/>
                  <a:gd name="connsiteY37" fmla="*/ 15979 h 28623"/>
                  <a:gd name="connsiteX38" fmla="*/ 19032 w 25174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74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04" y="17110"/>
                    </a:cubicBezTo>
                    <a:cubicBezTo>
                      <a:pt x="1508" y="15998"/>
                      <a:pt x="2318" y="15112"/>
                      <a:pt x="3298" y="14434"/>
                    </a:cubicBezTo>
                    <a:cubicBezTo>
                      <a:pt x="4277" y="13756"/>
                      <a:pt x="5408" y="13266"/>
                      <a:pt x="6633" y="12908"/>
                    </a:cubicBezTo>
                    <a:cubicBezTo>
                      <a:pt x="7537" y="12663"/>
                      <a:pt x="8913" y="12437"/>
                      <a:pt x="10759" y="12210"/>
                    </a:cubicBezTo>
                    <a:cubicBezTo>
                      <a:pt x="14509" y="11758"/>
                      <a:pt x="17260" y="11231"/>
                      <a:pt x="19032" y="10609"/>
                    </a:cubicBezTo>
                    <a:cubicBezTo>
                      <a:pt x="19032" y="9968"/>
                      <a:pt x="19051" y="9572"/>
                      <a:pt x="19051" y="9403"/>
                    </a:cubicBezTo>
                    <a:cubicBezTo>
                      <a:pt x="19051" y="7518"/>
                      <a:pt x="18617" y="6181"/>
                      <a:pt x="17731" y="5408"/>
                    </a:cubicBezTo>
                    <a:cubicBezTo>
                      <a:pt x="16545" y="4353"/>
                      <a:pt x="14792" y="3844"/>
                      <a:pt x="12456" y="3844"/>
                    </a:cubicBezTo>
                    <a:cubicBezTo>
                      <a:pt x="10270" y="3844"/>
                      <a:pt x="8668" y="4221"/>
                      <a:pt x="7632" y="4993"/>
                    </a:cubicBezTo>
                    <a:cubicBezTo>
                      <a:pt x="6595" y="5766"/>
                      <a:pt x="5823" y="7104"/>
                      <a:pt x="5333" y="9045"/>
                    </a:cubicBezTo>
                    <a:lnTo>
                      <a:pt x="791" y="8423"/>
                    </a:lnTo>
                    <a:cubicBezTo>
                      <a:pt x="1206" y="6482"/>
                      <a:pt x="1884" y="4918"/>
                      <a:pt x="2827" y="3712"/>
                    </a:cubicBezTo>
                    <a:cubicBezTo>
                      <a:pt x="3769" y="2525"/>
                      <a:pt x="5125" y="1602"/>
                      <a:pt x="6915" y="961"/>
                    </a:cubicBezTo>
                    <a:cubicBezTo>
                      <a:pt x="8706" y="320"/>
                      <a:pt x="10759" y="0"/>
                      <a:pt x="13115" y="0"/>
                    </a:cubicBezTo>
                    <a:cubicBezTo>
                      <a:pt x="15470" y="0"/>
                      <a:pt x="17355" y="283"/>
                      <a:pt x="18806" y="829"/>
                    </a:cubicBezTo>
                    <a:cubicBezTo>
                      <a:pt x="20257" y="1376"/>
                      <a:pt x="21331" y="2073"/>
                      <a:pt x="22028" y="2902"/>
                    </a:cubicBezTo>
                    <a:cubicBezTo>
                      <a:pt x="22706" y="3731"/>
                      <a:pt x="23196" y="4786"/>
                      <a:pt x="23479" y="6049"/>
                    </a:cubicBezTo>
                    <a:cubicBezTo>
                      <a:pt x="23630" y="6840"/>
                      <a:pt x="23705" y="8272"/>
                      <a:pt x="23705" y="10326"/>
                    </a:cubicBezTo>
                    <a:lnTo>
                      <a:pt x="23705" y="16507"/>
                    </a:lnTo>
                    <a:cubicBezTo>
                      <a:pt x="23705" y="20822"/>
                      <a:pt x="23799" y="23535"/>
                      <a:pt x="24006" y="24685"/>
                    </a:cubicBezTo>
                    <a:cubicBezTo>
                      <a:pt x="24214" y="25834"/>
                      <a:pt x="24591" y="26927"/>
                      <a:pt x="25175" y="27964"/>
                    </a:cubicBezTo>
                    <a:lnTo>
                      <a:pt x="20332" y="27964"/>
                    </a:lnTo>
                    <a:cubicBezTo>
                      <a:pt x="19842" y="27003"/>
                      <a:pt x="19541" y="25872"/>
                      <a:pt x="19409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32" y="23743"/>
                    </a:cubicBezTo>
                    <a:cubicBezTo>
                      <a:pt x="7274" y="24572"/>
                      <a:pt x="8630" y="24986"/>
                      <a:pt x="10439" y="24986"/>
                    </a:cubicBezTo>
                    <a:cubicBezTo>
                      <a:pt x="12248" y="24986"/>
                      <a:pt x="13812" y="24591"/>
                      <a:pt x="15207" y="23818"/>
                    </a:cubicBezTo>
                    <a:cubicBezTo>
                      <a:pt x="16601" y="23045"/>
                      <a:pt x="17619" y="21971"/>
                      <a:pt x="18278" y="20615"/>
                    </a:cubicBezTo>
                    <a:cubicBezTo>
                      <a:pt x="18768" y="19559"/>
                      <a:pt x="19032" y="18014"/>
                      <a:pt x="19032" y="15979"/>
                    </a:cubicBezTo>
                    <a:lnTo>
                      <a:pt x="19032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69" name="Grafik 21">
              <a:extLst>
                <a:ext uri="{FF2B5EF4-FFF2-40B4-BE49-F238E27FC236}">
                  <a16:creationId xmlns:a16="http://schemas.microsoft.com/office/drawing/2014/main" id="{8FCCBACD-7AA1-B97D-18B6-C1E227342C27}"/>
                </a:ext>
              </a:extLst>
            </p:cNvPr>
            <p:cNvGrpSpPr/>
            <p:nvPr/>
          </p:nvGrpSpPr>
          <p:grpSpPr>
            <a:xfrm>
              <a:off x="8619021" y="1025990"/>
              <a:ext cx="85021" cy="38402"/>
              <a:chOff x="8619021" y="1025990"/>
              <a:chExt cx="85021" cy="38402"/>
            </a:xfrm>
            <a:solidFill>
              <a:srgbClr val="000000"/>
            </a:solidFill>
          </p:grpSpPr>
          <p:sp>
            <p:nvSpPr>
              <p:cNvPr id="3639" name="Freihandform: Form 3638">
                <a:extLst>
                  <a:ext uri="{FF2B5EF4-FFF2-40B4-BE49-F238E27FC236}">
                    <a16:creationId xmlns:a16="http://schemas.microsoft.com/office/drawing/2014/main" id="{35CDE01C-AFD7-1DB6-ED93-A2044F4C69F3}"/>
                  </a:ext>
                </a:extLst>
              </p:cNvPr>
              <p:cNvSpPr/>
              <p:nvPr/>
            </p:nvSpPr>
            <p:spPr>
              <a:xfrm>
                <a:off x="8619021" y="1025990"/>
                <a:ext cx="31223" cy="37780"/>
              </a:xfrm>
              <a:custGeom>
                <a:avLst/>
                <a:gdLst>
                  <a:gd name="connsiteX0" fmla="*/ 0 w 31223"/>
                  <a:gd name="connsiteY0" fmla="*/ 37762 h 37780"/>
                  <a:gd name="connsiteX1" fmla="*/ 0 w 31223"/>
                  <a:gd name="connsiteY1" fmla="*/ 0 h 37780"/>
                  <a:gd name="connsiteX2" fmla="*/ 4993 w 31223"/>
                  <a:gd name="connsiteY2" fmla="*/ 0 h 37780"/>
                  <a:gd name="connsiteX3" fmla="*/ 4993 w 31223"/>
                  <a:gd name="connsiteY3" fmla="*/ 18730 h 37780"/>
                  <a:gd name="connsiteX4" fmla="*/ 23743 w 31223"/>
                  <a:gd name="connsiteY4" fmla="*/ 0 h 37780"/>
                  <a:gd name="connsiteX5" fmla="*/ 30526 w 31223"/>
                  <a:gd name="connsiteY5" fmla="*/ 0 h 37780"/>
                  <a:gd name="connsiteX6" fmla="*/ 14679 w 31223"/>
                  <a:gd name="connsiteY6" fmla="*/ 15301 h 37780"/>
                  <a:gd name="connsiteX7" fmla="*/ 31224 w 31223"/>
                  <a:gd name="connsiteY7" fmla="*/ 37762 h 37780"/>
                  <a:gd name="connsiteX8" fmla="*/ 24628 w 31223"/>
                  <a:gd name="connsiteY8" fmla="*/ 37762 h 37780"/>
                  <a:gd name="connsiteX9" fmla="*/ 11174 w 31223"/>
                  <a:gd name="connsiteY9" fmla="*/ 18655 h 37780"/>
                  <a:gd name="connsiteX10" fmla="*/ 4993 w 31223"/>
                  <a:gd name="connsiteY10" fmla="*/ 24685 h 37780"/>
                  <a:gd name="connsiteX11" fmla="*/ 4993 w 31223"/>
                  <a:gd name="connsiteY11" fmla="*/ 37781 h 37780"/>
                  <a:gd name="connsiteX12" fmla="*/ 0 w 31223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223" h="37780">
                    <a:moveTo>
                      <a:pt x="0" y="37762"/>
                    </a:moveTo>
                    <a:lnTo>
                      <a:pt x="0" y="0"/>
                    </a:lnTo>
                    <a:lnTo>
                      <a:pt x="4993" y="0"/>
                    </a:lnTo>
                    <a:lnTo>
                      <a:pt x="4993" y="18730"/>
                    </a:lnTo>
                    <a:lnTo>
                      <a:pt x="23743" y="0"/>
                    </a:lnTo>
                    <a:lnTo>
                      <a:pt x="30526" y="0"/>
                    </a:lnTo>
                    <a:lnTo>
                      <a:pt x="14679" y="15301"/>
                    </a:lnTo>
                    <a:lnTo>
                      <a:pt x="31224" y="37762"/>
                    </a:lnTo>
                    <a:lnTo>
                      <a:pt x="24628" y="37762"/>
                    </a:lnTo>
                    <a:lnTo>
                      <a:pt x="11174" y="18655"/>
                    </a:lnTo>
                    <a:lnTo>
                      <a:pt x="4993" y="24685"/>
                    </a:lnTo>
                    <a:lnTo>
                      <a:pt x="4993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40" name="Freihandform: Form 3639">
                <a:extLst>
                  <a:ext uri="{FF2B5EF4-FFF2-40B4-BE49-F238E27FC236}">
                    <a16:creationId xmlns:a16="http://schemas.microsoft.com/office/drawing/2014/main" id="{2242E0C8-E728-ADBD-DCC7-1FAC0F19FB77}"/>
                  </a:ext>
                </a:extLst>
              </p:cNvPr>
              <p:cNvSpPr/>
              <p:nvPr/>
            </p:nvSpPr>
            <p:spPr>
              <a:xfrm>
                <a:off x="8652092" y="1035788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2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40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2" y="25797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2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912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41" name="Freihandform: Form 3640">
                <a:extLst>
                  <a:ext uri="{FF2B5EF4-FFF2-40B4-BE49-F238E27FC236}">
                    <a16:creationId xmlns:a16="http://schemas.microsoft.com/office/drawing/2014/main" id="{480F9C3F-CC41-E1C2-FCE7-D00C0902EDC4}"/>
                  </a:ext>
                </a:extLst>
              </p:cNvPr>
              <p:cNvSpPr/>
              <p:nvPr/>
            </p:nvSpPr>
            <p:spPr>
              <a:xfrm>
                <a:off x="8681318" y="1035807"/>
                <a:ext cx="22724" cy="28585"/>
              </a:xfrm>
              <a:custGeom>
                <a:avLst/>
                <a:gdLst>
                  <a:gd name="connsiteX0" fmla="*/ 0 w 22724"/>
                  <a:gd name="connsiteY0" fmla="*/ 19786 h 28585"/>
                  <a:gd name="connsiteX1" fmla="*/ 4579 w 22724"/>
                  <a:gd name="connsiteY1" fmla="*/ 19069 h 28585"/>
                  <a:gd name="connsiteX2" fmla="*/ 6727 w 22724"/>
                  <a:gd name="connsiteY2" fmla="*/ 23290 h 28585"/>
                  <a:gd name="connsiteX3" fmla="*/ 11664 w 22724"/>
                  <a:gd name="connsiteY3" fmla="*/ 24760 h 28585"/>
                  <a:gd name="connsiteX4" fmla="*/ 16413 w 22724"/>
                  <a:gd name="connsiteY4" fmla="*/ 23460 h 28585"/>
                  <a:gd name="connsiteX5" fmla="*/ 17958 w 22724"/>
                  <a:gd name="connsiteY5" fmla="*/ 20407 h 28585"/>
                  <a:gd name="connsiteX6" fmla="*/ 16601 w 22724"/>
                  <a:gd name="connsiteY6" fmla="*/ 17939 h 28585"/>
                  <a:gd name="connsiteX7" fmla="*/ 11853 w 22724"/>
                  <a:gd name="connsiteY7" fmla="*/ 16375 h 28585"/>
                  <a:gd name="connsiteX8" fmla="*/ 4786 w 22724"/>
                  <a:gd name="connsiteY8" fmla="*/ 14151 h 28585"/>
                  <a:gd name="connsiteX9" fmla="*/ 1790 w 22724"/>
                  <a:gd name="connsiteY9" fmla="*/ 11551 h 28585"/>
                  <a:gd name="connsiteX10" fmla="*/ 772 w 22724"/>
                  <a:gd name="connsiteY10" fmla="*/ 7877 h 28585"/>
                  <a:gd name="connsiteX11" fmla="*/ 1601 w 22724"/>
                  <a:gd name="connsiteY11" fmla="*/ 4485 h 28585"/>
                  <a:gd name="connsiteX12" fmla="*/ 3881 w 22724"/>
                  <a:gd name="connsiteY12" fmla="*/ 1903 h 28585"/>
                  <a:gd name="connsiteX13" fmla="*/ 6840 w 22724"/>
                  <a:gd name="connsiteY13" fmla="*/ 546 h 28585"/>
                  <a:gd name="connsiteX14" fmla="*/ 10854 w 22724"/>
                  <a:gd name="connsiteY14" fmla="*/ 0 h 28585"/>
                  <a:gd name="connsiteX15" fmla="*/ 16507 w 22724"/>
                  <a:gd name="connsiteY15" fmla="*/ 923 h 28585"/>
                  <a:gd name="connsiteX16" fmla="*/ 20106 w 22724"/>
                  <a:gd name="connsiteY16" fmla="*/ 3429 h 28585"/>
                  <a:gd name="connsiteX17" fmla="*/ 21708 w 22724"/>
                  <a:gd name="connsiteY17" fmla="*/ 7669 h 28585"/>
                  <a:gd name="connsiteX18" fmla="*/ 17166 w 22724"/>
                  <a:gd name="connsiteY18" fmla="*/ 8291 h 28585"/>
                  <a:gd name="connsiteX19" fmla="*/ 15376 w 22724"/>
                  <a:gd name="connsiteY19" fmla="*/ 4993 h 28585"/>
                  <a:gd name="connsiteX20" fmla="*/ 11193 w 22724"/>
                  <a:gd name="connsiteY20" fmla="*/ 3806 h 28585"/>
                  <a:gd name="connsiteX21" fmla="*/ 6633 w 22724"/>
                  <a:gd name="connsiteY21" fmla="*/ 4862 h 28585"/>
                  <a:gd name="connsiteX22" fmla="*/ 5276 w 22724"/>
                  <a:gd name="connsiteY22" fmla="*/ 7330 h 28585"/>
                  <a:gd name="connsiteX23" fmla="*/ 5841 w 22724"/>
                  <a:gd name="connsiteY23" fmla="*/ 8951 h 28585"/>
                  <a:gd name="connsiteX24" fmla="*/ 7613 w 22724"/>
                  <a:gd name="connsiteY24" fmla="*/ 10194 h 28585"/>
                  <a:gd name="connsiteX25" fmla="*/ 11702 w 22724"/>
                  <a:gd name="connsiteY25" fmla="*/ 11381 h 28585"/>
                  <a:gd name="connsiteX26" fmla="*/ 18560 w 22724"/>
                  <a:gd name="connsiteY26" fmla="*/ 13530 h 28585"/>
                  <a:gd name="connsiteX27" fmla="*/ 21613 w 22724"/>
                  <a:gd name="connsiteY27" fmla="*/ 15960 h 28585"/>
                  <a:gd name="connsiteX28" fmla="*/ 22725 w 22724"/>
                  <a:gd name="connsiteY28" fmla="*/ 19936 h 28585"/>
                  <a:gd name="connsiteX29" fmla="*/ 21368 w 22724"/>
                  <a:gd name="connsiteY29" fmla="*/ 24308 h 28585"/>
                  <a:gd name="connsiteX30" fmla="*/ 17468 w 22724"/>
                  <a:gd name="connsiteY30" fmla="*/ 27474 h 28585"/>
                  <a:gd name="connsiteX31" fmla="*/ 11702 w 22724"/>
                  <a:gd name="connsiteY31" fmla="*/ 28585 h 28585"/>
                  <a:gd name="connsiteX32" fmla="*/ 3580 w 22724"/>
                  <a:gd name="connsiteY32" fmla="*/ 26362 h 28585"/>
                  <a:gd name="connsiteX33" fmla="*/ 19 w 22724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4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2" y="20916"/>
                      <a:pt x="5559" y="22311"/>
                      <a:pt x="6727" y="23290"/>
                    </a:cubicBezTo>
                    <a:cubicBezTo>
                      <a:pt x="7895" y="24270"/>
                      <a:pt x="9553" y="24760"/>
                      <a:pt x="11664" y="24760"/>
                    </a:cubicBezTo>
                    <a:cubicBezTo>
                      <a:pt x="13774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7" y="16997"/>
                      <a:pt x="11853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8" y="12663"/>
                      <a:pt x="1790" y="11551"/>
                    </a:cubicBezTo>
                    <a:cubicBezTo>
                      <a:pt x="1111" y="10439"/>
                      <a:pt x="772" y="9214"/>
                      <a:pt x="772" y="7877"/>
                    </a:cubicBezTo>
                    <a:cubicBezTo>
                      <a:pt x="772" y="6652"/>
                      <a:pt x="1055" y="5521"/>
                      <a:pt x="1601" y="4485"/>
                    </a:cubicBezTo>
                    <a:cubicBezTo>
                      <a:pt x="2167" y="3448"/>
                      <a:pt x="2921" y="2582"/>
                      <a:pt x="3881" y="1903"/>
                    </a:cubicBezTo>
                    <a:cubicBezTo>
                      <a:pt x="4598" y="1376"/>
                      <a:pt x="5578" y="923"/>
                      <a:pt x="6840" y="546"/>
                    </a:cubicBezTo>
                    <a:cubicBezTo>
                      <a:pt x="8084" y="170"/>
                      <a:pt x="9422" y="0"/>
                      <a:pt x="10854" y="0"/>
                    </a:cubicBezTo>
                    <a:cubicBezTo>
                      <a:pt x="13002" y="0"/>
                      <a:pt x="14886" y="301"/>
                      <a:pt x="16507" y="923"/>
                    </a:cubicBezTo>
                    <a:cubicBezTo>
                      <a:pt x="18127" y="1545"/>
                      <a:pt x="19333" y="2374"/>
                      <a:pt x="20106" y="3429"/>
                    </a:cubicBezTo>
                    <a:cubicBezTo>
                      <a:pt x="20878" y="4485"/>
                      <a:pt x="21406" y="5898"/>
                      <a:pt x="21708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3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3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4" y="8480"/>
                      <a:pt x="5841" y="8951"/>
                    </a:cubicBezTo>
                    <a:cubicBezTo>
                      <a:pt x="6218" y="9440"/>
                      <a:pt x="6802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0" y="12248"/>
                      <a:pt x="17279" y="12983"/>
                      <a:pt x="18560" y="13530"/>
                    </a:cubicBezTo>
                    <a:cubicBezTo>
                      <a:pt x="19861" y="14095"/>
                      <a:pt x="20878" y="14905"/>
                      <a:pt x="21613" y="15960"/>
                    </a:cubicBezTo>
                    <a:cubicBezTo>
                      <a:pt x="22348" y="17016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3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27" y="27851"/>
                      <a:pt x="3580" y="26362"/>
                    </a:cubicBezTo>
                    <a:cubicBezTo>
                      <a:pt x="1715" y="24892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70" name="Grafik 21">
              <a:extLst>
                <a:ext uri="{FF2B5EF4-FFF2-40B4-BE49-F238E27FC236}">
                  <a16:creationId xmlns:a16="http://schemas.microsoft.com/office/drawing/2014/main" id="{4A287DC8-857C-0A00-A625-A216EA5D2A76}"/>
                </a:ext>
              </a:extLst>
            </p:cNvPr>
            <p:cNvGrpSpPr/>
            <p:nvPr/>
          </p:nvGrpSpPr>
          <p:grpSpPr>
            <a:xfrm>
              <a:off x="8535263" y="966897"/>
              <a:ext cx="159810" cy="39081"/>
              <a:chOff x="8535263" y="966897"/>
              <a:chExt cx="159810" cy="39081"/>
            </a:xfrm>
            <a:solidFill>
              <a:srgbClr val="000000"/>
            </a:solidFill>
          </p:grpSpPr>
          <p:sp>
            <p:nvSpPr>
              <p:cNvPr id="3634" name="Freihandform: Form 3633">
                <a:extLst>
                  <a:ext uri="{FF2B5EF4-FFF2-40B4-BE49-F238E27FC236}">
                    <a16:creationId xmlns:a16="http://schemas.microsoft.com/office/drawing/2014/main" id="{57A67649-0E00-E269-F320-13B518D6BA1E}"/>
                  </a:ext>
                </a:extLst>
              </p:cNvPr>
              <p:cNvSpPr/>
              <p:nvPr/>
            </p:nvSpPr>
            <p:spPr>
              <a:xfrm>
                <a:off x="8535263" y="966897"/>
                <a:ext cx="30092" cy="39062"/>
              </a:xfrm>
              <a:custGeom>
                <a:avLst/>
                <a:gdLst>
                  <a:gd name="connsiteX0" fmla="*/ 0 w 30092"/>
                  <a:gd name="connsiteY0" fmla="*/ 26305 h 39062"/>
                  <a:gd name="connsiteX1" fmla="*/ 4711 w 30092"/>
                  <a:gd name="connsiteY1" fmla="*/ 25891 h 39062"/>
                  <a:gd name="connsiteX2" fmla="*/ 6275 w 30092"/>
                  <a:gd name="connsiteY2" fmla="*/ 30545 h 39062"/>
                  <a:gd name="connsiteX3" fmla="*/ 10081 w 30092"/>
                  <a:gd name="connsiteY3" fmla="*/ 33485 h 39062"/>
                  <a:gd name="connsiteX4" fmla="*/ 15885 w 30092"/>
                  <a:gd name="connsiteY4" fmla="*/ 34596 h 39062"/>
                  <a:gd name="connsiteX5" fmla="*/ 20935 w 30092"/>
                  <a:gd name="connsiteY5" fmla="*/ 33748 h 39062"/>
                  <a:gd name="connsiteX6" fmla="*/ 24195 w 30092"/>
                  <a:gd name="connsiteY6" fmla="*/ 31412 h 39062"/>
                  <a:gd name="connsiteX7" fmla="*/ 25269 w 30092"/>
                  <a:gd name="connsiteY7" fmla="*/ 28171 h 39062"/>
                  <a:gd name="connsiteX8" fmla="*/ 24232 w 30092"/>
                  <a:gd name="connsiteY8" fmla="*/ 25062 h 39062"/>
                  <a:gd name="connsiteX9" fmla="*/ 20841 w 30092"/>
                  <a:gd name="connsiteY9" fmla="*/ 22838 h 39062"/>
                  <a:gd name="connsiteX10" fmla="*/ 14114 w 30092"/>
                  <a:gd name="connsiteY10" fmla="*/ 20991 h 39062"/>
                  <a:gd name="connsiteX11" fmla="*/ 6821 w 30092"/>
                  <a:gd name="connsiteY11" fmla="*/ 18636 h 39062"/>
                  <a:gd name="connsiteX12" fmla="*/ 2789 w 30092"/>
                  <a:gd name="connsiteY12" fmla="*/ 15112 h 39062"/>
                  <a:gd name="connsiteX13" fmla="*/ 1470 w 30092"/>
                  <a:gd name="connsiteY13" fmla="*/ 10402 h 39062"/>
                  <a:gd name="connsiteX14" fmla="*/ 3090 w 30092"/>
                  <a:gd name="connsiteY14" fmla="*/ 5050 h 39062"/>
                  <a:gd name="connsiteX15" fmla="*/ 7839 w 30092"/>
                  <a:gd name="connsiteY15" fmla="*/ 1281 h 39062"/>
                  <a:gd name="connsiteX16" fmla="*/ 14773 w 30092"/>
                  <a:gd name="connsiteY16" fmla="*/ 0 h 39062"/>
                  <a:gd name="connsiteX17" fmla="*/ 22179 w 30092"/>
                  <a:gd name="connsiteY17" fmla="*/ 1357 h 39062"/>
                  <a:gd name="connsiteX18" fmla="*/ 27115 w 30092"/>
                  <a:gd name="connsiteY18" fmla="*/ 5333 h 39062"/>
                  <a:gd name="connsiteX19" fmla="*/ 28962 w 30092"/>
                  <a:gd name="connsiteY19" fmla="*/ 11287 h 39062"/>
                  <a:gd name="connsiteX20" fmla="*/ 24176 w 30092"/>
                  <a:gd name="connsiteY20" fmla="*/ 11645 h 39062"/>
                  <a:gd name="connsiteX21" fmla="*/ 21557 w 30092"/>
                  <a:gd name="connsiteY21" fmla="*/ 6237 h 39062"/>
                  <a:gd name="connsiteX22" fmla="*/ 14980 w 30092"/>
                  <a:gd name="connsiteY22" fmla="*/ 4409 h 39062"/>
                  <a:gd name="connsiteX23" fmla="*/ 8366 w 30092"/>
                  <a:gd name="connsiteY23" fmla="*/ 6068 h 39062"/>
                  <a:gd name="connsiteX24" fmla="*/ 6293 w 30092"/>
                  <a:gd name="connsiteY24" fmla="*/ 10081 h 39062"/>
                  <a:gd name="connsiteX25" fmla="*/ 7763 w 30092"/>
                  <a:gd name="connsiteY25" fmla="*/ 13435 h 39062"/>
                  <a:gd name="connsiteX26" fmla="*/ 15301 w 30092"/>
                  <a:gd name="connsiteY26" fmla="*/ 16130 h 39062"/>
                  <a:gd name="connsiteX27" fmla="*/ 23667 w 30092"/>
                  <a:gd name="connsiteY27" fmla="*/ 18542 h 39062"/>
                  <a:gd name="connsiteX28" fmla="*/ 28529 w 30092"/>
                  <a:gd name="connsiteY28" fmla="*/ 22386 h 39062"/>
                  <a:gd name="connsiteX29" fmla="*/ 30093 w 30092"/>
                  <a:gd name="connsiteY29" fmla="*/ 27756 h 39062"/>
                  <a:gd name="connsiteX30" fmla="*/ 28359 w 30092"/>
                  <a:gd name="connsiteY30" fmla="*/ 33428 h 39062"/>
                  <a:gd name="connsiteX31" fmla="*/ 23403 w 30092"/>
                  <a:gd name="connsiteY31" fmla="*/ 37574 h 39062"/>
                  <a:gd name="connsiteX32" fmla="*/ 16130 w 30092"/>
                  <a:gd name="connsiteY32" fmla="*/ 39062 h 39062"/>
                  <a:gd name="connsiteX33" fmla="*/ 7537 w 30092"/>
                  <a:gd name="connsiteY33" fmla="*/ 37574 h 39062"/>
                  <a:gd name="connsiteX34" fmla="*/ 2110 w 30092"/>
                  <a:gd name="connsiteY34" fmla="*/ 33070 h 39062"/>
                  <a:gd name="connsiteX35" fmla="*/ 38 w 30092"/>
                  <a:gd name="connsiteY35" fmla="*/ 26286 h 39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0092" h="39062">
                    <a:moveTo>
                      <a:pt x="0" y="26305"/>
                    </a:moveTo>
                    <a:lnTo>
                      <a:pt x="4711" y="25891"/>
                    </a:lnTo>
                    <a:cubicBezTo>
                      <a:pt x="4937" y="27775"/>
                      <a:pt x="5446" y="29339"/>
                      <a:pt x="6275" y="30545"/>
                    </a:cubicBezTo>
                    <a:cubicBezTo>
                      <a:pt x="7104" y="31751"/>
                      <a:pt x="8366" y="32731"/>
                      <a:pt x="10081" y="33485"/>
                    </a:cubicBezTo>
                    <a:cubicBezTo>
                      <a:pt x="11796" y="34238"/>
                      <a:pt x="13737" y="34596"/>
                      <a:pt x="15885" y="34596"/>
                    </a:cubicBezTo>
                    <a:cubicBezTo>
                      <a:pt x="17788" y="34596"/>
                      <a:pt x="19484" y="34314"/>
                      <a:pt x="20935" y="33748"/>
                    </a:cubicBezTo>
                    <a:cubicBezTo>
                      <a:pt x="22386" y="33183"/>
                      <a:pt x="23479" y="32411"/>
                      <a:pt x="24195" y="31412"/>
                    </a:cubicBezTo>
                    <a:cubicBezTo>
                      <a:pt x="24911" y="30413"/>
                      <a:pt x="25269" y="29339"/>
                      <a:pt x="25269" y="28171"/>
                    </a:cubicBezTo>
                    <a:cubicBezTo>
                      <a:pt x="25269" y="27003"/>
                      <a:pt x="24930" y="25947"/>
                      <a:pt x="24232" y="25062"/>
                    </a:cubicBezTo>
                    <a:cubicBezTo>
                      <a:pt x="23535" y="24176"/>
                      <a:pt x="22405" y="23441"/>
                      <a:pt x="20841" y="22838"/>
                    </a:cubicBezTo>
                    <a:cubicBezTo>
                      <a:pt x="19823" y="22442"/>
                      <a:pt x="17581" y="21821"/>
                      <a:pt x="14114" y="20991"/>
                    </a:cubicBezTo>
                    <a:cubicBezTo>
                      <a:pt x="10646" y="20162"/>
                      <a:pt x="8215" y="19371"/>
                      <a:pt x="6821" y="18636"/>
                    </a:cubicBezTo>
                    <a:cubicBezTo>
                      <a:pt x="5012" y="17694"/>
                      <a:pt x="3674" y="16526"/>
                      <a:pt x="2789" y="15112"/>
                    </a:cubicBezTo>
                    <a:cubicBezTo>
                      <a:pt x="1903" y="13699"/>
                      <a:pt x="1470" y="12154"/>
                      <a:pt x="1470" y="10402"/>
                    </a:cubicBezTo>
                    <a:cubicBezTo>
                      <a:pt x="1470" y="8498"/>
                      <a:pt x="2016" y="6708"/>
                      <a:pt x="3090" y="5050"/>
                    </a:cubicBezTo>
                    <a:cubicBezTo>
                      <a:pt x="4164" y="3392"/>
                      <a:pt x="5747" y="2129"/>
                      <a:pt x="7839" y="1281"/>
                    </a:cubicBezTo>
                    <a:cubicBezTo>
                      <a:pt x="9930" y="433"/>
                      <a:pt x="12229" y="0"/>
                      <a:pt x="14773" y="0"/>
                    </a:cubicBezTo>
                    <a:cubicBezTo>
                      <a:pt x="17581" y="0"/>
                      <a:pt x="20049" y="452"/>
                      <a:pt x="22179" y="1357"/>
                    </a:cubicBezTo>
                    <a:cubicBezTo>
                      <a:pt x="24308" y="2261"/>
                      <a:pt x="25966" y="3580"/>
                      <a:pt x="27115" y="5333"/>
                    </a:cubicBezTo>
                    <a:cubicBezTo>
                      <a:pt x="28265" y="7085"/>
                      <a:pt x="28887" y="9064"/>
                      <a:pt x="28962" y="11287"/>
                    </a:cubicBezTo>
                    <a:lnTo>
                      <a:pt x="24176" y="11645"/>
                    </a:lnTo>
                    <a:cubicBezTo>
                      <a:pt x="23912" y="9252"/>
                      <a:pt x="23045" y="7462"/>
                      <a:pt x="21557" y="6237"/>
                    </a:cubicBezTo>
                    <a:cubicBezTo>
                      <a:pt x="20068" y="5012"/>
                      <a:pt x="17882" y="4409"/>
                      <a:pt x="14980" y="4409"/>
                    </a:cubicBezTo>
                    <a:cubicBezTo>
                      <a:pt x="12078" y="4409"/>
                      <a:pt x="9761" y="4956"/>
                      <a:pt x="8366" y="6068"/>
                    </a:cubicBezTo>
                    <a:cubicBezTo>
                      <a:pt x="6972" y="7179"/>
                      <a:pt x="6293" y="8517"/>
                      <a:pt x="6293" y="10081"/>
                    </a:cubicBezTo>
                    <a:cubicBezTo>
                      <a:pt x="6293" y="11438"/>
                      <a:pt x="6783" y="12550"/>
                      <a:pt x="7763" y="13435"/>
                    </a:cubicBezTo>
                    <a:cubicBezTo>
                      <a:pt x="8724" y="14302"/>
                      <a:pt x="11231" y="15207"/>
                      <a:pt x="15301" y="16130"/>
                    </a:cubicBezTo>
                    <a:cubicBezTo>
                      <a:pt x="19371" y="17053"/>
                      <a:pt x="22141" y="17845"/>
                      <a:pt x="23667" y="18542"/>
                    </a:cubicBezTo>
                    <a:cubicBezTo>
                      <a:pt x="25872" y="19559"/>
                      <a:pt x="27492" y="20841"/>
                      <a:pt x="28529" y="22386"/>
                    </a:cubicBezTo>
                    <a:cubicBezTo>
                      <a:pt x="29565" y="23931"/>
                      <a:pt x="30093" y="25740"/>
                      <a:pt x="30093" y="27756"/>
                    </a:cubicBezTo>
                    <a:cubicBezTo>
                      <a:pt x="30093" y="29773"/>
                      <a:pt x="29509" y="31657"/>
                      <a:pt x="28359" y="33428"/>
                    </a:cubicBezTo>
                    <a:cubicBezTo>
                      <a:pt x="27210" y="35199"/>
                      <a:pt x="25552" y="36594"/>
                      <a:pt x="23403" y="37574"/>
                    </a:cubicBezTo>
                    <a:cubicBezTo>
                      <a:pt x="21255" y="38554"/>
                      <a:pt x="18825" y="39062"/>
                      <a:pt x="16130" y="39062"/>
                    </a:cubicBezTo>
                    <a:cubicBezTo>
                      <a:pt x="12719" y="39062"/>
                      <a:pt x="9855" y="38572"/>
                      <a:pt x="7537" y="37574"/>
                    </a:cubicBezTo>
                    <a:cubicBezTo>
                      <a:pt x="5220" y="36575"/>
                      <a:pt x="3411" y="35086"/>
                      <a:pt x="2110" y="33070"/>
                    </a:cubicBezTo>
                    <a:cubicBezTo>
                      <a:pt x="810" y="31054"/>
                      <a:pt x="113" y="28812"/>
                      <a:pt x="38" y="262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35" name="Freihandform: Form 3634">
                <a:extLst>
                  <a:ext uri="{FF2B5EF4-FFF2-40B4-BE49-F238E27FC236}">
                    <a16:creationId xmlns:a16="http://schemas.microsoft.com/office/drawing/2014/main" id="{6361FEF8-68B8-A625-1467-3176C2DF38F2}"/>
                  </a:ext>
                </a:extLst>
              </p:cNvPr>
              <p:cNvSpPr/>
              <p:nvPr/>
            </p:nvSpPr>
            <p:spPr>
              <a:xfrm>
                <a:off x="8569991" y="977336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0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80" y="27003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36" name="Freihandform: Form 3635">
                <a:extLst>
                  <a:ext uri="{FF2B5EF4-FFF2-40B4-BE49-F238E27FC236}">
                    <a16:creationId xmlns:a16="http://schemas.microsoft.com/office/drawing/2014/main" id="{EB787720-3BE8-FA4D-113B-4BEFBEC92E58}"/>
                  </a:ext>
                </a:extLst>
              </p:cNvPr>
              <p:cNvSpPr/>
              <p:nvPr/>
            </p:nvSpPr>
            <p:spPr>
              <a:xfrm>
                <a:off x="8600875" y="977355"/>
                <a:ext cx="37084" cy="27982"/>
              </a:xfrm>
              <a:custGeom>
                <a:avLst/>
                <a:gdLst>
                  <a:gd name="connsiteX0" fmla="*/ 19 w 37084"/>
                  <a:gd name="connsiteY0" fmla="*/ 27982 h 27982"/>
                  <a:gd name="connsiteX1" fmla="*/ 19 w 37084"/>
                  <a:gd name="connsiteY1" fmla="*/ 622 h 27982"/>
                  <a:gd name="connsiteX2" fmla="*/ 4165 w 37084"/>
                  <a:gd name="connsiteY2" fmla="*/ 622 h 27982"/>
                  <a:gd name="connsiteX3" fmla="*/ 4165 w 37084"/>
                  <a:gd name="connsiteY3" fmla="*/ 4466 h 27982"/>
                  <a:gd name="connsiteX4" fmla="*/ 7594 w 37084"/>
                  <a:gd name="connsiteY4" fmla="*/ 1225 h 27982"/>
                  <a:gd name="connsiteX5" fmla="*/ 12456 w 37084"/>
                  <a:gd name="connsiteY5" fmla="*/ 0 h 27982"/>
                  <a:gd name="connsiteX6" fmla="*/ 17449 w 37084"/>
                  <a:gd name="connsiteY6" fmla="*/ 1263 h 27982"/>
                  <a:gd name="connsiteX7" fmla="*/ 20201 w 37084"/>
                  <a:gd name="connsiteY7" fmla="*/ 4786 h 27982"/>
                  <a:gd name="connsiteX8" fmla="*/ 28642 w 37084"/>
                  <a:gd name="connsiteY8" fmla="*/ 0 h 27982"/>
                  <a:gd name="connsiteX9" fmla="*/ 34898 w 37084"/>
                  <a:gd name="connsiteY9" fmla="*/ 2261 h 27982"/>
                  <a:gd name="connsiteX10" fmla="*/ 37084 w 37084"/>
                  <a:gd name="connsiteY10" fmla="*/ 9196 h 27982"/>
                  <a:gd name="connsiteX11" fmla="*/ 37084 w 37084"/>
                  <a:gd name="connsiteY11" fmla="*/ 27982 h 27982"/>
                  <a:gd name="connsiteX12" fmla="*/ 32468 w 37084"/>
                  <a:gd name="connsiteY12" fmla="*/ 27982 h 27982"/>
                  <a:gd name="connsiteX13" fmla="*/ 32468 w 37084"/>
                  <a:gd name="connsiteY13" fmla="*/ 10741 h 27982"/>
                  <a:gd name="connsiteX14" fmla="*/ 32015 w 37084"/>
                  <a:gd name="connsiteY14" fmla="*/ 6727 h 27982"/>
                  <a:gd name="connsiteX15" fmla="*/ 30376 w 37084"/>
                  <a:gd name="connsiteY15" fmla="*/ 4749 h 27982"/>
                  <a:gd name="connsiteX16" fmla="*/ 27587 w 37084"/>
                  <a:gd name="connsiteY16" fmla="*/ 3995 h 27982"/>
                  <a:gd name="connsiteX17" fmla="*/ 22801 w 37084"/>
                  <a:gd name="connsiteY17" fmla="*/ 5917 h 27982"/>
                  <a:gd name="connsiteX18" fmla="*/ 20897 w 37084"/>
                  <a:gd name="connsiteY18" fmla="*/ 12060 h 27982"/>
                  <a:gd name="connsiteX19" fmla="*/ 20897 w 37084"/>
                  <a:gd name="connsiteY19" fmla="*/ 27964 h 27982"/>
                  <a:gd name="connsiteX20" fmla="*/ 16262 w 37084"/>
                  <a:gd name="connsiteY20" fmla="*/ 27964 h 27982"/>
                  <a:gd name="connsiteX21" fmla="*/ 16262 w 37084"/>
                  <a:gd name="connsiteY21" fmla="*/ 10194 h 27982"/>
                  <a:gd name="connsiteX22" fmla="*/ 15131 w 37084"/>
                  <a:gd name="connsiteY22" fmla="*/ 5559 h 27982"/>
                  <a:gd name="connsiteX23" fmla="*/ 11419 w 37084"/>
                  <a:gd name="connsiteY23" fmla="*/ 4014 h 27982"/>
                  <a:gd name="connsiteX24" fmla="*/ 7801 w 37084"/>
                  <a:gd name="connsiteY24" fmla="*/ 5050 h 27982"/>
                  <a:gd name="connsiteX25" fmla="*/ 5389 w 37084"/>
                  <a:gd name="connsiteY25" fmla="*/ 8065 h 27982"/>
                  <a:gd name="connsiteX26" fmla="*/ 4636 w 37084"/>
                  <a:gd name="connsiteY26" fmla="*/ 13793 h 27982"/>
                  <a:gd name="connsiteX27" fmla="*/ 4636 w 37084"/>
                  <a:gd name="connsiteY27" fmla="*/ 27982 h 27982"/>
                  <a:gd name="connsiteX28" fmla="*/ 0 w 37084"/>
                  <a:gd name="connsiteY28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7084" h="27982">
                    <a:moveTo>
                      <a:pt x="19" y="27982"/>
                    </a:moveTo>
                    <a:lnTo>
                      <a:pt x="19" y="622"/>
                    </a:lnTo>
                    <a:lnTo>
                      <a:pt x="4165" y="622"/>
                    </a:lnTo>
                    <a:lnTo>
                      <a:pt x="4165" y="4466"/>
                    </a:lnTo>
                    <a:cubicBezTo>
                      <a:pt x="5031" y="3128"/>
                      <a:pt x="6162" y="2054"/>
                      <a:pt x="7594" y="1225"/>
                    </a:cubicBezTo>
                    <a:cubicBezTo>
                      <a:pt x="9026" y="396"/>
                      <a:pt x="10647" y="0"/>
                      <a:pt x="12456" y="0"/>
                    </a:cubicBezTo>
                    <a:cubicBezTo>
                      <a:pt x="14491" y="0"/>
                      <a:pt x="16149" y="415"/>
                      <a:pt x="17449" y="1263"/>
                    </a:cubicBezTo>
                    <a:cubicBezTo>
                      <a:pt x="18750" y="2110"/>
                      <a:pt x="19654" y="3279"/>
                      <a:pt x="20201" y="4786"/>
                    </a:cubicBezTo>
                    <a:cubicBezTo>
                      <a:pt x="22367" y="1583"/>
                      <a:pt x="25175" y="0"/>
                      <a:pt x="28642" y="0"/>
                    </a:cubicBezTo>
                    <a:cubicBezTo>
                      <a:pt x="31356" y="0"/>
                      <a:pt x="33447" y="754"/>
                      <a:pt x="34898" y="2261"/>
                    </a:cubicBezTo>
                    <a:cubicBezTo>
                      <a:pt x="36349" y="3769"/>
                      <a:pt x="37084" y="6086"/>
                      <a:pt x="37084" y="9196"/>
                    </a:cubicBezTo>
                    <a:lnTo>
                      <a:pt x="37084" y="27982"/>
                    </a:lnTo>
                    <a:lnTo>
                      <a:pt x="32468" y="27982"/>
                    </a:lnTo>
                    <a:lnTo>
                      <a:pt x="32468" y="10741"/>
                    </a:lnTo>
                    <a:cubicBezTo>
                      <a:pt x="32468" y="8894"/>
                      <a:pt x="32317" y="7556"/>
                      <a:pt x="32015" y="6727"/>
                    </a:cubicBezTo>
                    <a:cubicBezTo>
                      <a:pt x="31714" y="5898"/>
                      <a:pt x="31167" y="5257"/>
                      <a:pt x="30376" y="4749"/>
                    </a:cubicBezTo>
                    <a:cubicBezTo>
                      <a:pt x="29584" y="4240"/>
                      <a:pt x="28661" y="3995"/>
                      <a:pt x="27587" y="3995"/>
                    </a:cubicBezTo>
                    <a:cubicBezTo>
                      <a:pt x="25665" y="3995"/>
                      <a:pt x="24063" y="4635"/>
                      <a:pt x="22801" y="5917"/>
                    </a:cubicBezTo>
                    <a:cubicBezTo>
                      <a:pt x="21538" y="7198"/>
                      <a:pt x="20897" y="9252"/>
                      <a:pt x="20897" y="12060"/>
                    </a:cubicBezTo>
                    <a:lnTo>
                      <a:pt x="20897" y="27964"/>
                    </a:lnTo>
                    <a:lnTo>
                      <a:pt x="16262" y="27964"/>
                    </a:lnTo>
                    <a:lnTo>
                      <a:pt x="16262" y="10194"/>
                    </a:lnTo>
                    <a:cubicBezTo>
                      <a:pt x="16262" y="8140"/>
                      <a:pt x="15885" y="6595"/>
                      <a:pt x="15131" y="5559"/>
                    </a:cubicBezTo>
                    <a:cubicBezTo>
                      <a:pt x="14378" y="4522"/>
                      <a:pt x="13134" y="4014"/>
                      <a:pt x="11419" y="4014"/>
                    </a:cubicBezTo>
                    <a:cubicBezTo>
                      <a:pt x="10119" y="4014"/>
                      <a:pt x="8913" y="4353"/>
                      <a:pt x="7801" y="5050"/>
                    </a:cubicBezTo>
                    <a:cubicBezTo>
                      <a:pt x="6689" y="5747"/>
                      <a:pt x="5898" y="6746"/>
                      <a:pt x="5389" y="8065"/>
                    </a:cubicBezTo>
                    <a:cubicBezTo>
                      <a:pt x="4881" y="9384"/>
                      <a:pt x="4636" y="11287"/>
                      <a:pt x="4636" y="13793"/>
                    </a:cubicBezTo>
                    <a:lnTo>
                      <a:pt x="4636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37" name="Freihandform: Form 3636">
                <a:extLst>
                  <a:ext uri="{FF2B5EF4-FFF2-40B4-BE49-F238E27FC236}">
                    <a16:creationId xmlns:a16="http://schemas.microsoft.com/office/drawing/2014/main" id="{C4624856-5907-4318-370F-D9737B322754}"/>
                  </a:ext>
                </a:extLst>
              </p:cNvPr>
              <p:cNvSpPr/>
              <p:nvPr/>
            </p:nvSpPr>
            <p:spPr>
              <a:xfrm>
                <a:off x="8643103" y="977374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2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40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2" y="25797"/>
                      <a:pt x="19446" y="26927"/>
                    </a:cubicBezTo>
                    <a:cubicBezTo>
                      <a:pt x="17430" y="28058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2" y="24911"/>
                    </a:cubicBezTo>
                    <a:cubicBezTo>
                      <a:pt x="1187" y="22442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912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72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38" name="Freihandform: Form 3637">
                <a:extLst>
                  <a:ext uri="{FF2B5EF4-FFF2-40B4-BE49-F238E27FC236}">
                    <a16:creationId xmlns:a16="http://schemas.microsoft.com/office/drawing/2014/main" id="{D93BEA58-78CF-8E00-076E-A64554BA044F}"/>
                  </a:ext>
                </a:extLst>
              </p:cNvPr>
              <p:cNvSpPr/>
              <p:nvPr/>
            </p:nvSpPr>
            <p:spPr>
              <a:xfrm>
                <a:off x="8672348" y="977393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3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2 w 22725"/>
                  <a:gd name="connsiteY10" fmla="*/ 7877 h 28585"/>
                  <a:gd name="connsiteX11" fmla="*/ 1601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6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29 h 28585"/>
                  <a:gd name="connsiteX17" fmla="*/ 21708 w 22725"/>
                  <a:gd name="connsiteY17" fmla="*/ 7669 h 28585"/>
                  <a:gd name="connsiteX18" fmla="*/ 17166 w 22725"/>
                  <a:gd name="connsiteY18" fmla="*/ 8291 h 28585"/>
                  <a:gd name="connsiteX19" fmla="*/ 15376 w 22725"/>
                  <a:gd name="connsiteY19" fmla="*/ 4993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1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0 w 22725"/>
                  <a:gd name="connsiteY26" fmla="*/ 13530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8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0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2" y="20916"/>
                      <a:pt x="5559" y="22311"/>
                      <a:pt x="6727" y="23290"/>
                    </a:cubicBezTo>
                    <a:cubicBezTo>
                      <a:pt x="7895" y="24270"/>
                      <a:pt x="9553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7" y="16997"/>
                      <a:pt x="11853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9" y="12663"/>
                      <a:pt x="1790" y="11551"/>
                    </a:cubicBezTo>
                    <a:cubicBezTo>
                      <a:pt x="1111" y="10439"/>
                      <a:pt x="772" y="9214"/>
                      <a:pt x="772" y="7877"/>
                    </a:cubicBezTo>
                    <a:cubicBezTo>
                      <a:pt x="772" y="6652"/>
                      <a:pt x="1055" y="5521"/>
                      <a:pt x="1601" y="4485"/>
                    </a:cubicBezTo>
                    <a:cubicBezTo>
                      <a:pt x="2148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6"/>
                    </a:cubicBezTo>
                    <a:cubicBezTo>
                      <a:pt x="8103" y="170"/>
                      <a:pt x="9422" y="0"/>
                      <a:pt x="10854" y="0"/>
                    </a:cubicBezTo>
                    <a:cubicBezTo>
                      <a:pt x="13002" y="0"/>
                      <a:pt x="14886" y="301"/>
                      <a:pt x="16507" y="923"/>
                    </a:cubicBezTo>
                    <a:cubicBezTo>
                      <a:pt x="18127" y="1545"/>
                      <a:pt x="19333" y="2374"/>
                      <a:pt x="20106" y="3429"/>
                    </a:cubicBezTo>
                    <a:cubicBezTo>
                      <a:pt x="20878" y="4485"/>
                      <a:pt x="21406" y="5898"/>
                      <a:pt x="21708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3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4" y="8480"/>
                      <a:pt x="5841" y="8951"/>
                    </a:cubicBezTo>
                    <a:cubicBezTo>
                      <a:pt x="6218" y="9440"/>
                      <a:pt x="6802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0" y="12248"/>
                      <a:pt x="17279" y="12983"/>
                      <a:pt x="18560" y="13530"/>
                    </a:cubicBezTo>
                    <a:cubicBezTo>
                      <a:pt x="19842" y="14076"/>
                      <a:pt x="20878" y="14905"/>
                      <a:pt x="21613" y="15960"/>
                    </a:cubicBezTo>
                    <a:cubicBezTo>
                      <a:pt x="22348" y="17016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3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46" y="27851"/>
                      <a:pt x="3580" y="26362"/>
                    </a:cubicBezTo>
                    <a:cubicBezTo>
                      <a:pt x="1715" y="24873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71" name="Grafik 21">
              <a:extLst>
                <a:ext uri="{FF2B5EF4-FFF2-40B4-BE49-F238E27FC236}">
                  <a16:creationId xmlns:a16="http://schemas.microsoft.com/office/drawing/2014/main" id="{5CB899C4-69DF-3715-19A5-63BFF9F65CB0}"/>
                </a:ext>
              </a:extLst>
            </p:cNvPr>
            <p:cNvGrpSpPr/>
            <p:nvPr/>
          </p:nvGrpSpPr>
          <p:grpSpPr>
            <a:xfrm>
              <a:off x="8398497" y="889639"/>
              <a:ext cx="197949" cy="39081"/>
              <a:chOff x="8398497" y="889639"/>
              <a:chExt cx="197949" cy="39081"/>
            </a:xfrm>
            <a:solidFill>
              <a:srgbClr val="000000"/>
            </a:solidFill>
          </p:grpSpPr>
          <p:sp>
            <p:nvSpPr>
              <p:cNvPr id="3626" name="Freihandform: Form 3625">
                <a:extLst>
                  <a:ext uri="{FF2B5EF4-FFF2-40B4-BE49-F238E27FC236}">
                    <a16:creationId xmlns:a16="http://schemas.microsoft.com/office/drawing/2014/main" id="{A1E24273-E5FB-BBFC-198A-9AF16DFC46C1}"/>
                  </a:ext>
                </a:extLst>
              </p:cNvPr>
              <p:cNvSpPr/>
              <p:nvPr/>
            </p:nvSpPr>
            <p:spPr>
              <a:xfrm>
                <a:off x="8398497" y="889639"/>
                <a:ext cx="30092" cy="39062"/>
              </a:xfrm>
              <a:custGeom>
                <a:avLst/>
                <a:gdLst>
                  <a:gd name="connsiteX0" fmla="*/ 0 w 30092"/>
                  <a:gd name="connsiteY0" fmla="*/ 26305 h 39062"/>
                  <a:gd name="connsiteX1" fmla="*/ 4711 w 30092"/>
                  <a:gd name="connsiteY1" fmla="*/ 25891 h 39062"/>
                  <a:gd name="connsiteX2" fmla="*/ 6275 w 30092"/>
                  <a:gd name="connsiteY2" fmla="*/ 30545 h 39062"/>
                  <a:gd name="connsiteX3" fmla="*/ 10081 w 30092"/>
                  <a:gd name="connsiteY3" fmla="*/ 33485 h 39062"/>
                  <a:gd name="connsiteX4" fmla="*/ 15885 w 30092"/>
                  <a:gd name="connsiteY4" fmla="*/ 34596 h 39062"/>
                  <a:gd name="connsiteX5" fmla="*/ 20935 w 30092"/>
                  <a:gd name="connsiteY5" fmla="*/ 33748 h 39062"/>
                  <a:gd name="connsiteX6" fmla="*/ 24195 w 30092"/>
                  <a:gd name="connsiteY6" fmla="*/ 31412 h 39062"/>
                  <a:gd name="connsiteX7" fmla="*/ 25269 w 30092"/>
                  <a:gd name="connsiteY7" fmla="*/ 28171 h 39062"/>
                  <a:gd name="connsiteX8" fmla="*/ 24233 w 30092"/>
                  <a:gd name="connsiteY8" fmla="*/ 25062 h 39062"/>
                  <a:gd name="connsiteX9" fmla="*/ 20841 w 30092"/>
                  <a:gd name="connsiteY9" fmla="*/ 22838 h 39062"/>
                  <a:gd name="connsiteX10" fmla="*/ 14114 w 30092"/>
                  <a:gd name="connsiteY10" fmla="*/ 20991 h 39062"/>
                  <a:gd name="connsiteX11" fmla="*/ 6822 w 30092"/>
                  <a:gd name="connsiteY11" fmla="*/ 18636 h 39062"/>
                  <a:gd name="connsiteX12" fmla="*/ 2789 w 30092"/>
                  <a:gd name="connsiteY12" fmla="*/ 15112 h 39062"/>
                  <a:gd name="connsiteX13" fmla="*/ 1470 w 30092"/>
                  <a:gd name="connsiteY13" fmla="*/ 10402 h 39062"/>
                  <a:gd name="connsiteX14" fmla="*/ 3091 w 30092"/>
                  <a:gd name="connsiteY14" fmla="*/ 5050 h 39062"/>
                  <a:gd name="connsiteX15" fmla="*/ 7839 w 30092"/>
                  <a:gd name="connsiteY15" fmla="*/ 1281 h 39062"/>
                  <a:gd name="connsiteX16" fmla="*/ 14773 w 30092"/>
                  <a:gd name="connsiteY16" fmla="*/ 0 h 39062"/>
                  <a:gd name="connsiteX17" fmla="*/ 22179 w 30092"/>
                  <a:gd name="connsiteY17" fmla="*/ 1357 h 39062"/>
                  <a:gd name="connsiteX18" fmla="*/ 27116 w 30092"/>
                  <a:gd name="connsiteY18" fmla="*/ 5333 h 39062"/>
                  <a:gd name="connsiteX19" fmla="*/ 28962 w 30092"/>
                  <a:gd name="connsiteY19" fmla="*/ 11287 h 39062"/>
                  <a:gd name="connsiteX20" fmla="*/ 24176 w 30092"/>
                  <a:gd name="connsiteY20" fmla="*/ 11645 h 39062"/>
                  <a:gd name="connsiteX21" fmla="*/ 21557 w 30092"/>
                  <a:gd name="connsiteY21" fmla="*/ 6237 h 39062"/>
                  <a:gd name="connsiteX22" fmla="*/ 14980 w 30092"/>
                  <a:gd name="connsiteY22" fmla="*/ 4409 h 39062"/>
                  <a:gd name="connsiteX23" fmla="*/ 8366 w 30092"/>
                  <a:gd name="connsiteY23" fmla="*/ 6068 h 39062"/>
                  <a:gd name="connsiteX24" fmla="*/ 6294 w 30092"/>
                  <a:gd name="connsiteY24" fmla="*/ 10081 h 39062"/>
                  <a:gd name="connsiteX25" fmla="*/ 7764 w 30092"/>
                  <a:gd name="connsiteY25" fmla="*/ 13435 h 39062"/>
                  <a:gd name="connsiteX26" fmla="*/ 15301 w 30092"/>
                  <a:gd name="connsiteY26" fmla="*/ 16130 h 39062"/>
                  <a:gd name="connsiteX27" fmla="*/ 23667 w 30092"/>
                  <a:gd name="connsiteY27" fmla="*/ 18542 h 39062"/>
                  <a:gd name="connsiteX28" fmla="*/ 28529 w 30092"/>
                  <a:gd name="connsiteY28" fmla="*/ 22386 h 39062"/>
                  <a:gd name="connsiteX29" fmla="*/ 30093 w 30092"/>
                  <a:gd name="connsiteY29" fmla="*/ 27756 h 39062"/>
                  <a:gd name="connsiteX30" fmla="*/ 28359 w 30092"/>
                  <a:gd name="connsiteY30" fmla="*/ 33428 h 39062"/>
                  <a:gd name="connsiteX31" fmla="*/ 23403 w 30092"/>
                  <a:gd name="connsiteY31" fmla="*/ 37574 h 39062"/>
                  <a:gd name="connsiteX32" fmla="*/ 16130 w 30092"/>
                  <a:gd name="connsiteY32" fmla="*/ 39062 h 39062"/>
                  <a:gd name="connsiteX33" fmla="*/ 7537 w 30092"/>
                  <a:gd name="connsiteY33" fmla="*/ 37574 h 39062"/>
                  <a:gd name="connsiteX34" fmla="*/ 2111 w 30092"/>
                  <a:gd name="connsiteY34" fmla="*/ 33070 h 39062"/>
                  <a:gd name="connsiteX35" fmla="*/ 38 w 30092"/>
                  <a:gd name="connsiteY35" fmla="*/ 26286 h 39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0092" h="39062">
                    <a:moveTo>
                      <a:pt x="0" y="26305"/>
                    </a:moveTo>
                    <a:lnTo>
                      <a:pt x="4711" y="25891"/>
                    </a:lnTo>
                    <a:cubicBezTo>
                      <a:pt x="4937" y="27775"/>
                      <a:pt x="5446" y="29339"/>
                      <a:pt x="6275" y="30545"/>
                    </a:cubicBezTo>
                    <a:cubicBezTo>
                      <a:pt x="7104" y="31751"/>
                      <a:pt x="8366" y="32731"/>
                      <a:pt x="10081" y="33485"/>
                    </a:cubicBezTo>
                    <a:cubicBezTo>
                      <a:pt x="11796" y="34238"/>
                      <a:pt x="13737" y="34596"/>
                      <a:pt x="15885" y="34596"/>
                    </a:cubicBezTo>
                    <a:cubicBezTo>
                      <a:pt x="17788" y="34596"/>
                      <a:pt x="19484" y="34314"/>
                      <a:pt x="20935" y="33748"/>
                    </a:cubicBezTo>
                    <a:cubicBezTo>
                      <a:pt x="22386" y="33183"/>
                      <a:pt x="23479" y="32411"/>
                      <a:pt x="24195" y="31412"/>
                    </a:cubicBezTo>
                    <a:cubicBezTo>
                      <a:pt x="24911" y="30413"/>
                      <a:pt x="25269" y="29339"/>
                      <a:pt x="25269" y="28171"/>
                    </a:cubicBezTo>
                    <a:cubicBezTo>
                      <a:pt x="25269" y="27003"/>
                      <a:pt x="24930" y="25947"/>
                      <a:pt x="24233" y="25062"/>
                    </a:cubicBezTo>
                    <a:cubicBezTo>
                      <a:pt x="23535" y="24176"/>
                      <a:pt x="22405" y="23441"/>
                      <a:pt x="20841" y="22838"/>
                    </a:cubicBezTo>
                    <a:cubicBezTo>
                      <a:pt x="19823" y="22442"/>
                      <a:pt x="17581" y="21821"/>
                      <a:pt x="14114" y="20991"/>
                    </a:cubicBezTo>
                    <a:cubicBezTo>
                      <a:pt x="10646" y="20162"/>
                      <a:pt x="8216" y="19371"/>
                      <a:pt x="6822" y="18636"/>
                    </a:cubicBezTo>
                    <a:cubicBezTo>
                      <a:pt x="5012" y="17694"/>
                      <a:pt x="3674" y="16526"/>
                      <a:pt x="2789" y="15112"/>
                    </a:cubicBezTo>
                    <a:cubicBezTo>
                      <a:pt x="1903" y="13699"/>
                      <a:pt x="1470" y="12154"/>
                      <a:pt x="1470" y="10402"/>
                    </a:cubicBezTo>
                    <a:cubicBezTo>
                      <a:pt x="1470" y="8498"/>
                      <a:pt x="2016" y="6708"/>
                      <a:pt x="3091" y="5050"/>
                    </a:cubicBezTo>
                    <a:cubicBezTo>
                      <a:pt x="4164" y="3392"/>
                      <a:pt x="5747" y="2129"/>
                      <a:pt x="7839" y="1281"/>
                    </a:cubicBezTo>
                    <a:cubicBezTo>
                      <a:pt x="9930" y="433"/>
                      <a:pt x="12229" y="0"/>
                      <a:pt x="14773" y="0"/>
                    </a:cubicBezTo>
                    <a:cubicBezTo>
                      <a:pt x="17581" y="0"/>
                      <a:pt x="20050" y="452"/>
                      <a:pt x="22179" y="1357"/>
                    </a:cubicBezTo>
                    <a:cubicBezTo>
                      <a:pt x="24308" y="2261"/>
                      <a:pt x="25966" y="3580"/>
                      <a:pt x="27116" y="5333"/>
                    </a:cubicBezTo>
                    <a:cubicBezTo>
                      <a:pt x="28265" y="7085"/>
                      <a:pt x="28887" y="9064"/>
                      <a:pt x="28962" y="11287"/>
                    </a:cubicBezTo>
                    <a:lnTo>
                      <a:pt x="24176" y="11645"/>
                    </a:lnTo>
                    <a:cubicBezTo>
                      <a:pt x="23912" y="9252"/>
                      <a:pt x="23045" y="7462"/>
                      <a:pt x="21557" y="6237"/>
                    </a:cubicBezTo>
                    <a:cubicBezTo>
                      <a:pt x="20068" y="5012"/>
                      <a:pt x="17882" y="4409"/>
                      <a:pt x="14980" y="4409"/>
                    </a:cubicBezTo>
                    <a:cubicBezTo>
                      <a:pt x="12078" y="4409"/>
                      <a:pt x="9761" y="4956"/>
                      <a:pt x="8366" y="6068"/>
                    </a:cubicBezTo>
                    <a:cubicBezTo>
                      <a:pt x="6972" y="7179"/>
                      <a:pt x="6294" y="8517"/>
                      <a:pt x="6294" y="10081"/>
                    </a:cubicBezTo>
                    <a:cubicBezTo>
                      <a:pt x="6294" y="11438"/>
                      <a:pt x="6784" y="12550"/>
                      <a:pt x="7764" y="13435"/>
                    </a:cubicBezTo>
                    <a:cubicBezTo>
                      <a:pt x="8725" y="14302"/>
                      <a:pt x="11231" y="15207"/>
                      <a:pt x="15301" y="16130"/>
                    </a:cubicBezTo>
                    <a:cubicBezTo>
                      <a:pt x="19371" y="17053"/>
                      <a:pt x="22141" y="17845"/>
                      <a:pt x="23667" y="18542"/>
                    </a:cubicBezTo>
                    <a:cubicBezTo>
                      <a:pt x="25872" y="19559"/>
                      <a:pt x="27493" y="20841"/>
                      <a:pt x="28529" y="22386"/>
                    </a:cubicBezTo>
                    <a:cubicBezTo>
                      <a:pt x="29565" y="23931"/>
                      <a:pt x="30093" y="25740"/>
                      <a:pt x="30093" y="27756"/>
                    </a:cubicBezTo>
                    <a:cubicBezTo>
                      <a:pt x="30093" y="29773"/>
                      <a:pt x="29509" y="31657"/>
                      <a:pt x="28359" y="33428"/>
                    </a:cubicBezTo>
                    <a:cubicBezTo>
                      <a:pt x="27210" y="35199"/>
                      <a:pt x="25552" y="36594"/>
                      <a:pt x="23403" y="37574"/>
                    </a:cubicBezTo>
                    <a:cubicBezTo>
                      <a:pt x="21255" y="38554"/>
                      <a:pt x="18825" y="39062"/>
                      <a:pt x="16130" y="39062"/>
                    </a:cubicBezTo>
                    <a:cubicBezTo>
                      <a:pt x="12719" y="39062"/>
                      <a:pt x="9855" y="38572"/>
                      <a:pt x="7537" y="37574"/>
                    </a:cubicBezTo>
                    <a:cubicBezTo>
                      <a:pt x="5220" y="36575"/>
                      <a:pt x="3411" y="35086"/>
                      <a:pt x="2111" y="33070"/>
                    </a:cubicBezTo>
                    <a:cubicBezTo>
                      <a:pt x="810" y="31054"/>
                      <a:pt x="113" y="28812"/>
                      <a:pt x="38" y="262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27" name="Freihandform: Form 3626">
                <a:extLst>
                  <a:ext uri="{FF2B5EF4-FFF2-40B4-BE49-F238E27FC236}">
                    <a16:creationId xmlns:a16="http://schemas.microsoft.com/office/drawing/2014/main" id="{07C54710-7366-85DE-16BF-7368558ACBF4}"/>
                  </a:ext>
                </a:extLst>
              </p:cNvPr>
              <p:cNvSpPr/>
              <p:nvPr/>
            </p:nvSpPr>
            <p:spPr>
              <a:xfrm>
                <a:off x="8434790" y="890317"/>
                <a:ext cx="22687" cy="37780"/>
              </a:xfrm>
              <a:custGeom>
                <a:avLst/>
                <a:gdLst>
                  <a:gd name="connsiteX0" fmla="*/ 19 w 22687"/>
                  <a:gd name="connsiteY0" fmla="*/ 37762 h 37780"/>
                  <a:gd name="connsiteX1" fmla="*/ 19 w 22687"/>
                  <a:gd name="connsiteY1" fmla="*/ 0 h 37780"/>
                  <a:gd name="connsiteX2" fmla="*/ 4654 w 22687"/>
                  <a:gd name="connsiteY2" fmla="*/ 0 h 37780"/>
                  <a:gd name="connsiteX3" fmla="*/ 4654 w 22687"/>
                  <a:gd name="connsiteY3" fmla="*/ 21538 h 37780"/>
                  <a:gd name="connsiteX4" fmla="*/ 15621 w 22687"/>
                  <a:gd name="connsiteY4" fmla="*/ 10402 h 37780"/>
                  <a:gd name="connsiteX5" fmla="*/ 21632 w 22687"/>
                  <a:gd name="connsiteY5" fmla="*/ 10402 h 37780"/>
                  <a:gd name="connsiteX6" fmla="*/ 11174 w 22687"/>
                  <a:gd name="connsiteY6" fmla="*/ 20558 h 37780"/>
                  <a:gd name="connsiteX7" fmla="*/ 22687 w 22687"/>
                  <a:gd name="connsiteY7" fmla="*/ 37762 h 37780"/>
                  <a:gd name="connsiteX8" fmla="*/ 16959 w 22687"/>
                  <a:gd name="connsiteY8" fmla="*/ 37762 h 37780"/>
                  <a:gd name="connsiteX9" fmla="*/ 7914 w 22687"/>
                  <a:gd name="connsiteY9" fmla="*/ 23780 h 37780"/>
                  <a:gd name="connsiteX10" fmla="*/ 4635 w 22687"/>
                  <a:gd name="connsiteY10" fmla="*/ 26927 h 37780"/>
                  <a:gd name="connsiteX11" fmla="*/ 4635 w 22687"/>
                  <a:gd name="connsiteY11" fmla="*/ 37781 h 37780"/>
                  <a:gd name="connsiteX12" fmla="*/ 0 w 22687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687" h="37780">
                    <a:moveTo>
                      <a:pt x="19" y="37762"/>
                    </a:moveTo>
                    <a:lnTo>
                      <a:pt x="19" y="0"/>
                    </a:lnTo>
                    <a:lnTo>
                      <a:pt x="4654" y="0"/>
                    </a:lnTo>
                    <a:lnTo>
                      <a:pt x="4654" y="21538"/>
                    </a:lnTo>
                    <a:lnTo>
                      <a:pt x="15621" y="10402"/>
                    </a:lnTo>
                    <a:lnTo>
                      <a:pt x="21632" y="10402"/>
                    </a:lnTo>
                    <a:lnTo>
                      <a:pt x="11174" y="20558"/>
                    </a:lnTo>
                    <a:lnTo>
                      <a:pt x="22687" y="37762"/>
                    </a:lnTo>
                    <a:lnTo>
                      <a:pt x="16959" y="37762"/>
                    </a:lnTo>
                    <a:lnTo>
                      <a:pt x="7914" y="23780"/>
                    </a:lnTo>
                    <a:lnTo>
                      <a:pt x="4635" y="26927"/>
                    </a:lnTo>
                    <a:lnTo>
                      <a:pt x="4635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28" name="Freihandform: Form 3627">
                <a:extLst>
                  <a:ext uri="{FF2B5EF4-FFF2-40B4-BE49-F238E27FC236}">
                    <a16:creationId xmlns:a16="http://schemas.microsoft.com/office/drawing/2014/main" id="{0AF3DDCC-173F-FD52-DE34-BD22E3F403B7}"/>
                  </a:ext>
                </a:extLst>
              </p:cNvPr>
              <p:cNvSpPr/>
              <p:nvPr/>
            </p:nvSpPr>
            <p:spPr>
              <a:xfrm>
                <a:off x="8461189" y="890317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5 w 4635"/>
                  <a:gd name="connsiteY7" fmla="*/ 10402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5" y="10402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29" name="Freihandform: Form 3628">
                <a:extLst>
                  <a:ext uri="{FF2B5EF4-FFF2-40B4-BE49-F238E27FC236}">
                    <a16:creationId xmlns:a16="http://schemas.microsoft.com/office/drawing/2014/main" id="{43EE3B70-A775-3FAF-9BD8-8EB88CEB97FF}"/>
                  </a:ext>
                </a:extLst>
              </p:cNvPr>
              <p:cNvSpPr/>
              <p:nvPr/>
            </p:nvSpPr>
            <p:spPr>
              <a:xfrm>
                <a:off x="8471327" y="900078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6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4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9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1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4 h 28623"/>
                  <a:gd name="connsiteX14" fmla="*/ 5352 w 25193"/>
                  <a:gd name="connsiteY14" fmla="*/ 9045 h 28623"/>
                  <a:gd name="connsiteX15" fmla="*/ 811 w 25193"/>
                  <a:gd name="connsiteY15" fmla="*/ 8423 h 28623"/>
                  <a:gd name="connsiteX16" fmla="*/ 2845 w 25193"/>
                  <a:gd name="connsiteY16" fmla="*/ 3712 h 28623"/>
                  <a:gd name="connsiteX17" fmla="*/ 6935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6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6" y="28623"/>
                    </a:cubicBezTo>
                    <a:cubicBezTo>
                      <a:pt x="6369" y="28623"/>
                      <a:pt x="4052" y="27888"/>
                      <a:pt x="2431" y="26418"/>
                    </a:cubicBezTo>
                    <a:cubicBezTo>
                      <a:pt x="811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4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9" y="12210"/>
                    </a:cubicBezTo>
                    <a:cubicBezTo>
                      <a:pt x="14529" y="11758"/>
                      <a:pt x="17280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9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9" y="3844"/>
                      <a:pt x="8687" y="4221"/>
                      <a:pt x="7651" y="4994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1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4" y="1602"/>
                      <a:pt x="6935" y="961"/>
                    </a:cubicBezTo>
                    <a:cubicBezTo>
                      <a:pt x="8706" y="320"/>
                      <a:pt x="10798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80" y="27003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5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30" name="Freihandform: Form 3629">
                <a:extLst>
                  <a:ext uri="{FF2B5EF4-FFF2-40B4-BE49-F238E27FC236}">
                    <a16:creationId xmlns:a16="http://schemas.microsoft.com/office/drawing/2014/main" id="{BD06E1D7-A1A9-2607-8933-D582C935189B}"/>
                  </a:ext>
                </a:extLst>
              </p:cNvPr>
              <p:cNvSpPr/>
              <p:nvPr/>
            </p:nvSpPr>
            <p:spPr>
              <a:xfrm>
                <a:off x="8499705" y="891165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1 h 37272"/>
                  <a:gd name="connsiteX7" fmla="*/ 0 w 13341"/>
                  <a:gd name="connsiteY7" fmla="*/ 13171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4 w 13341"/>
                  <a:gd name="connsiteY17" fmla="*/ 31695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1" y="33522"/>
                      <a:pt x="3392" y="31695"/>
                      <a:pt x="3392" y="28906"/>
                    </a:cubicBezTo>
                    <a:lnTo>
                      <a:pt x="3392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4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03" y="32825"/>
                      <a:pt x="9949" y="32938"/>
                      <a:pt x="10628" y="32938"/>
                    </a:cubicBezTo>
                    <a:cubicBezTo>
                      <a:pt x="11137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31" name="Freihandform: Form 3630">
                <a:extLst>
                  <a:ext uri="{FF2B5EF4-FFF2-40B4-BE49-F238E27FC236}">
                    <a16:creationId xmlns:a16="http://schemas.microsoft.com/office/drawing/2014/main" id="{1734CAA2-7E89-B406-859F-F0C15406825C}"/>
                  </a:ext>
                </a:extLst>
              </p:cNvPr>
              <p:cNvSpPr/>
              <p:nvPr/>
            </p:nvSpPr>
            <p:spPr>
              <a:xfrm>
                <a:off x="8516890" y="890317"/>
                <a:ext cx="22272" cy="37762"/>
              </a:xfrm>
              <a:custGeom>
                <a:avLst/>
                <a:gdLst>
                  <a:gd name="connsiteX0" fmla="*/ 0 w 22272"/>
                  <a:gd name="connsiteY0" fmla="*/ 37762 h 37762"/>
                  <a:gd name="connsiteX1" fmla="*/ 0 w 22272"/>
                  <a:gd name="connsiteY1" fmla="*/ 0 h 37762"/>
                  <a:gd name="connsiteX2" fmla="*/ 4635 w 22272"/>
                  <a:gd name="connsiteY2" fmla="*/ 0 h 37762"/>
                  <a:gd name="connsiteX3" fmla="*/ 4635 w 22272"/>
                  <a:gd name="connsiteY3" fmla="*/ 13548 h 37762"/>
                  <a:gd name="connsiteX4" fmla="*/ 12832 w 22272"/>
                  <a:gd name="connsiteY4" fmla="*/ 9780 h 37762"/>
                  <a:gd name="connsiteX5" fmla="*/ 18108 w 22272"/>
                  <a:gd name="connsiteY5" fmla="*/ 10986 h 37762"/>
                  <a:gd name="connsiteX6" fmla="*/ 21312 w 22272"/>
                  <a:gd name="connsiteY6" fmla="*/ 14302 h 37762"/>
                  <a:gd name="connsiteX7" fmla="*/ 22273 w 22272"/>
                  <a:gd name="connsiteY7" fmla="*/ 20426 h 37762"/>
                  <a:gd name="connsiteX8" fmla="*/ 22273 w 22272"/>
                  <a:gd name="connsiteY8" fmla="*/ 37762 h 37762"/>
                  <a:gd name="connsiteX9" fmla="*/ 17637 w 22272"/>
                  <a:gd name="connsiteY9" fmla="*/ 37762 h 37762"/>
                  <a:gd name="connsiteX10" fmla="*/ 17637 w 22272"/>
                  <a:gd name="connsiteY10" fmla="*/ 20426 h 37762"/>
                  <a:gd name="connsiteX11" fmla="*/ 16130 w 22272"/>
                  <a:gd name="connsiteY11" fmla="*/ 15357 h 37762"/>
                  <a:gd name="connsiteX12" fmla="*/ 11871 w 22272"/>
                  <a:gd name="connsiteY12" fmla="*/ 13774 h 37762"/>
                  <a:gd name="connsiteX13" fmla="*/ 7990 w 22272"/>
                  <a:gd name="connsiteY13" fmla="*/ 14849 h 37762"/>
                  <a:gd name="connsiteX14" fmla="*/ 5408 w 22272"/>
                  <a:gd name="connsiteY14" fmla="*/ 17750 h 37762"/>
                  <a:gd name="connsiteX15" fmla="*/ 4635 w 22272"/>
                  <a:gd name="connsiteY15" fmla="*/ 22800 h 37762"/>
                  <a:gd name="connsiteX16" fmla="*/ 4635 w 22272"/>
                  <a:gd name="connsiteY16" fmla="*/ 37762 h 37762"/>
                  <a:gd name="connsiteX17" fmla="*/ 0 w 22272"/>
                  <a:gd name="connsiteY17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272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548"/>
                    </a:lnTo>
                    <a:cubicBezTo>
                      <a:pt x="6802" y="11042"/>
                      <a:pt x="9535" y="9780"/>
                      <a:pt x="12832" y="9780"/>
                    </a:cubicBezTo>
                    <a:cubicBezTo>
                      <a:pt x="14867" y="9780"/>
                      <a:pt x="16620" y="10175"/>
                      <a:pt x="18108" y="10986"/>
                    </a:cubicBezTo>
                    <a:cubicBezTo>
                      <a:pt x="19597" y="11796"/>
                      <a:pt x="20671" y="12889"/>
                      <a:pt x="21312" y="14302"/>
                    </a:cubicBezTo>
                    <a:cubicBezTo>
                      <a:pt x="21952" y="15715"/>
                      <a:pt x="22273" y="17750"/>
                      <a:pt x="22273" y="20426"/>
                    </a:cubicBezTo>
                    <a:lnTo>
                      <a:pt x="22273" y="37762"/>
                    </a:lnTo>
                    <a:lnTo>
                      <a:pt x="17637" y="37762"/>
                    </a:lnTo>
                    <a:lnTo>
                      <a:pt x="17637" y="20426"/>
                    </a:lnTo>
                    <a:cubicBezTo>
                      <a:pt x="17637" y="18108"/>
                      <a:pt x="17128" y="16413"/>
                      <a:pt x="16130" y="15357"/>
                    </a:cubicBezTo>
                    <a:cubicBezTo>
                      <a:pt x="15131" y="14302"/>
                      <a:pt x="13699" y="13774"/>
                      <a:pt x="11871" y="13774"/>
                    </a:cubicBezTo>
                    <a:cubicBezTo>
                      <a:pt x="10495" y="13774"/>
                      <a:pt x="9195" y="14133"/>
                      <a:pt x="7990" y="14849"/>
                    </a:cubicBezTo>
                    <a:cubicBezTo>
                      <a:pt x="6783" y="15565"/>
                      <a:pt x="5917" y="16526"/>
                      <a:pt x="5408" y="17750"/>
                    </a:cubicBezTo>
                    <a:cubicBezTo>
                      <a:pt x="4899" y="18975"/>
                      <a:pt x="4635" y="20652"/>
                      <a:pt x="4635" y="22800"/>
                    </a:cubicBez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32" name="Freihandform: Form 3631">
                <a:extLst>
                  <a:ext uri="{FF2B5EF4-FFF2-40B4-BE49-F238E27FC236}">
                    <a16:creationId xmlns:a16="http://schemas.microsoft.com/office/drawing/2014/main" id="{E5EE1ED1-8418-C214-777E-423DA04F6033}"/>
                  </a:ext>
                </a:extLst>
              </p:cNvPr>
              <p:cNvSpPr/>
              <p:nvPr/>
            </p:nvSpPr>
            <p:spPr>
              <a:xfrm>
                <a:off x="8544496" y="900116"/>
                <a:ext cx="25646" cy="28604"/>
              </a:xfrm>
              <a:custGeom>
                <a:avLst/>
                <a:gdLst>
                  <a:gd name="connsiteX0" fmla="*/ 19 w 25646"/>
                  <a:gd name="connsiteY0" fmla="*/ 14283 h 28604"/>
                  <a:gd name="connsiteX1" fmla="*/ 4240 w 25646"/>
                  <a:gd name="connsiteY1" fmla="*/ 3034 h 28604"/>
                  <a:gd name="connsiteX2" fmla="*/ 12851 w 25646"/>
                  <a:gd name="connsiteY2" fmla="*/ 0 h 28604"/>
                  <a:gd name="connsiteX3" fmla="*/ 22066 w 25646"/>
                  <a:gd name="connsiteY3" fmla="*/ 3693 h 28604"/>
                  <a:gd name="connsiteX4" fmla="*/ 25646 w 25646"/>
                  <a:gd name="connsiteY4" fmla="*/ 13906 h 28604"/>
                  <a:gd name="connsiteX5" fmla="*/ 24063 w 25646"/>
                  <a:gd name="connsiteY5" fmla="*/ 22216 h 28604"/>
                  <a:gd name="connsiteX6" fmla="*/ 19446 w 25646"/>
                  <a:gd name="connsiteY6" fmla="*/ 26927 h 28604"/>
                  <a:gd name="connsiteX7" fmla="*/ 12832 w 25646"/>
                  <a:gd name="connsiteY7" fmla="*/ 28604 h 28604"/>
                  <a:gd name="connsiteX8" fmla="*/ 3543 w 25646"/>
                  <a:gd name="connsiteY8" fmla="*/ 24911 h 28604"/>
                  <a:gd name="connsiteX9" fmla="*/ 0 w 25646"/>
                  <a:gd name="connsiteY9" fmla="*/ 14302 h 28604"/>
                  <a:gd name="connsiteX10" fmla="*/ 4786 w 25646"/>
                  <a:gd name="connsiteY10" fmla="*/ 14283 h 28604"/>
                  <a:gd name="connsiteX11" fmla="*/ 7085 w 25646"/>
                  <a:gd name="connsiteY11" fmla="*/ 22160 h 28604"/>
                  <a:gd name="connsiteX12" fmla="*/ 12851 w 25646"/>
                  <a:gd name="connsiteY12" fmla="*/ 24779 h 28604"/>
                  <a:gd name="connsiteX13" fmla="*/ 18599 w 25646"/>
                  <a:gd name="connsiteY13" fmla="*/ 22160 h 28604"/>
                  <a:gd name="connsiteX14" fmla="*/ 20897 w 25646"/>
                  <a:gd name="connsiteY14" fmla="*/ 14151 h 28604"/>
                  <a:gd name="connsiteX15" fmla="*/ 18599 w 25646"/>
                  <a:gd name="connsiteY15" fmla="*/ 6463 h 28604"/>
                  <a:gd name="connsiteX16" fmla="*/ 12870 w 25646"/>
                  <a:gd name="connsiteY16" fmla="*/ 3844 h 28604"/>
                  <a:gd name="connsiteX17" fmla="*/ 7104 w 25646"/>
                  <a:gd name="connsiteY17" fmla="*/ 6444 h 28604"/>
                  <a:gd name="connsiteX18" fmla="*/ 4805 w 25646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6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40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58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42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912"/>
                      <a:pt x="10534" y="24779"/>
                      <a:pt x="12851" y="24779"/>
                    </a:cubicBezTo>
                    <a:cubicBezTo>
                      <a:pt x="15169" y="24779"/>
                      <a:pt x="17072" y="23912"/>
                      <a:pt x="18599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9" y="6463"/>
                    </a:cubicBezTo>
                    <a:cubicBezTo>
                      <a:pt x="17072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33" name="Freihandform: Form 3632">
                <a:extLst>
                  <a:ext uri="{FF2B5EF4-FFF2-40B4-BE49-F238E27FC236}">
                    <a16:creationId xmlns:a16="http://schemas.microsoft.com/office/drawing/2014/main" id="{CD382E20-6888-B52F-8D96-970CCA265E39}"/>
                  </a:ext>
                </a:extLst>
              </p:cNvPr>
              <p:cNvSpPr/>
              <p:nvPr/>
            </p:nvSpPr>
            <p:spPr>
              <a:xfrm>
                <a:off x="8573722" y="900135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70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3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2 w 22725"/>
                  <a:gd name="connsiteY10" fmla="*/ 7877 h 28585"/>
                  <a:gd name="connsiteX11" fmla="*/ 1602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6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29 h 28585"/>
                  <a:gd name="connsiteX17" fmla="*/ 21708 w 22725"/>
                  <a:gd name="connsiteY17" fmla="*/ 7669 h 28585"/>
                  <a:gd name="connsiteX18" fmla="*/ 17167 w 22725"/>
                  <a:gd name="connsiteY18" fmla="*/ 8291 h 28585"/>
                  <a:gd name="connsiteX19" fmla="*/ 15376 w 22725"/>
                  <a:gd name="connsiteY19" fmla="*/ 4994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2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30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9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1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70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8" y="16997"/>
                      <a:pt x="11853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9" y="12663"/>
                      <a:pt x="1790" y="11551"/>
                    </a:cubicBezTo>
                    <a:cubicBezTo>
                      <a:pt x="1112" y="10439"/>
                      <a:pt x="772" y="9214"/>
                      <a:pt x="772" y="7877"/>
                    </a:cubicBezTo>
                    <a:cubicBezTo>
                      <a:pt x="772" y="6652"/>
                      <a:pt x="1055" y="5521"/>
                      <a:pt x="1602" y="4485"/>
                    </a:cubicBezTo>
                    <a:cubicBezTo>
                      <a:pt x="2148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6"/>
                    </a:cubicBezTo>
                    <a:cubicBezTo>
                      <a:pt x="8103" y="170"/>
                      <a:pt x="9422" y="0"/>
                      <a:pt x="10854" y="0"/>
                    </a:cubicBezTo>
                    <a:cubicBezTo>
                      <a:pt x="13002" y="0"/>
                      <a:pt x="14887" y="302"/>
                      <a:pt x="16507" y="923"/>
                    </a:cubicBezTo>
                    <a:cubicBezTo>
                      <a:pt x="18128" y="1545"/>
                      <a:pt x="19333" y="2374"/>
                      <a:pt x="20106" y="3429"/>
                    </a:cubicBezTo>
                    <a:cubicBezTo>
                      <a:pt x="20879" y="4485"/>
                      <a:pt x="21406" y="5898"/>
                      <a:pt x="21708" y="7669"/>
                    </a:cubicBezTo>
                    <a:lnTo>
                      <a:pt x="17167" y="8291"/>
                    </a:lnTo>
                    <a:cubicBezTo>
                      <a:pt x="16959" y="6878"/>
                      <a:pt x="16356" y="5785"/>
                      <a:pt x="15376" y="4994"/>
                    </a:cubicBezTo>
                    <a:cubicBezTo>
                      <a:pt x="14397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2" y="8951"/>
                    </a:cubicBezTo>
                    <a:cubicBezTo>
                      <a:pt x="6218" y="9441"/>
                      <a:pt x="6803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0" y="12248"/>
                      <a:pt x="17279" y="12983"/>
                      <a:pt x="18561" y="13530"/>
                    </a:cubicBezTo>
                    <a:cubicBezTo>
                      <a:pt x="19842" y="14076"/>
                      <a:pt x="20879" y="14905"/>
                      <a:pt x="21613" y="15960"/>
                    </a:cubicBezTo>
                    <a:cubicBezTo>
                      <a:pt x="22348" y="17016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9" y="24308"/>
                    </a:cubicBezTo>
                    <a:cubicBezTo>
                      <a:pt x="20464" y="25683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46" y="27851"/>
                      <a:pt x="3581" y="26362"/>
                    </a:cubicBezTo>
                    <a:cubicBezTo>
                      <a:pt x="1715" y="24873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72" name="Grafik 21">
              <a:extLst>
                <a:ext uri="{FF2B5EF4-FFF2-40B4-BE49-F238E27FC236}">
                  <a16:creationId xmlns:a16="http://schemas.microsoft.com/office/drawing/2014/main" id="{09A292B6-FF79-B9A3-2044-C145EC45C1D3}"/>
                </a:ext>
              </a:extLst>
            </p:cNvPr>
            <p:cNvGrpSpPr/>
            <p:nvPr/>
          </p:nvGrpSpPr>
          <p:grpSpPr>
            <a:xfrm>
              <a:off x="8439161" y="747108"/>
              <a:ext cx="155212" cy="38383"/>
              <a:chOff x="8439161" y="747108"/>
              <a:chExt cx="155212" cy="38383"/>
            </a:xfrm>
            <a:solidFill>
              <a:srgbClr val="000000"/>
            </a:solidFill>
          </p:grpSpPr>
          <p:sp>
            <p:nvSpPr>
              <p:cNvPr id="3620" name="Freihandform: Form 3619">
                <a:extLst>
                  <a:ext uri="{FF2B5EF4-FFF2-40B4-BE49-F238E27FC236}">
                    <a16:creationId xmlns:a16="http://schemas.microsoft.com/office/drawing/2014/main" id="{F90ACB40-E1AB-ED2E-8BE0-834AD904AF0C}"/>
                  </a:ext>
                </a:extLst>
              </p:cNvPr>
              <p:cNvSpPr/>
              <p:nvPr/>
            </p:nvSpPr>
            <p:spPr>
              <a:xfrm>
                <a:off x="8439161" y="747108"/>
                <a:ext cx="31223" cy="37780"/>
              </a:xfrm>
              <a:custGeom>
                <a:avLst/>
                <a:gdLst>
                  <a:gd name="connsiteX0" fmla="*/ 0 w 31223"/>
                  <a:gd name="connsiteY0" fmla="*/ 37762 h 37780"/>
                  <a:gd name="connsiteX1" fmla="*/ 0 w 31223"/>
                  <a:gd name="connsiteY1" fmla="*/ 0 h 37780"/>
                  <a:gd name="connsiteX2" fmla="*/ 4993 w 31223"/>
                  <a:gd name="connsiteY2" fmla="*/ 0 h 37780"/>
                  <a:gd name="connsiteX3" fmla="*/ 4993 w 31223"/>
                  <a:gd name="connsiteY3" fmla="*/ 18730 h 37780"/>
                  <a:gd name="connsiteX4" fmla="*/ 23742 w 31223"/>
                  <a:gd name="connsiteY4" fmla="*/ 0 h 37780"/>
                  <a:gd name="connsiteX5" fmla="*/ 30526 w 31223"/>
                  <a:gd name="connsiteY5" fmla="*/ 0 h 37780"/>
                  <a:gd name="connsiteX6" fmla="*/ 14679 w 31223"/>
                  <a:gd name="connsiteY6" fmla="*/ 15301 h 37780"/>
                  <a:gd name="connsiteX7" fmla="*/ 31223 w 31223"/>
                  <a:gd name="connsiteY7" fmla="*/ 37762 h 37780"/>
                  <a:gd name="connsiteX8" fmla="*/ 24628 w 31223"/>
                  <a:gd name="connsiteY8" fmla="*/ 37762 h 37780"/>
                  <a:gd name="connsiteX9" fmla="*/ 11174 w 31223"/>
                  <a:gd name="connsiteY9" fmla="*/ 18655 h 37780"/>
                  <a:gd name="connsiteX10" fmla="*/ 4993 w 31223"/>
                  <a:gd name="connsiteY10" fmla="*/ 24685 h 37780"/>
                  <a:gd name="connsiteX11" fmla="*/ 4993 w 31223"/>
                  <a:gd name="connsiteY11" fmla="*/ 37781 h 37780"/>
                  <a:gd name="connsiteX12" fmla="*/ 0 w 31223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223" h="37780">
                    <a:moveTo>
                      <a:pt x="0" y="37762"/>
                    </a:moveTo>
                    <a:lnTo>
                      <a:pt x="0" y="0"/>
                    </a:lnTo>
                    <a:lnTo>
                      <a:pt x="4993" y="0"/>
                    </a:lnTo>
                    <a:lnTo>
                      <a:pt x="4993" y="18730"/>
                    </a:lnTo>
                    <a:lnTo>
                      <a:pt x="23742" y="0"/>
                    </a:lnTo>
                    <a:lnTo>
                      <a:pt x="30526" y="0"/>
                    </a:lnTo>
                    <a:lnTo>
                      <a:pt x="14679" y="15301"/>
                    </a:lnTo>
                    <a:lnTo>
                      <a:pt x="31223" y="37762"/>
                    </a:lnTo>
                    <a:lnTo>
                      <a:pt x="24628" y="37762"/>
                    </a:lnTo>
                    <a:lnTo>
                      <a:pt x="11174" y="18655"/>
                    </a:lnTo>
                    <a:lnTo>
                      <a:pt x="4993" y="24685"/>
                    </a:lnTo>
                    <a:lnTo>
                      <a:pt x="4993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21" name="Freihandform: Form 3620">
                <a:extLst>
                  <a:ext uri="{FF2B5EF4-FFF2-40B4-BE49-F238E27FC236}">
                    <a16:creationId xmlns:a16="http://schemas.microsoft.com/office/drawing/2014/main" id="{35E15EE4-850E-5B6A-7881-2E03A7001D75}"/>
                  </a:ext>
                </a:extLst>
              </p:cNvPr>
              <p:cNvSpPr/>
              <p:nvPr/>
            </p:nvSpPr>
            <p:spPr>
              <a:xfrm>
                <a:off x="8472401" y="756869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1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2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80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9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80" y="27003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22" name="Freihandform: Form 3621">
                <a:extLst>
                  <a:ext uri="{FF2B5EF4-FFF2-40B4-BE49-F238E27FC236}">
                    <a16:creationId xmlns:a16="http://schemas.microsoft.com/office/drawing/2014/main" id="{6B82365A-2475-C83E-C3BC-2059123203C7}"/>
                  </a:ext>
                </a:extLst>
              </p:cNvPr>
              <p:cNvSpPr/>
              <p:nvPr/>
            </p:nvSpPr>
            <p:spPr>
              <a:xfrm>
                <a:off x="8500516" y="757509"/>
                <a:ext cx="25117" cy="27379"/>
              </a:xfrm>
              <a:custGeom>
                <a:avLst/>
                <a:gdLst>
                  <a:gd name="connsiteX0" fmla="*/ 10401 w 25117"/>
                  <a:gd name="connsiteY0" fmla="*/ 27361 h 27379"/>
                  <a:gd name="connsiteX1" fmla="*/ 0 w 25117"/>
                  <a:gd name="connsiteY1" fmla="*/ 0 h 27379"/>
                  <a:gd name="connsiteX2" fmla="*/ 4899 w 25117"/>
                  <a:gd name="connsiteY2" fmla="*/ 0 h 27379"/>
                  <a:gd name="connsiteX3" fmla="*/ 10778 w 25117"/>
                  <a:gd name="connsiteY3" fmla="*/ 16394 h 27379"/>
                  <a:gd name="connsiteX4" fmla="*/ 12531 w 25117"/>
                  <a:gd name="connsiteY4" fmla="*/ 21915 h 27379"/>
                  <a:gd name="connsiteX5" fmla="*/ 14264 w 25117"/>
                  <a:gd name="connsiteY5" fmla="*/ 16714 h 27379"/>
                  <a:gd name="connsiteX6" fmla="*/ 20350 w 25117"/>
                  <a:gd name="connsiteY6" fmla="*/ 19 h 27379"/>
                  <a:gd name="connsiteX7" fmla="*/ 25118 w 25117"/>
                  <a:gd name="connsiteY7" fmla="*/ 19 h 27379"/>
                  <a:gd name="connsiteX8" fmla="*/ 14754 w 25117"/>
                  <a:gd name="connsiteY8" fmla="*/ 27379 h 27379"/>
                  <a:gd name="connsiteX9" fmla="*/ 10420 w 25117"/>
                  <a:gd name="connsiteY9" fmla="*/ 27379 h 2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17" h="27379">
                    <a:moveTo>
                      <a:pt x="10401" y="27361"/>
                    </a:moveTo>
                    <a:lnTo>
                      <a:pt x="0" y="0"/>
                    </a:lnTo>
                    <a:lnTo>
                      <a:pt x="4899" y="0"/>
                    </a:lnTo>
                    <a:lnTo>
                      <a:pt x="10778" y="16394"/>
                    </a:lnTo>
                    <a:cubicBezTo>
                      <a:pt x="11419" y="18165"/>
                      <a:pt x="12003" y="19993"/>
                      <a:pt x="12531" y="21915"/>
                    </a:cubicBezTo>
                    <a:cubicBezTo>
                      <a:pt x="12945" y="20464"/>
                      <a:pt x="13511" y="18730"/>
                      <a:pt x="14264" y="16714"/>
                    </a:cubicBezTo>
                    <a:lnTo>
                      <a:pt x="20350" y="19"/>
                    </a:lnTo>
                    <a:lnTo>
                      <a:pt x="25118" y="19"/>
                    </a:lnTo>
                    <a:lnTo>
                      <a:pt x="14754" y="27379"/>
                    </a:lnTo>
                    <a:lnTo>
                      <a:pt x="10420" y="27379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23" name="Freihandform: Form 3622">
                <a:extLst>
                  <a:ext uri="{FF2B5EF4-FFF2-40B4-BE49-F238E27FC236}">
                    <a16:creationId xmlns:a16="http://schemas.microsoft.com/office/drawing/2014/main" id="{4A270802-9D65-EEAF-2E2F-7019E4340D8A}"/>
                  </a:ext>
                </a:extLst>
              </p:cNvPr>
              <p:cNvSpPr/>
              <p:nvPr/>
            </p:nvSpPr>
            <p:spPr>
              <a:xfrm>
                <a:off x="8528121" y="756869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0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0 w 25193"/>
                  <a:gd name="connsiteY37" fmla="*/ 15979 h 28623"/>
                  <a:gd name="connsiteX38" fmla="*/ 19050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9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5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2" y="25834"/>
                      <a:pt x="24610" y="26927"/>
                      <a:pt x="25193" y="27964"/>
                    </a:cubicBezTo>
                    <a:lnTo>
                      <a:pt x="20351" y="27964"/>
                    </a:lnTo>
                    <a:cubicBezTo>
                      <a:pt x="19880" y="27003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24" name="Freihandform: Form 3623">
                <a:extLst>
                  <a:ext uri="{FF2B5EF4-FFF2-40B4-BE49-F238E27FC236}">
                    <a16:creationId xmlns:a16="http://schemas.microsoft.com/office/drawing/2014/main" id="{0E64FE56-0163-095B-C150-9848AA12ABD3}"/>
                  </a:ext>
                </a:extLst>
              </p:cNvPr>
              <p:cNvSpPr/>
              <p:nvPr/>
            </p:nvSpPr>
            <p:spPr>
              <a:xfrm>
                <a:off x="8558930" y="747108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25" name="Freihandform: Form 3624">
                <a:extLst>
                  <a:ext uri="{FF2B5EF4-FFF2-40B4-BE49-F238E27FC236}">
                    <a16:creationId xmlns:a16="http://schemas.microsoft.com/office/drawing/2014/main" id="{F545A2BF-0516-20B7-D362-23E28E229CB4}"/>
                  </a:ext>
                </a:extLst>
              </p:cNvPr>
              <p:cNvSpPr/>
              <p:nvPr/>
            </p:nvSpPr>
            <p:spPr>
              <a:xfrm>
                <a:off x="8569181" y="756869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0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1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6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0 w 25193"/>
                  <a:gd name="connsiteY37" fmla="*/ 15979 h 28623"/>
                  <a:gd name="connsiteX38" fmla="*/ 19050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9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5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2" y="25834"/>
                      <a:pt x="24610" y="26927"/>
                      <a:pt x="25193" y="27964"/>
                    </a:cubicBezTo>
                    <a:lnTo>
                      <a:pt x="20351" y="27964"/>
                    </a:lnTo>
                    <a:cubicBezTo>
                      <a:pt x="19880" y="27003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73" name="Grafik 21">
              <a:extLst>
                <a:ext uri="{FF2B5EF4-FFF2-40B4-BE49-F238E27FC236}">
                  <a16:creationId xmlns:a16="http://schemas.microsoft.com/office/drawing/2014/main" id="{BE59485D-BDF4-57ED-D911-AF49FCD168DC}"/>
                </a:ext>
              </a:extLst>
            </p:cNvPr>
            <p:cNvGrpSpPr/>
            <p:nvPr/>
          </p:nvGrpSpPr>
          <p:grpSpPr>
            <a:xfrm>
              <a:off x="7793926" y="2508963"/>
              <a:ext cx="225253" cy="48898"/>
              <a:chOff x="7793926" y="2508963"/>
              <a:chExt cx="225253" cy="48898"/>
            </a:xfrm>
            <a:solidFill>
              <a:srgbClr val="000000"/>
            </a:solidFill>
          </p:grpSpPr>
          <p:sp>
            <p:nvSpPr>
              <p:cNvPr id="3612" name="Freihandform: Form 3611">
                <a:extLst>
                  <a:ext uri="{FF2B5EF4-FFF2-40B4-BE49-F238E27FC236}">
                    <a16:creationId xmlns:a16="http://schemas.microsoft.com/office/drawing/2014/main" id="{807AF15B-FBCD-A62F-DAEC-51B83681D21E}"/>
                  </a:ext>
                </a:extLst>
              </p:cNvPr>
              <p:cNvSpPr/>
              <p:nvPr/>
            </p:nvSpPr>
            <p:spPr>
              <a:xfrm>
                <a:off x="7793926" y="2508963"/>
                <a:ext cx="29622" cy="37762"/>
              </a:xfrm>
              <a:custGeom>
                <a:avLst/>
                <a:gdLst>
                  <a:gd name="connsiteX0" fmla="*/ 0 w 29622"/>
                  <a:gd name="connsiteY0" fmla="*/ 37762 h 37762"/>
                  <a:gd name="connsiteX1" fmla="*/ 0 w 29622"/>
                  <a:gd name="connsiteY1" fmla="*/ 0 h 37762"/>
                  <a:gd name="connsiteX2" fmla="*/ 4994 w 29622"/>
                  <a:gd name="connsiteY2" fmla="*/ 0 h 37762"/>
                  <a:gd name="connsiteX3" fmla="*/ 4994 w 29622"/>
                  <a:gd name="connsiteY3" fmla="*/ 15508 h 37762"/>
                  <a:gd name="connsiteX4" fmla="*/ 24628 w 29622"/>
                  <a:gd name="connsiteY4" fmla="*/ 15508 h 37762"/>
                  <a:gd name="connsiteX5" fmla="*/ 24628 w 29622"/>
                  <a:gd name="connsiteY5" fmla="*/ 0 h 37762"/>
                  <a:gd name="connsiteX6" fmla="*/ 29622 w 29622"/>
                  <a:gd name="connsiteY6" fmla="*/ 0 h 37762"/>
                  <a:gd name="connsiteX7" fmla="*/ 29622 w 29622"/>
                  <a:gd name="connsiteY7" fmla="*/ 37762 h 37762"/>
                  <a:gd name="connsiteX8" fmla="*/ 24628 w 29622"/>
                  <a:gd name="connsiteY8" fmla="*/ 37762 h 37762"/>
                  <a:gd name="connsiteX9" fmla="*/ 24628 w 29622"/>
                  <a:gd name="connsiteY9" fmla="*/ 19955 h 37762"/>
                  <a:gd name="connsiteX10" fmla="*/ 4994 w 29622"/>
                  <a:gd name="connsiteY10" fmla="*/ 19955 h 37762"/>
                  <a:gd name="connsiteX11" fmla="*/ 4994 w 29622"/>
                  <a:gd name="connsiteY11" fmla="*/ 37762 h 37762"/>
                  <a:gd name="connsiteX12" fmla="*/ 0 w 29622"/>
                  <a:gd name="connsiteY12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22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994" y="0"/>
                    </a:lnTo>
                    <a:lnTo>
                      <a:pt x="4994" y="15508"/>
                    </a:lnTo>
                    <a:lnTo>
                      <a:pt x="24628" y="15508"/>
                    </a:lnTo>
                    <a:lnTo>
                      <a:pt x="24628" y="0"/>
                    </a:lnTo>
                    <a:lnTo>
                      <a:pt x="29622" y="0"/>
                    </a:lnTo>
                    <a:lnTo>
                      <a:pt x="29622" y="37762"/>
                    </a:lnTo>
                    <a:lnTo>
                      <a:pt x="24628" y="37762"/>
                    </a:lnTo>
                    <a:lnTo>
                      <a:pt x="24628" y="19955"/>
                    </a:lnTo>
                    <a:lnTo>
                      <a:pt x="4994" y="19955"/>
                    </a:lnTo>
                    <a:lnTo>
                      <a:pt x="4994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13" name="Freihandform: Form 3612">
                <a:extLst>
                  <a:ext uri="{FF2B5EF4-FFF2-40B4-BE49-F238E27FC236}">
                    <a16:creationId xmlns:a16="http://schemas.microsoft.com/office/drawing/2014/main" id="{95D3E60E-492E-2240-6AC7-D05045FC0645}"/>
                  </a:ext>
                </a:extLst>
              </p:cNvPr>
              <p:cNvSpPr/>
              <p:nvPr/>
            </p:nvSpPr>
            <p:spPr>
              <a:xfrm>
                <a:off x="7831180" y="2519327"/>
                <a:ext cx="22159" cy="28020"/>
              </a:xfrm>
              <a:custGeom>
                <a:avLst/>
                <a:gdLst>
                  <a:gd name="connsiteX0" fmla="*/ 18033 w 22159"/>
                  <a:gd name="connsiteY0" fmla="*/ 27398 h 28020"/>
                  <a:gd name="connsiteX1" fmla="*/ 18033 w 22159"/>
                  <a:gd name="connsiteY1" fmla="*/ 23385 h 28020"/>
                  <a:gd name="connsiteX2" fmla="*/ 9347 w 22159"/>
                  <a:gd name="connsiteY2" fmla="*/ 28020 h 28020"/>
                  <a:gd name="connsiteX3" fmla="*/ 4824 w 22159"/>
                  <a:gd name="connsiteY3" fmla="*/ 27097 h 28020"/>
                  <a:gd name="connsiteX4" fmla="*/ 1715 w 22159"/>
                  <a:gd name="connsiteY4" fmla="*/ 24760 h 28020"/>
                  <a:gd name="connsiteX5" fmla="*/ 283 w 22159"/>
                  <a:gd name="connsiteY5" fmla="*/ 21312 h 28020"/>
                  <a:gd name="connsiteX6" fmla="*/ 0 w 22159"/>
                  <a:gd name="connsiteY6" fmla="*/ 16978 h 28020"/>
                  <a:gd name="connsiteX7" fmla="*/ 0 w 22159"/>
                  <a:gd name="connsiteY7" fmla="*/ 19 h 28020"/>
                  <a:gd name="connsiteX8" fmla="*/ 4636 w 22159"/>
                  <a:gd name="connsiteY8" fmla="*/ 19 h 28020"/>
                  <a:gd name="connsiteX9" fmla="*/ 4636 w 22159"/>
                  <a:gd name="connsiteY9" fmla="*/ 15188 h 28020"/>
                  <a:gd name="connsiteX10" fmla="*/ 4918 w 22159"/>
                  <a:gd name="connsiteY10" fmla="*/ 20087 h 28020"/>
                  <a:gd name="connsiteX11" fmla="*/ 6765 w 22159"/>
                  <a:gd name="connsiteY11" fmla="*/ 22951 h 28020"/>
                  <a:gd name="connsiteX12" fmla="*/ 10270 w 22159"/>
                  <a:gd name="connsiteY12" fmla="*/ 23988 h 28020"/>
                  <a:gd name="connsiteX13" fmla="*/ 14189 w 22159"/>
                  <a:gd name="connsiteY13" fmla="*/ 22914 h 28020"/>
                  <a:gd name="connsiteX14" fmla="*/ 16771 w 22159"/>
                  <a:gd name="connsiteY14" fmla="*/ 20012 h 28020"/>
                  <a:gd name="connsiteX15" fmla="*/ 17524 w 22159"/>
                  <a:gd name="connsiteY15" fmla="*/ 14660 h 28020"/>
                  <a:gd name="connsiteX16" fmla="*/ 17524 w 22159"/>
                  <a:gd name="connsiteY16" fmla="*/ 0 h 28020"/>
                  <a:gd name="connsiteX17" fmla="*/ 22160 w 22159"/>
                  <a:gd name="connsiteY17" fmla="*/ 0 h 28020"/>
                  <a:gd name="connsiteX18" fmla="*/ 22160 w 22159"/>
                  <a:gd name="connsiteY18" fmla="*/ 27361 h 28020"/>
                  <a:gd name="connsiteX19" fmla="*/ 18014 w 22159"/>
                  <a:gd name="connsiteY19" fmla="*/ 27361 h 2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159" h="28020">
                    <a:moveTo>
                      <a:pt x="18033" y="27398"/>
                    </a:moveTo>
                    <a:lnTo>
                      <a:pt x="18033" y="23385"/>
                    </a:lnTo>
                    <a:cubicBezTo>
                      <a:pt x="15904" y="26475"/>
                      <a:pt x="13002" y="28020"/>
                      <a:pt x="9347" y="28020"/>
                    </a:cubicBezTo>
                    <a:cubicBezTo>
                      <a:pt x="7726" y="28020"/>
                      <a:pt x="6218" y="27719"/>
                      <a:pt x="4824" y="27097"/>
                    </a:cubicBezTo>
                    <a:cubicBezTo>
                      <a:pt x="3430" y="26475"/>
                      <a:pt x="2393" y="25702"/>
                      <a:pt x="1715" y="24760"/>
                    </a:cubicBezTo>
                    <a:cubicBezTo>
                      <a:pt x="1036" y="23818"/>
                      <a:pt x="565" y="22669"/>
                      <a:pt x="283" y="21312"/>
                    </a:cubicBezTo>
                    <a:cubicBezTo>
                      <a:pt x="94" y="20408"/>
                      <a:pt x="0" y="18957"/>
                      <a:pt x="0" y="16978"/>
                    </a:cubicBezTo>
                    <a:lnTo>
                      <a:pt x="0" y="19"/>
                    </a:lnTo>
                    <a:lnTo>
                      <a:pt x="4636" y="19"/>
                    </a:lnTo>
                    <a:lnTo>
                      <a:pt x="4636" y="15188"/>
                    </a:lnTo>
                    <a:cubicBezTo>
                      <a:pt x="4636" y="17619"/>
                      <a:pt x="4730" y="19239"/>
                      <a:pt x="4918" y="20087"/>
                    </a:cubicBezTo>
                    <a:cubicBezTo>
                      <a:pt x="5201" y="21312"/>
                      <a:pt x="5823" y="22273"/>
                      <a:pt x="6765" y="22951"/>
                    </a:cubicBezTo>
                    <a:cubicBezTo>
                      <a:pt x="7707" y="23649"/>
                      <a:pt x="8876" y="23988"/>
                      <a:pt x="10270" y="23988"/>
                    </a:cubicBezTo>
                    <a:cubicBezTo>
                      <a:pt x="11664" y="23988"/>
                      <a:pt x="12964" y="23630"/>
                      <a:pt x="14189" y="22914"/>
                    </a:cubicBezTo>
                    <a:cubicBezTo>
                      <a:pt x="15414" y="22198"/>
                      <a:pt x="16262" y="21237"/>
                      <a:pt x="16771" y="20012"/>
                    </a:cubicBezTo>
                    <a:cubicBezTo>
                      <a:pt x="17280" y="18787"/>
                      <a:pt x="17524" y="16997"/>
                      <a:pt x="17524" y="14660"/>
                    </a:cubicBezTo>
                    <a:lnTo>
                      <a:pt x="17524" y="0"/>
                    </a:lnTo>
                    <a:lnTo>
                      <a:pt x="22160" y="0"/>
                    </a:lnTo>
                    <a:lnTo>
                      <a:pt x="22160" y="27361"/>
                    </a:lnTo>
                    <a:lnTo>
                      <a:pt x="18014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14" name="Freihandform: Form 3613">
                <a:extLst>
                  <a:ext uri="{FF2B5EF4-FFF2-40B4-BE49-F238E27FC236}">
                    <a16:creationId xmlns:a16="http://schemas.microsoft.com/office/drawing/2014/main" id="{6568BCD8-C47A-BFAE-6E72-C8E6781188E4}"/>
                  </a:ext>
                </a:extLst>
              </p:cNvPr>
              <p:cNvSpPr/>
              <p:nvPr/>
            </p:nvSpPr>
            <p:spPr>
              <a:xfrm>
                <a:off x="7860557" y="2518743"/>
                <a:ext cx="14867" cy="27982"/>
              </a:xfrm>
              <a:custGeom>
                <a:avLst/>
                <a:gdLst>
                  <a:gd name="connsiteX0" fmla="*/ 19 w 14867"/>
                  <a:gd name="connsiteY0" fmla="*/ 27982 h 27982"/>
                  <a:gd name="connsiteX1" fmla="*/ 19 w 14867"/>
                  <a:gd name="connsiteY1" fmla="*/ 622 h 27982"/>
                  <a:gd name="connsiteX2" fmla="*/ 4183 w 14867"/>
                  <a:gd name="connsiteY2" fmla="*/ 622 h 27982"/>
                  <a:gd name="connsiteX3" fmla="*/ 4183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8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19" y="27982"/>
                    </a:moveTo>
                    <a:lnTo>
                      <a:pt x="19" y="622"/>
                    </a:lnTo>
                    <a:lnTo>
                      <a:pt x="4183" y="622"/>
                    </a:lnTo>
                    <a:lnTo>
                      <a:pt x="4183" y="4767"/>
                    </a:lnTo>
                    <a:cubicBezTo>
                      <a:pt x="5239" y="2827"/>
                      <a:pt x="6237" y="1545"/>
                      <a:pt x="7123" y="923"/>
                    </a:cubicBezTo>
                    <a:cubicBezTo>
                      <a:pt x="8008" y="302"/>
                      <a:pt x="9026" y="0"/>
                      <a:pt x="10100" y="0"/>
                    </a:cubicBezTo>
                    <a:cubicBezTo>
                      <a:pt x="11664" y="0"/>
                      <a:pt x="13247" y="490"/>
                      <a:pt x="14867" y="1488"/>
                    </a:cubicBezTo>
                    <a:lnTo>
                      <a:pt x="13266" y="5785"/>
                    </a:lnTo>
                    <a:cubicBezTo>
                      <a:pt x="12135" y="5106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10"/>
                    </a:cubicBezTo>
                    <a:cubicBezTo>
                      <a:pt x="6332" y="6312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15" name="Freihandform: Form 3614">
                <a:extLst>
                  <a:ext uri="{FF2B5EF4-FFF2-40B4-BE49-F238E27FC236}">
                    <a16:creationId xmlns:a16="http://schemas.microsoft.com/office/drawing/2014/main" id="{4C173688-93DF-DB81-FD21-CD044919E42D}"/>
                  </a:ext>
                </a:extLst>
              </p:cNvPr>
              <p:cNvSpPr/>
              <p:nvPr/>
            </p:nvSpPr>
            <p:spPr>
              <a:xfrm>
                <a:off x="7876423" y="2518762"/>
                <a:ext cx="24119" cy="39099"/>
              </a:xfrm>
              <a:custGeom>
                <a:avLst/>
                <a:gdLst>
                  <a:gd name="connsiteX0" fmla="*/ 923 w 24119"/>
                  <a:gd name="connsiteY0" fmla="*/ 30225 h 39099"/>
                  <a:gd name="connsiteX1" fmla="*/ 5427 w 24119"/>
                  <a:gd name="connsiteY1" fmla="*/ 30903 h 39099"/>
                  <a:gd name="connsiteX2" fmla="*/ 6991 w 24119"/>
                  <a:gd name="connsiteY2" fmla="*/ 33937 h 39099"/>
                  <a:gd name="connsiteX3" fmla="*/ 11702 w 24119"/>
                  <a:gd name="connsiteY3" fmla="*/ 35218 h 39099"/>
                  <a:gd name="connsiteX4" fmla="*/ 16677 w 24119"/>
                  <a:gd name="connsiteY4" fmla="*/ 33937 h 39099"/>
                  <a:gd name="connsiteX5" fmla="*/ 19051 w 24119"/>
                  <a:gd name="connsiteY5" fmla="*/ 30338 h 39099"/>
                  <a:gd name="connsiteX6" fmla="*/ 19390 w 24119"/>
                  <a:gd name="connsiteY6" fmla="*/ 24383 h 39099"/>
                  <a:gd name="connsiteX7" fmla="*/ 11815 w 24119"/>
                  <a:gd name="connsiteY7" fmla="*/ 27963 h 39099"/>
                  <a:gd name="connsiteX8" fmla="*/ 3091 w 24119"/>
                  <a:gd name="connsiteY8" fmla="*/ 23893 h 39099"/>
                  <a:gd name="connsiteX9" fmla="*/ 0 w 24119"/>
                  <a:gd name="connsiteY9" fmla="*/ 14133 h 39099"/>
                  <a:gd name="connsiteX10" fmla="*/ 1413 w 24119"/>
                  <a:gd name="connsiteY10" fmla="*/ 6915 h 39099"/>
                  <a:gd name="connsiteX11" fmla="*/ 5521 w 24119"/>
                  <a:gd name="connsiteY11" fmla="*/ 1809 h 39099"/>
                  <a:gd name="connsiteX12" fmla="*/ 11853 w 24119"/>
                  <a:gd name="connsiteY12" fmla="*/ 0 h 39099"/>
                  <a:gd name="connsiteX13" fmla="*/ 19842 w 24119"/>
                  <a:gd name="connsiteY13" fmla="*/ 3919 h 39099"/>
                  <a:gd name="connsiteX14" fmla="*/ 19842 w 24119"/>
                  <a:gd name="connsiteY14" fmla="*/ 622 h 39099"/>
                  <a:gd name="connsiteX15" fmla="*/ 24120 w 24119"/>
                  <a:gd name="connsiteY15" fmla="*/ 622 h 39099"/>
                  <a:gd name="connsiteX16" fmla="*/ 24120 w 24119"/>
                  <a:gd name="connsiteY16" fmla="*/ 24270 h 39099"/>
                  <a:gd name="connsiteX17" fmla="*/ 22820 w 24119"/>
                  <a:gd name="connsiteY17" fmla="*/ 33334 h 39099"/>
                  <a:gd name="connsiteX18" fmla="*/ 18693 w 24119"/>
                  <a:gd name="connsiteY18" fmla="*/ 37555 h 39099"/>
                  <a:gd name="connsiteX19" fmla="*/ 11758 w 24119"/>
                  <a:gd name="connsiteY19" fmla="*/ 39100 h 39099"/>
                  <a:gd name="connsiteX20" fmla="*/ 3844 w 24119"/>
                  <a:gd name="connsiteY20" fmla="*/ 36895 h 39099"/>
                  <a:gd name="connsiteX21" fmla="*/ 942 w 24119"/>
                  <a:gd name="connsiteY21" fmla="*/ 30262 h 39099"/>
                  <a:gd name="connsiteX22" fmla="*/ 4767 w 24119"/>
                  <a:gd name="connsiteY22" fmla="*/ 13793 h 39099"/>
                  <a:gd name="connsiteX23" fmla="*/ 6897 w 24119"/>
                  <a:gd name="connsiteY23" fmla="*/ 21651 h 39099"/>
                  <a:gd name="connsiteX24" fmla="*/ 12248 w 24119"/>
                  <a:gd name="connsiteY24" fmla="*/ 24119 h 39099"/>
                  <a:gd name="connsiteX25" fmla="*/ 17600 w 24119"/>
                  <a:gd name="connsiteY25" fmla="*/ 21651 h 39099"/>
                  <a:gd name="connsiteX26" fmla="*/ 19767 w 24119"/>
                  <a:gd name="connsiteY26" fmla="*/ 13944 h 39099"/>
                  <a:gd name="connsiteX27" fmla="*/ 17543 w 24119"/>
                  <a:gd name="connsiteY27" fmla="*/ 6369 h 39099"/>
                  <a:gd name="connsiteX28" fmla="*/ 12173 w 24119"/>
                  <a:gd name="connsiteY28" fmla="*/ 3825 h 39099"/>
                  <a:gd name="connsiteX29" fmla="*/ 6916 w 24119"/>
                  <a:gd name="connsiteY29" fmla="*/ 6331 h 39099"/>
                  <a:gd name="connsiteX30" fmla="*/ 4749 w 24119"/>
                  <a:gd name="connsiteY30" fmla="*/ 13793 h 39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19" h="39099">
                    <a:moveTo>
                      <a:pt x="923" y="30225"/>
                    </a:moveTo>
                    <a:lnTo>
                      <a:pt x="5427" y="30903"/>
                    </a:lnTo>
                    <a:cubicBezTo>
                      <a:pt x="5615" y="32298"/>
                      <a:pt x="6143" y="33315"/>
                      <a:pt x="6991" y="33937"/>
                    </a:cubicBezTo>
                    <a:cubicBezTo>
                      <a:pt x="8140" y="34804"/>
                      <a:pt x="9705" y="35218"/>
                      <a:pt x="11702" y="35218"/>
                    </a:cubicBezTo>
                    <a:cubicBezTo>
                      <a:pt x="13850" y="35218"/>
                      <a:pt x="15508" y="34785"/>
                      <a:pt x="16677" y="33937"/>
                    </a:cubicBezTo>
                    <a:cubicBezTo>
                      <a:pt x="17845" y="33070"/>
                      <a:pt x="18636" y="31883"/>
                      <a:pt x="19051" y="30338"/>
                    </a:cubicBezTo>
                    <a:cubicBezTo>
                      <a:pt x="19296" y="29396"/>
                      <a:pt x="19409" y="27417"/>
                      <a:pt x="19390" y="24383"/>
                    </a:cubicBezTo>
                    <a:cubicBezTo>
                      <a:pt x="17355" y="26776"/>
                      <a:pt x="14830" y="27963"/>
                      <a:pt x="11815" y="27963"/>
                    </a:cubicBezTo>
                    <a:cubicBezTo>
                      <a:pt x="8046" y="27963"/>
                      <a:pt x="5144" y="26607"/>
                      <a:pt x="3091" y="23893"/>
                    </a:cubicBezTo>
                    <a:cubicBezTo>
                      <a:pt x="1036" y="21180"/>
                      <a:pt x="0" y="17920"/>
                      <a:pt x="0" y="14133"/>
                    </a:cubicBezTo>
                    <a:cubicBezTo>
                      <a:pt x="0" y="11513"/>
                      <a:pt x="471" y="9120"/>
                      <a:pt x="1413" y="6915"/>
                    </a:cubicBezTo>
                    <a:cubicBezTo>
                      <a:pt x="2355" y="4711"/>
                      <a:pt x="3731" y="2996"/>
                      <a:pt x="5521" y="1809"/>
                    </a:cubicBezTo>
                    <a:cubicBezTo>
                      <a:pt x="7311" y="603"/>
                      <a:pt x="9422" y="0"/>
                      <a:pt x="11853" y="0"/>
                    </a:cubicBezTo>
                    <a:cubicBezTo>
                      <a:pt x="15075" y="0"/>
                      <a:pt x="17732" y="1300"/>
                      <a:pt x="19842" y="3919"/>
                    </a:cubicBezTo>
                    <a:lnTo>
                      <a:pt x="19842" y="622"/>
                    </a:lnTo>
                    <a:lnTo>
                      <a:pt x="24120" y="622"/>
                    </a:lnTo>
                    <a:lnTo>
                      <a:pt x="24120" y="24270"/>
                    </a:lnTo>
                    <a:cubicBezTo>
                      <a:pt x="24120" y="28529"/>
                      <a:pt x="23686" y="31544"/>
                      <a:pt x="22820" y="33334"/>
                    </a:cubicBezTo>
                    <a:cubicBezTo>
                      <a:pt x="21953" y="35105"/>
                      <a:pt x="20577" y="36518"/>
                      <a:pt x="18693" y="37555"/>
                    </a:cubicBezTo>
                    <a:cubicBezTo>
                      <a:pt x="16809" y="38591"/>
                      <a:pt x="14491" y="39100"/>
                      <a:pt x="11758" y="39100"/>
                    </a:cubicBezTo>
                    <a:cubicBezTo>
                      <a:pt x="8498" y="39100"/>
                      <a:pt x="5860" y="38365"/>
                      <a:pt x="3844" y="36895"/>
                    </a:cubicBezTo>
                    <a:cubicBezTo>
                      <a:pt x="1828" y="35425"/>
                      <a:pt x="867" y="33221"/>
                      <a:pt x="942" y="30262"/>
                    </a:cubicBezTo>
                    <a:close/>
                    <a:moveTo>
                      <a:pt x="4767" y="13793"/>
                    </a:moveTo>
                    <a:cubicBezTo>
                      <a:pt x="4767" y="17392"/>
                      <a:pt x="5484" y="19993"/>
                      <a:pt x="6897" y="21651"/>
                    </a:cubicBezTo>
                    <a:cubicBezTo>
                      <a:pt x="8329" y="23309"/>
                      <a:pt x="10100" y="24119"/>
                      <a:pt x="12248" y="24119"/>
                    </a:cubicBezTo>
                    <a:cubicBezTo>
                      <a:pt x="14397" y="24119"/>
                      <a:pt x="16168" y="23290"/>
                      <a:pt x="17600" y="21651"/>
                    </a:cubicBezTo>
                    <a:cubicBezTo>
                      <a:pt x="19032" y="20012"/>
                      <a:pt x="19767" y="17430"/>
                      <a:pt x="19767" y="13944"/>
                    </a:cubicBezTo>
                    <a:cubicBezTo>
                      <a:pt x="19767" y="10458"/>
                      <a:pt x="19032" y="8065"/>
                      <a:pt x="17543" y="6369"/>
                    </a:cubicBezTo>
                    <a:cubicBezTo>
                      <a:pt x="16055" y="4673"/>
                      <a:pt x="14265" y="3825"/>
                      <a:pt x="12173" y="3825"/>
                    </a:cubicBezTo>
                    <a:cubicBezTo>
                      <a:pt x="10081" y="3825"/>
                      <a:pt x="8367" y="4654"/>
                      <a:pt x="6916" y="6331"/>
                    </a:cubicBezTo>
                    <a:cubicBezTo>
                      <a:pt x="5465" y="8008"/>
                      <a:pt x="4749" y="10496"/>
                      <a:pt x="4749" y="1379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16" name="Freihandform: Form 3615">
                <a:extLst>
                  <a:ext uri="{FF2B5EF4-FFF2-40B4-BE49-F238E27FC236}">
                    <a16:creationId xmlns:a16="http://schemas.microsoft.com/office/drawing/2014/main" id="{E80BC73B-BC34-60E3-BC70-97FF09786852}"/>
                  </a:ext>
                </a:extLst>
              </p:cNvPr>
              <p:cNvSpPr/>
              <p:nvPr/>
            </p:nvSpPr>
            <p:spPr>
              <a:xfrm>
                <a:off x="7907552" y="2508963"/>
                <a:ext cx="22272" cy="37762"/>
              </a:xfrm>
              <a:custGeom>
                <a:avLst/>
                <a:gdLst>
                  <a:gd name="connsiteX0" fmla="*/ 0 w 22272"/>
                  <a:gd name="connsiteY0" fmla="*/ 37762 h 37762"/>
                  <a:gd name="connsiteX1" fmla="*/ 0 w 22272"/>
                  <a:gd name="connsiteY1" fmla="*/ 0 h 37762"/>
                  <a:gd name="connsiteX2" fmla="*/ 4635 w 22272"/>
                  <a:gd name="connsiteY2" fmla="*/ 0 h 37762"/>
                  <a:gd name="connsiteX3" fmla="*/ 4635 w 22272"/>
                  <a:gd name="connsiteY3" fmla="*/ 13549 h 37762"/>
                  <a:gd name="connsiteX4" fmla="*/ 12832 w 22272"/>
                  <a:gd name="connsiteY4" fmla="*/ 9780 h 37762"/>
                  <a:gd name="connsiteX5" fmla="*/ 18109 w 22272"/>
                  <a:gd name="connsiteY5" fmla="*/ 10986 h 37762"/>
                  <a:gd name="connsiteX6" fmla="*/ 21312 w 22272"/>
                  <a:gd name="connsiteY6" fmla="*/ 14302 h 37762"/>
                  <a:gd name="connsiteX7" fmla="*/ 22273 w 22272"/>
                  <a:gd name="connsiteY7" fmla="*/ 20426 h 37762"/>
                  <a:gd name="connsiteX8" fmla="*/ 22273 w 22272"/>
                  <a:gd name="connsiteY8" fmla="*/ 37762 h 37762"/>
                  <a:gd name="connsiteX9" fmla="*/ 17638 w 22272"/>
                  <a:gd name="connsiteY9" fmla="*/ 37762 h 37762"/>
                  <a:gd name="connsiteX10" fmla="*/ 17638 w 22272"/>
                  <a:gd name="connsiteY10" fmla="*/ 20426 h 37762"/>
                  <a:gd name="connsiteX11" fmla="*/ 16130 w 22272"/>
                  <a:gd name="connsiteY11" fmla="*/ 15357 h 37762"/>
                  <a:gd name="connsiteX12" fmla="*/ 11871 w 22272"/>
                  <a:gd name="connsiteY12" fmla="*/ 13775 h 37762"/>
                  <a:gd name="connsiteX13" fmla="*/ 7990 w 22272"/>
                  <a:gd name="connsiteY13" fmla="*/ 14849 h 37762"/>
                  <a:gd name="connsiteX14" fmla="*/ 5408 w 22272"/>
                  <a:gd name="connsiteY14" fmla="*/ 17751 h 37762"/>
                  <a:gd name="connsiteX15" fmla="*/ 4635 w 22272"/>
                  <a:gd name="connsiteY15" fmla="*/ 22801 h 37762"/>
                  <a:gd name="connsiteX16" fmla="*/ 4635 w 22272"/>
                  <a:gd name="connsiteY16" fmla="*/ 37762 h 37762"/>
                  <a:gd name="connsiteX17" fmla="*/ 0 w 22272"/>
                  <a:gd name="connsiteY17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272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549"/>
                    </a:lnTo>
                    <a:cubicBezTo>
                      <a:pt x="6803" y="11042"/>
                      <a:pt x="9535" y="9780"/>
                      <a:pt x="12832" y="9780"/>
                    </a:cubicBezTo>
                    <a:cubicBezTo>
                      <a:pt x="14849" y="9780"/>
                      <a:pt x="16620" y="10175"/>
                      <a:pt x="18109" y="10986"/>
                    </a:cubicBezTo>
                    <a:cubicBezTo>
                      <a:pt x="19597" y="11796"/>
                      <a:pt x="20671" y="12889"/>
                      <a:pt x="21312" y="14302"/>
                    </a:cubicBezTo>
                    <a:cubicBezTo>
                      <a:pt x="21953" y="15716"/>
                      <a:pt x="22273" y="17751"/>
                      <a:pt x="22273" y="20426"/>
                    </a:cubicBezTo>
                    <a:lnTo>
                      <a:pt x="22273" y="37762"/>
                    </a:lnTo>
                    <a:lnTo>
                      <a:pt x="17638" y="37762"/>
                    </a:lnTo>
                    <a:lnTo>
                      <a:pt x="17638" y="20426"/>
                    </a:lnTo>
                    <a:cubicBezTo>
                      <a:pt x="17638" y="18108"/>
                      <a:pt x="17129" y="16413"/>
                      <a:pt x="16130" y="15357"/>
                    </a:cubicBezTo>
                    <a:cubicBezTo>
                      <a:pt x="15131" y="14302"/>
                      <a:pt x="13699" y="13775"/>
                      <a:pt x="11871" y="13775"/>
                    </a:cubicBezTo>
                    <a:cubicBezTo>
                      <a:pt x="10496" y="13775"/>
                      <a:pt x="9196" y="14133"/>
                      <a:pt x="7990" y="14849"/>
                    </a:cubicBezTo>
                    <a:cubicBezTo>
                      <a:pt x="6784" y="15565"/>
                      <a:pt x="5917" y="16526"/>
                      <a:pt x="5408" y="17751"/>
                    </a:cubicBezTo>
                    <a:cubicBezTo>
                      <a:pt x="4899" y="18975"/>
                      <a:pt x="4635" y="20652"/>
                      <a:pt x="4635" y="22801"/>
                    </a:cubicBez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17" name="Freihandform: Form 3616">
                <a:extLst>
                  <a:ext uri="{FF2B5EF4-FFF2-40B4-BE49-F238E27FC236}">
                    <a16:creationId xmlns:a16="http://schemas.microsoft.com/office/drawing/2014/main" id="{3F19829C-DFF9-980F-D59B-A2472A592CBF}"/>
                  </a:ext>
                </a:extLst>
              </p:cNvPr>
              <p:cNvSpPr/>
              <p:nvPr/>
            </p:nvSpPr>
            <p:spPr>
              <a:xfrm>
                <a:off x="7935308" y="2518724"/>
                <a:ext cx="25174" cy="28622"/>
              </a:xfrm>
              <a:custGeom>
                <a:avLst/>
                <a:gdLst>
                  <a:gd name="connsiteX0" fmla="*/ 19428 w 25174"/>
                  <a:gd name="connsiteY0" fmla="*/ 24628 h 28622"/>
                  <a:gd name="connsiteX1" fmla="*/ 14472 w 25174"/>
                  <a:gd name="connsiteY1" fmla="*/ 27719 h 28622"/>
                  <a:gd name="connsiteX2" fmla="*/ 9365 w 25174"/>
                  <a:gd name="connsiteY2" fmla="*/ 28623 h 28622"/>
                  <a:gd name="connsiteX3" fmla="*/ 2431 w 25174"/>
                  <a:gd name="connsiteY3" fmla="*/ 26418 h 28622"/>
                  <a:gd name="connsiteX4" fmla="*/ 0 w 25174"/>
                  <a:gd name="connsiteY4" fmla="*/ 20784 h 28622"/>
                  <a:gd name="connsiteX5" fmla="*/ 904 w 25174"/>
                  <a:gd name="connsiteY5" fmla="*/ 17110 h 28622"/>
                  <a:gd name="connsiteX6" fmla="*/ 3298 w 25174"/>
                  <a:gd name="connsiteY6" fmla="*/ 14434 h 28622"/>
                  <a:gd name="connsiteX7" fmla="*/ 6633 w 25174"/>
                  <a:gd name="connsiteY7" fmla="*/ 12908 h 28622"/>
                  <a:gd name="connsiteX8" fmla="*/ 10759 w 25174"/>
                  <a:gd name="connsiteY8" fmla="*/ 12210 h 28622"/>
                  <a:gd name="connsiteX9" fmla="*/ 19032 w 25174"/>
                  <a:gd name="connsiteY9" fmla="*/ 10609 h 28622"/>
                  <a:gd name="connsiteX10" fmla="*/ 19051 w 25174"/>
                  <a:gd name="connsiteY10" fmla="*/ 9403 h 28622"/>
                  <a:gd name="connsiteX11" fmla="*/ 17732 w 25174"/>
                  <a:gd name="connsiteY11" fmla="*/ 5408 h 28622"/>
                  <a:gd name="connsiteX12" fmla="*/ 12456 w 25174"/>
                  <a:gd name="connsiteY12" fmla="*/ 3844 h 28622"/>
                  <a:gd name="connsiteX13" fmla="*/ 7632 w 25174"/>
                  <a:gd name="connsiteY13" fmla="*/ 4994 h 28622"/>
                  <a:gd name="connsiteX14" fmla="*/ 5333 w 25174"/>
                  <a:gd name="connsiteY14" fmla="*/ 9045 h 28622"/>
                  <a:gd name="connsiteX15" fmla="*/ 792 w 25174"/>
                  <a:gd name="connsiteY15" fmla="*/ 8423 h 28622"/>
                  <a:gd name="connsiteX16" fmla="*/ 2827 w 25174"/>
                  <a:gd name="connsiteY16" fmla="*/ 3712 h 28622"/>
                  <a:gd name="connsiteX17" fmla="*/ 6916 w 25174"/>
                  <a:gd name="connsiteY17" fmla="*/ 961 h 28622"/>
                  <a:gd name="connsiteX18" fmla="*/ 13115 w 25174"/>
                  <a:gd name="connsiteY18" fmla="*/ 0 h 28622"/>
                  <a:gd name="connsiteX19" fmla="*/ 18806 w 25174"/>
                  <a:gd name="connsiteY19" fmla="*/ 829 h 28622"/>
                  <a:gd name="connsiteX20" fmla="*/ 22028 w 25174"/>
                  <a:gd name="connsiteY20" fmla="*/ 2902 h 28622"/>
                  <a:gd name="connsiteX21" fmla="*/ 23479 w 25174"/>
                  <a:gd name="connsiteY21" fmla="*/ 6049 h 28622"/>
                  <a:gd name="connsiteX22" fmla="*/ 23705 w 25174"/>
                  <a:gd name="connsiteY22" fmla="*/ 10326 h 28622"/>
                  <a:gd name="connsiteX23" fmla="*/ 23705 w 25174"/>
                  <a:gd name="connsiteY23" fmla="*/ 16507 h 28622"/>
                  <a:gd name="connsiteX24" fmla="*/ 24006 w 25174"/>
                  <a:gd name="connsiteY24" fmla="*/ 24685 h 28622"/>
                  <a:gd name="connsiteX25" fmla="*/ 25175 w 25174"/>
                  <a:gd name="connsiteY25" fmla="*/ 27963 h 28622"/>
                  <a:gd name="connsiteX26" fmla="*/ 20332 w 25174"/>
                  <a:gd name="connsiteY26" fmla="*/ 27963 h 28622"/>
                  <a:gd name="connsiteX27" fmla="*/ 19409 w 25174"/>
                  <a:gd name="connsiteY27" fmla="*/ 24590 h 28622"/>
                  <a:gd name="connsiteX28" fmla="*/ 19032 w 25174"/>
                  <a:gd name="connsiteY28" fmla="*/ 14264 h 28622"/>
                  <a:gd name="connsiteX29" fmla="*/ 11457 w 25174"/>
                  <a:gd name="connsiteY29" fmla="*/ 16017 h 28622"/>
                  <a:gd name="connsiteX30" fmla="*/ 7406 w 25174"/>
                  <a:gd name="connsiteY30" fmla="*/ 16940 h 28622"/>
                  <a:gd name="connsiteX31" fmla="*/ 5578 w 25174"/>
                  <a:gd name="connsiteY31" fmla="*/ 18448 h 28622"/>
                  <a:gd name="connsiteX32" fmla="*/ 4937 w 25174"/>
                  <a:gd name="connsiteY32" fmla="*/ 20652 h 28622"/>
                  <a:gd name="connsiteX33" fmla="*/ 6332 w 25174"/>
                  <a:gd name="connsiteY33" fmla="*/ 23743 h 28622"/>
                  <a:gd name="connsiteX34" fmla="*/ 10439 w 25174"/>
                  <a:gd name="connsiteY34" fmla="*/ 24986 h 28622"/>
                  <a:gd name="connsiteX35" fmla="*/ 15207 w 25174"/>
                  <a:gd name="connsiteY35" fmla="*/ 23818 h 28622"/>
                  <a:gd name="connsiteX36" fmla="*/ 18278 w 25174"/>
                  <a:gd name="connsiteY36" fmla="*/ 20615 h 28622"/>
                  <a:gd name="connsiteX37" fmla="*/ 19032 w 25174"/>
                  <a:gd name="connsiteY37" fmla="*/ 15979 h 28622"/>
                  <a:gd name="connsiteX38" fmla="*/ 19032 w 25174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74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2" y="27888"/>
                      <a:pt x="2431" y="26418"/>
                    </a:cubicBezTo>
                    <a:cubicBezTo>
                      <a:pt x="811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04" y="17110"/>
                    </a:cubicBezTo>
                    <a:cubicBezTo>
                      <a:pt x="1508" y="15998"/>
                      <a:pt x="2318" y="15112"/>
                      <a:pt x="3298" y="14434"/>
                    </a:cubicBezTo>
                    <a:cubicBezTo>
                      <a:pt x="4277" y="13756"/>
                      <a:pt x="5408" y="13266"/>
                      <a:pt x="6633" y="12908"/>
                    </a:cubicBezTo>
                    <a:cubicBezTo>
                      <a:pt x="7537" y="12663"/>
                      <a:pt x="8913" y="12437"/>
                      <a:pt x="10759" y="12210"/>
                    </a:cubicBezTo>
                    <a:cubicBezTo>
                      <a:pt x="14510" y="11758"/>
                      <a:pt x="17261" y="11231"/>
                      <a:pt x="19032" y="10609"/>
                    </a:cubicBezTo>
                    <a:cubicBezTo>
                      <a:pt x="19032" y="9968"/>
                      <a:pt x="19051" y="9572"/>
                      <a:pt x="19051" y="9403"/>
                    </a:cubicBezTo>
                    <a:cubicBezTo>
                      <a:pt x="19051" y="7518"/>
                      <a:pt x="18617" y="6181"/>
                      <a:pt x="17732" y="5408"/>
                    </a:cubicBezTo>
                    <a:cubicBezTo>
                      <a:pt x="16545" y="4353"/>
                      <a:pt x="14792" y="3844"/>
                      <a:pt x="12456" y="3844"/>
                    </a:cubicBezTo>
                    <a:cubicBezTo>
                      <a:pt x="10270" y="3844"/>
                      <a:pt x="8668" y="4221"/>
                      <a:pt x="7632" y="4994"/>
                    </a:cubicBezTo>
                    <a:cubicBezTo>
                      <a:pt x="6595" y="5766"/>
                      <a:pt x="5823" y="7104"/>
                      <a:pt x="5333" y="9045"/>
                    </a:cubicBezTo>
                    <a:lnTo>
                      <a:pt x="792" y="8423"/>
                    </a:lnTo>
                    <a:cubicBezTo>
                      <a:pt x="1206" y="6482"/>
                      <a:pt x="1884" y="4918"/>
                      <a:pt x="2827" y="3712"/>
                    </a:cubicBezTo>
                    <a:cubicBezTo>
                      <a:pt x="3769" y="2525"/>
                      <a:pt x="5125" y="1602"/>
                      <a:pt x="6916" y="961"/>
                    </a:cubicBezTo>
                    <a:cubicBezTo>
                      <a:pt x="8706" y="320"/>
                      <a:pt x="10759" y="0"/>
                      <a:pt x="13115" y="0"/>
                    </a:cubicBezTo>
                    <a:cubicBezTo>
                      <a:pt x="15470" y="0"/>
                      <a:pt x="17355" y="283"/>
                      <a:pt x="18806" y="829"/>
                    </a:cubicBezTo>
                    <a:cubicBezTo>
                      <a:pt x="20257" y="1376"/>
                      <a:pt x="21331" y="2073"/>
                      <a:pt x="22028" y="2902"/>
                    </a:cubicBezTo>
                    <a:cubicBezTo>
                      <a:pt x="22706" y="3731"/>
                      <a:pt x="23196" y="4786"/>
                      <a:pt x="23479" y="6049"/>
                    </a:cubicBezTo>
                    <a:cubicBezTo>
                      <a:pt x="23630" y="6840"/>
                      <a:pt x="23705" y="8272"/>
                      <a:pt x="23705" y="10326"/>
                    </a:cubicBezTo>
                    <a:lnTo>
                      <a:pt x="23705" y="16507"/>
                    </a:lnTo>
                    <a:cubicBezTo>
                      <a:pt x="23705" y="20822"/>
                      <a:pt x="23799" y="23535"/>
                      <a:pt x="24006" y="24685"/>
                    </a:cubicBezTo>
                    <a:cubicBezTo>
                      <a:pt x="24214" y="25834"/>
                      <a:pt x="24591" y="26927"/>
                      <a:pt x="25175" y="27963"/>
                    </a:cubicBezTo>
                    <a:lnTo>
                      <a:pt x="20332" y="27963"/>
                    </a:lnTo>
                    <a:cubicBezTo>
                      <a:pt x="19842" y="27002"/>
                      <a:pt x="19541" y="25872"/>
                      <a:pt x="19409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32" y="23743"/>
                    </a:cubicBezTo>
                    <a:cubicBezTo>
                      <a:pt x="7274" y="24572"/>
                      <a:pt x="8630" y="24986"/>
                      <a:pt x="10439" y="24986"/>
                    </a:cubicBezTo>
                    <a:cubicBezTo>
                      <a:pt x="12248" y="24986"/>
                      <a:pt x="13812" y="24590"/>
                      <a:pt x="15207" y="23818"/>
                    </a:cubicBezTo>
                    <a:cubicBezTo>
                      <a:pt x="16601" y="23045"/>
                      <a:pt x="17619" y="21971"/>
                      <a:pt x="18278" y="20615"/>
                    </a:cubicBezTo>
                    <a:cubicBezTo>
                      <a:pt x="18768" y="19559"/>
                      <a:pt x="19032" y="18014"/>
                      <a:pt x="19032" y="15979"/>
                    </a:cubicBezTo>
                    <a:lnTo>
                      <a:pt x="19032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18" name="Freihandform: Form 3617">
                <a:extLst>
                  <a:ext uri="{FF2B5EF4-FFF2-40B4-BE49-F238E27FC236}">
                    <a16:creationId xmlns:a16="http://schemas.microsoft.com/office/drawing/2014/main" id="{AD7F6302-5F11-1D52-23D0-DDCD987987E7}"/>
                  </a:ext>
                </a:extLst>
              </p:cNvPr>
              <p:cNvSpPr/>
              <p:nvPr/>
            </p:nvSpPr>
            <p:spPr>
              <a:xfrm>
                <a:off x="7964553" y="2508982"/>
                <a:ext cx="23723" cy="38365"/>
              </a:xfrm>
              <a:custGeom>
                <a:avLst/>
                <a:gdLst>
                  <a:gd name="connsiteX0" fmla="*/ 19428 w 23723"/>
                  <a:gd name="connsiteY0" fmla="*/ 37743 h 38365"/>
                  <a:gd name="connsiteX1" fmla="*/ 19428 w 23723"/>
                  <a:gd name="connsiteY1" fmla="*/ 34295 h 38365"/>
                  <a:gd name="connsiteX2" fmla="*/ 11777 w 23723"/>
                  <a:gd name="connsiteY2" fmla="*/ 38365 h 38365"/>
                  <a:gd name="connsiteX3" fmla="*/ 5766 w 23723"/>
                  <a:gd name="connsiteY3" fmla="*/ 36556 h 38365"/>
                  <a:gd name="connsiteX4" fmla="*/ 1508 w 23723"/>
                  <a:gd name="connsiteY4" fmla="*/ 31525 h 38365"/>
                  <a:gd name="connsiteX5" fmla="*/ 0 w 23723"/>
                  <a:gd name="connsiteY5" fmla="*/ 24101 h 38365"/>
                  <a:gd name="connsiteX6" fmla="*/ 1357 w 23723"/>
                  <a:gd name="connsiteY6" fmla="*/ 16676 h 38365"/>
                  <a:gd name="connsiteX7" fmla="*/ 5446 w 23723"/>
                  <a:gd name="connsiteY7" fmla="*/ 11570 h 38365"/>
                  <a:gd name="connsiteX8" fmla="*/ 11551 w 23723"/>
                  <a:gd name="connsiteY8" fmla="*/ 9799 h 38365"/>
                  <a:gd name="connsiteX9" fmla="*/ 15960 w 23723"/>
                  <a:gd name="connsiteY9" fmla="*/ 10835 h 38365"/>
                  <a:gd name="connsiteX10" fmla="*/ 19107 w 23723"/>
                  <a:gd name="connsiteY10" fmla="*/ 13549 h 38365"/>
                  <a:gd name="connsiteX11" fmla="*/ 19107 w 23723"/>
                  <a:gd name="connsiteY11" fmla="*/ 0 h 38365"/>
                  <a:gd name="connsiteX12" fmla="*/ 23724 w 23723"/>
                  <a:gd name="connsiteY12" fmla="*/ 0 h 38365"/>
                  <a:gd name="connsiteX13" fmla="*/ 23724 w 23723"/>
                  <a:gd name="connsiteY13" fmla="*/ 37762 h 38365"/>
                  <a:gd name="connsiteX14" fmla="*/ 19428 w 23723"/>
                  <a:gd name="connsiteY14" fmla="*/ 37762 h 38365"/>
                  <a:gd name="connsiteX15" fmla="*/ 4767 w 23723"/>
                  <a:gd name="connsiteY15" fmla="*/ 24082 h 38365"/>
                  <a:gd name="connsiteX16" fmla="*/ 6991 w 23723"/>
                  <a:gd name="connsiteY16" fmla="*/ 31940 h 38365"/>
                  <a:gd name="connsiteX17" fmla="*/ 12229 w 23723"/>
                  <a:gd name="connsiteY17" fmla="*/ 34540 h 38365"/>
                  <a:gd name="connsiteX18" fmla="*/ 17392 w 23723"/>
                  <a:gd name="connsiteY18" fmla="*/ 32053 h 38365"/>
                  <a:gd name="connsiteX19" fmla="*/ 19522 w 23723"/>
                  <a:gd name="connsiteY19" fmla="*/ 24459 h 38365"/>
                  <a:gd name="connsiteX20" fmla="*/ 17355 w 23723"/>
                  <a:gd name="connsiteY20" fmla="*/ 16205 h 38365"/>
                  <a:gd name="connsiteX21" fmla="*/ 12022 w 23723"/>
                  <a:gd name="connsiteY21" fmla="*/ 13586 h 38365"/>
                  <a:gd name="connsiteX22" fmla="*/ 6859 w 23723"/>
                  <a:gd name="connsiteY22" fmla="*/ 16111 h 38365"/>
                  <a:gd name="connsiteX23" fmla="*/ 4786 w 23723"/>
                  <a:gd name="connsiteY23" fmla="*/ 24063 h 38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723" h="38365">
                    <a:moveTo>
                      <a:pt x="19428" y="37743"/>
                    </a:moveTo>
                    <a:lnTo>
                      <a:pt x="19428" y="34295"/>
                    </a:lnTo>
                    <a:cubicBezTo>
                      <a:pt x="17694" y="37008"/>
                      <a:pt x="15131" y="38365"/>
                      <a:pt x="11777" y="38365"/>
                    </a:cubicBezTo>
                    <a:cubicBezTo>
                      <a:pt x="9591" y="38365"/>
                      <a:pt x="7594" y="37762"/>
                      <a:pt x="5766" y="36556"/>
                    </a:cubicBezTo>
                    <a:cubicBezTo>
                      <a:pt x="3938" y="35350"/>
                      <a:pt x="2525" y="33673"/>
                      <a:pt x="1508" y="31525"/>
                    </a:cubicBezTo>
                    <a:cubicBezTo>
                      <a:pt x="490" y="29377"/>
                      <a:pt x="0" y="26890"/>
                      <a:pt x="0" y="24101"/>
                    </a:cubicBezTo>
                    <a:cubicBezTo>
                      <a:pt x="0" y="21312"/>
                      <a:pt x="452" y="18900"/>
                      <a:pt x="1357" y="16676"/>
                    </a:cubicBezTo>
                    <a:cubicBezTo>
                      <a:pt x="2261" y="14453"/>
                      <a:pt x="3637" y="12757"/>
                      <a:pt x="5446" y="11570"/>
                    </a:cubicBezTo>
                    <a:cubicBezTo>
                      <a:pt x="7255" y="10383"/>
                      <a:pt x="9290" y="9799"/>
                      <a:pt x="11551" y="9799"/>
                    </a:cubicBezTo>
                    <a:cubicBezTo>
                      <a:pt x="13209" y="9799"/>
                      <a:pt x="14660" y="10138"/>
                      <a:pt x="15960" y="10835"/>
                    </a:cubicBezTo>
                    <a:cubicBezTo>
                      <a:pt x="17261" y="11532"/>
                      <a:pt x="18297" y="12437"/>
                      <a:pt x="19107" y="13549"/>
                    </a:cubicBezTo>
                    <a:lnTo>
                      <a:pt x="19107" y="0"/>
                    </a:lnTo>
                    <a:lnTo>
                      <a:pt x="23724" y="0"/>
                    </a:lnTo>
                    <a:lnTo>
                      <a:pt x="23724" y="37762"/>
                    </a:lnTo>
                    <a:lnTo>
                      <a:pt x="19428" y="37762"/>
                    </a:lnTo>
                    <a:close/>
                    <a:moveTo>
                      <a:pt x="4767" y="24082"/>
                    </a:moveTo>
                    <a:cubicBezTo>
                      <a:pt x="4767" y="27587"/>
                      <a:pt x="5503" y="30206"/>
                      <a:pt x="6991" y="31940"/>
                    </a:cubicBezTo>
                    <a:cubicBezTo>
                      <a:pt x="8461" y="33673"/>
                      <a:pt x="10213" y="34540"/>
                      <a:pt x="12229" y="34540"/>
                    </a:cubicBezTo>
                    <a:cubicBezTo>
                      <a:pt x="14246" y="34540"/>
                      <a:pt x="15979" y="33711"/>
                      <a:pt x="17392" y="32053"/>
                    </a:cubicBezTo>
                    <a:cubicBezTo>
                      <a:pt x="18806" y="30394"/>
                      <a:pt x="19522" y="27869"/>
                      <a:pt x="19522" y="24459"/>
                    </a:cubicBezTo>
                    <a:cubicBezTo>
                      <a:pt x="19522" y="20709"/>
                      <a:pt x="18806" y="17958"/>
                      <a:pt x="17355" y="16205"/>
                    </a:cubicBezTo>
                    <a:cubicBezTo>
                      <a:pt x="15904" y="14453"/>
                      <a:pt x="14133" y="13586"/>
                      <a:pt x="12022" y="13586"/>
                    </a:cubicBezTo>
                    <a:cubicBezTo>
                      <a:pt x="9912" y="13586"/>
                      <a:pt x="8235" y="14434"/>
                      <a:pt x="6859" y="16111"/>
                    </a:cubicBezTo>
                    <a:cubicBezTo>
                      <a:pt x="5484" y="17788"/>
                      <a:pt x="4786" y="20445"/>
                      <a:pt x="4786" y="2406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19" name="Freihandform: Form 3618">
                <a:extLst>
                  <a:ext uri="{FF2B5EF4-FFF2-40B4-BE49-F238E27FC236}">
                    <a16:creationId xmlns:a16="http://schemas.microsoft.com/office/drawing/2014/main" id="{BED60098-E7DB-4CB5-25AD-3E52CE924177}"/>
                  </a:ext>
                </a:extLst>
              </p:cNvPr>
              <p:cNvSpPr/>
              <p:nvPr/>
            </p:nvSpPr>
            <p:spPr>
              <a:xfrm>
                <a:off x="7994006" y="2518724"/>
                <a:ext cx="25174" cy="28622"/>
              </a:xfrm>
              <a:custGeom>
                <a:avLst/>
                <a:gdLst>
                  <a:gd name="connsiteX0" fmla="*/ 19427 w 25174"/>
                  <a:gd name="connsiteY0" fmla="*/ 24628 h 28622"/>
                  <a:gd name="connsiteX1" fmla="*/ 14472 w 25174"/>
                  <a:gd name="connsiteY1" fmla="*/ 27719 h 28622"/>
                  <a:gd name="connsiteX2" fmla="*/ 9365 w 25174"/>
                  <a:gd name="connsiteY2" fmla="*/ 28623 h 28622"/>
                  <a:gd name="connsiteX3" fmla="*/ 2431 w 25174"/>
                  <a:gd name="connsiteY3" fmla="*/ 26418 h 28622"/>
                  <a:gd name="connsiteX4" fmla="*/ 0 w 25174"/>
                  <a:gd name="connsiteY4" fmla="*/ 20784 h 28622"/>
                  <a:gd name="connsiteX5" fmla="*/ 904 w 25174"/>
                  <a:gd name="connsiteY5" fmla="*/ 17110 h 28622"/>
                  <a:gd name="connsiteX6" fmla="*/ 3298 w 25174"/>
                  <a:gd name="connsiteY6" fmla="*/ 14434 h 28622"/>
                  <a:gd name="connsiteX7" fmla="*/ 6633 w 25174"/>
                  <a:gd name="connsiteY7" fmla="*/ 12908 h 28622"/>
                  <a:gd name="connsiteX8" fmla="*/ 10759 w 25174"/>
                  <a:gd name="connsiteY8" fmla="*/ 12210 h 28622"/>
                  <a:gd name="connsiteX9" fmla="*/ 19032 w 25174"/>
                  <a:gd name="connsiteY9" fmla="*/ 10609 h 28622"/>
                  <a:gd name="connsiteX10" fmla="*/ 19050 w 25174"/>
                  <a:gd name="connsiteY10" fmla="*/ 9403 h 28622"/>
                  <a:gd name="connsiteX11" fmla="*/ 17731 w 25174"/>
                  <a:gd name="connsiteY11" fmla="*/ 5408 h 28622"/>
                  <a:gd name="connsiteX12" fmla="*/ 12455 w 25174"/>
                  <a:gd name="connsiteY12" fmla="*/ 3844 h 28622"/>
                  <a:gd name="connsiteX13" fmla="*/ 7632 w 25174"/>
                  <a:gd name="connsiteY13" fmla="*/ 4994 h 28622"/>
                  <a:gd name="connsiteX14" fmla="*/ 5332 w 25174"/>
                  <a:gd name="connsiteY14" fmla="*/ 9045 h 28622"/>
                  <a:gd name="connsiteX15" fmla="*/ 791 w 25174"/>
                  <a:gd name="connsiteY15" fmla="*/ 8423 h 28622"/>
                  <a:gd name="connsiteX16" fmla="*/ 2827 w 25174"/>
                  <a:gd name="connsiteY16" fmla="*/ 3712 h 28622"/>
                  <a:gd name="connsiteX17" fmla="*/ 6915 w 25174"/>
                  <a:gd name="connsiteY17" fmla="*/ 961 h 28622"/>
                  <a:gd name="connsiteX18" fmla="*/ 13115 w 25174"/>
                  <a:gd name="connsiteY18" fmla="*/ 0 h 28622"/>
                  <a:gd name="connsiteX19" fmla="*/ 18806 w 25174"/>
                  <a:gd name="connsiteY19" fmla="*/ 829 h 28622"/>
                  <a:gd name="connsiteX20" fmla="*/ 22028 w 25174"/>
                  <a:gd name="connsiteY20" fmla="*/ 2902 h 28622"/>
                  <a:gd name="connsiteX21" fmla="*/ 23479 w 25174"/>
                  <a:gd name="connsiteY21" fmla="*/ 6049 h 28622"/>
                  <a:gd name="connsiteX22" fmla="*/ 23705 w 25174"/>
                  <a:gd name="connsiteY22" fmla="*/ 10326 h 28622"/>
                  <a:gd name="connsiteX23" fmla="*/ 23705 w 25174"/>
                  <a:gd name="connsiteY23" fmla="*/ 16507 h 28622"/>
                  <a:gd name="connsiteX24" fmla="*/ 24006 w 25174"/>
                  <a:gd name="connsiteY24" fmla="*/ 24685 h 28622"/>
                  <a:gd name="connsiteX25" fmla="*/ 25174 w 25174"/>
                  <a:gd name="connsiteY25" fmla="*/ 27963 h 28622"/>
                  <a:gd name="connsiteX26" fmla="*/ 20332 w 25174"/>
                  <a:gd name="connsiteY26" fmla="*/ 27963 h 28622"/>
                  <a:gd name="connsiteX27" fmla="*/ 19409 w 25174"/>
                  <a:gd name="connsiteY27" fmla="*/ 24590 h 28622"/>
                  <a:gd name="connsiteX28" fmla="*/ 19032 w 25174"/>
                  <a:gd name="connsiteY28" fmla="*/ 14264 h 28622"/>
                  <a:gd name="connsiteX29" fmla="*/ 11456 w 25174"/>
                  <a:gd name="connsiteY29" fmla="*/ 16017 h 28622"/>
                  <a:gd name="connsiteX30" fmla="*/ 7405 w 25174"/>
                  <a:gd name="connsiteY30" fmla="*/ 16940 h 28622"/>
                  <a:gd name="connsiteX31" fmla="*/ 5578 w 25174"/>
                  <a:gd name="connsiteY31" fmla="*/ 18448 h 28622"/>
                  <a:gd name="connsiteX32" fmla="*/ 4937 w 25174"/>
                  <a:gd name="connsiteY32" fmla="*/ 20652 h 28622"/>
                  <a:gd name="connsiteX33" fmla="*/ 6331 w 25174"/>
                  <a:gd name="connsiteY33" fmla="*/ 23743 h 28622"/>
                  <a:gd name="connsiteX34" fmla="*/ 10439 w 25174"/>
                  <a:gd name="connsiteY34" fmla="*/ 24986 h 28622"/>
                  <a:gd name="connsiteX35" fmla="*/ 15206 w 25174"/>
                  <a:gd name="connsiteY35" fmla="*/ 23818 h 28622"/>
                  <a:gd name="connsiteX36" fmla="*/ 18278 w 25174"/>
                  <a:gd name="connsiteY36" fmla="*/ 20615 h 28622"/>
                  <a:gd name="connsiteX37" fmla="*/ 19032 w 25174"/>
                  <a:gd name="connsiteY37" fmla="*/ 15979 h 28622"/>
                  <a:gd name="connsiteX38" fmla="*/ 19032 w 25174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74" h="28622">
                    <a:moveTo>
                      <a:pt x="19427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04" y="17110"/>
                    </a:cubicBezTo>
                    <a:cubicBezTo>
                      <a:pt x="1508" y="15998"/>
                      <a:pt x="2318" y="15112"/>
                      <a:pt x="3298" y="14434"/>
                    </a:cubicBezTo>
                    <a:cubicBezTo>
                      <a:pt x="4277" y="13756"/>
                      <a:pt x="5408" y="13266"/>
                      <a:pt x="6633" y="12908"/>
                    </a:cubicBezTo>
                    <a:cubicBezTo>
                      <a:pt x="7537" y="12663"/>
                      <a:pt x="8913" y="12437"/>
                      <a:pt x="10759" y="12210"/>
                    </a:cubicBezTo>
                    <a:cubicBezTo>
                      <a:pt x="14509" y="11758"/>
                      <a:pt x="17260" y="11231"/>
                      <a:pt x="19032" y="10609"/>
                    </a:cubicBezTo>
                    <a:cubicBezTo>
                      <a:pt x="19032" y="9968"/>
                      <a:pt x="19050" y="9572"/>
                      <a:pt x="19050" y="9403"/>
                    </a:cubicBezTo>
                    <a:cubicBezTo>
                      <a:pt x="19050" y="7518"/>
                      <a:pt x="18617" y="6181"/>
                      <a:pt x="17731" y="5408"/>
                    </a:cubicBezTo>
                    <a:cubicBezTo>
                      <a:pt x="16545" y="4353"/>
                      <a:pt x="14792" y="3844"/>
                      <a:pt x="12455" y="3844"/>
                    </a:cubicBezTo>
                    <a:cubicBezTo>
                      <a:pt x="10270" y="3844"/>
                      <a:pt x="8668" y="4221"/>
                      <a:pt x="7632" y="4994"/>
                    </a:cubicBezTo>
                    <a:cubicBezTo>
                      <a:pt x="6595" y="5766"/>
                      <a:pt x="5822" y="7104"/>
                      <a:pt x="5332" y="9045"/>
                    </a:cubicBezTo>
                    <a:lnTo>
                      <a:pt x="791" y="8423"/>
                    </a:lnTo>
                    <a:cubicBezTo>
                      <a:pt x="1206" y="6482"/>
                      <a:pt x="1884" y="4918"/>
                      <a:pt x="2827" y="3712"/>
                    </a:cubicBezTo>
                    <a:cubicBezTo>
                      <a:pt x="3769" y="2525"/>
                      <a:pt x="5125" y="1602"/>
                      <a:pt x="6915" y="961"/>
                    </a:cubicBezTo>
                    <a:cubicBezTo>
                      <a:pt x="8705" y="320"/>
                      <a:pt x="10759" y="0"/>
                      <a:pt x="13115" y="0"/>
                    </a:cubicBezTo>
                    <a:cubicBezTo>
                      <a:pt x="15470" y="0"/>
                      <a:pt x="17355" y="283"/>
                      <a:pt x="18806" y="829"/>
                    </a:cubicBezTo>
                    <a:cubicBezTo>
                      <a:pt x="20257" y="1376"/>
                      <a:pt x="21330" y="2073"/>
                      <a:pt x="22028" y="2902"/>
                    </a:cubicBezTo>
                    <a:cubicBezTo>
                      <a:pt x="22706" y="3731"/>
                      <a:pt x="23196" y="4786"/>
                      <a:pt x="23479" y="6049"/>
                    </a:cubicBezTo>
                    <a:cubicBezTo>
                      <a:pt x="23630" y="6840"/>
                      <a:pt x="23705" y="8272"/>
                      <a:pt x="23705" y="10326"/>
                    </a:cubicBezTo>
                    <a:lnTo>
                      <a:pt x="23705" y="16507"/>
                    </a:lnTo>
                    <a:cubicBezTo>
                      <a:pt x="23705" y="20822"/>
                      <a:pt x="23799" y="23535"/>
                      <a:pt x="24006" y="24685"/>
                    </a:cubicBezTo>
                    <a:cubicBezTo>
                      <a:pt x="24213" y="25834"/>
                      <a:pt x="24591" y="26927"/>
                      <a:pt x="25174" y="27963"/>
                    </a:cubicBezTo>
                    <a:lnTo>
                      <a:pt x="20332" y="27963"/>
                    </a:lnTo>
                    <a:cubicBezTo>
                      <a:pt x="19842" y="27002"/>
                      <a:pt x="19540" y="25872"/>
                      <a:pt x="19409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31" y="23743"/>
                    </a:cubicBezTo>
                    <a:cubicBezTo>
                      <a:pt x="7273" y="24572"/>
                      <a:pt x="8630" y="24986"/>
                      <a:pt x="10439" y="24986"/>
                    </a:cubicBezTo>
                    <a:cubicBezTo>
                      <a:pt x="12248" y="24986"/>
                      <a:pt x="13812" y="24590"/>
                      <a:pt x="15206" y="23818"/>
                    </a:cubicBezTo>
                    <a:cubicBezTo>
                      <a:pt x="16601" y="23045"/>
                      <a:pt x="17618" y="21971"/>
                      <a:pt x="18278" y="20615"/>
                    </a:cubicBezTo>
                    <a:cubicBezTo>
                      <a:pt x="18768" y="19559"/>
                      <a:pt x="19032" y="18014"/>
                      <a:pt x="19032" y="15979"/>
                    </a:cubicBezTo>
                    <a:lnTo>
                      <a:pt x="19032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74" name="Grafik 21">
              <a:extLst>
                <a:ext uri="{FF2B5EF4-FFF2-40B4-BE49-F238E27FC236}">
                  <a16:creationId xmlns:a16="http://schemas.microsoft.com/office/drawing/2014/main" id="{A7ABC420-E31F-2D6B-B6F6-AD78F2021031}"/>
                </a:ext>
              </a:extLst>
            </p:cNvPr>
            <p:cNvGrpSpPr/>
            <p:nvPr/>
          </p:nvGrpSpPr>
          <p:grpSpPr>
            <a:xfrm>
              <a:off x="8878344" y="3466206"/>
              <a:ext cx="108236" cy="38383"/>
              <a:chOff x="8878344" y="3466206"/>
              <a:chExt cx="108236" cy="38383"/>
            </a:xfrm>
            <a:solidFill>
              <a:srgbClr val="000000"/>
            </a:solidFill>
          </p:grpSpPr>
          <p:sp>
            <p:nvSpPr>
              <p:cNvPr id="3608" name="Freihandform: Form 3607">
                <a:extLst>
                  <a:ext uri="{FF2B5EF4-FFF2-40B4-BE49-F238E27FC236}">
                    <a16:creationId xmlns:a16="http://schemas.microsoft.com/office/drawing/2014/main" id="{FB193D12-AACD-7CC4-950B-18B394732306}"/>
                  </a:ext>
                </a:extLst>
              </p:cNvPr>
              <p:cNvSpPr/>
              <p:nvPr/>
            </p:nvSpPr>
            <p:spPr>
              <a:xfrm>
                <a:off x="8878344" y="3466206"/>
                <a:ext cx="36047" cy="37762"/>
              </a:xfrm>
              <a:custGeom>
                <a:avLst/>
                <a:gdLst>
                  <a:gd name="connsiteX0" fmla="*/ 0 w 36047"/>
                  <a:gd name="connsiteY0" fmla="*/ 37762 h 37762"/>
                  <a:gd name="connsiteX1" fmla="*/ 0 w 36047"/>
                  <a:gd name="connsiteY1" fmla="*/ 0 h 37762"/>
                  <a:gd name="connsiteX2" fmla="*/ 7519 w 36047"/>
                  <a:gd name="connsiteY2" fmla="*/ 0 h 37762"/>
                  <a:gd name="connsiteX3" fmla="*/ 16451 w 36047"/>
                  <a:gd name="connsiteY3" fmla="*/ 26739 h 37762"/>
                  <a:gd name="connsiteX4" fmla="*/ 18260 w 36047"/>
                  <a:gd name="connsiteY4" fmla="*/ 32335 h 37762"/>
                  <a:gd name="connsiteX5" fmla="*/ 20275 w 36047"/>
                  <a:gd name="connsiteY5" fmla="*/ 26287 h 37762"/>
                  <a:gd name="connsiteX6" fmla="*/ 29320 w 36047"/>
                  <a:gd name="connsiteY6" fmla="*/ 0 h 37762"/>
                  <a:gd name="connsiteX7" fmla="*/ 36048 w 36047"/>
                  <a:gd name="connsiteY7" fmla="*/ 0 h 37762"/>
                  <a:gd name="connsiteX8" fmla="*/ 36048 w 36047"/>
                  <a:gd name="connsiteY8" fmla="*/ 37762 h 37762"/>
                  <a:gd name="connsiteX9" fmla="*/ 31224 w 36047"/>
                  <a:gd name="connsiteY9" fmla="*/ 37762 h 37762"/>
                  <a:gd name="connsiteX10" fmla="*/ 31224 w 36047"/>
                  <a:gd name="connsiteY10" fmla="*/ 6143 h 37762"/>
                  <a:gd name="connsiteX11" fmla="*/ 20257 w 36047"/>
                  <a:gd name="connsiteY11" fmla="*/ 37762 h 37762"/>
                  <a:gd name="connsiteX12" fmla="*/ 15753 w 36047"/>
                  <a:gd name="connsiteY12" fmla="*/ 37762 h 37762"/>
                  <a:gd name="connsiteX13" fmla="*/ 4824 w 36047"/>
                  <a:gd name="connsiteY13" fmla="*/ 5615 h 37762"/>
                  <a:gd name="connsiteX14" fmla="*/ 4824 w 36047"/>
                  <a:gd name="connsiteY14" fmla="*/ 37762 h 37762"/>
                  <a:gd name="connsiteX15" fmla="*/ 0 w 36047"/>
                  <a:gd name="connsiteY15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6047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7519" y="0"/>
                    </a:lnTo>
                    <a:lnTo>
                      <a:pt x="16451" y="26739"/>
                    </a:lnTo>
                    <a:cubicBezTo>
                      <a:pt x="17280" y="29226"/>
                      <a:pt x="17883" y="31092"/>
                      <a:pt x="18260" y="32335"/>
                    </a:cubicBezTo>
                    <a:cubicBezTo>
                      <a:pt x="18693" y="30960"/>
                      <a:pt x="19352" y="28943"/>
                      <a:pt x="20275" y="26287"/>
                    </a:cubicBezTo>
                    <a:lnTo>
                      <a:pt x="29320" y="0"/>
                    </a:lnTo>
                    <a:lnTo>
                      <a:pt x="36048" y="0"/>
                    </a:lnTo>
                    <a:lnTo>
                      <a:pt x="36048" y="37762"/>
                    </a:lnTo>
                    <a:lnTo>
                      <a:pt x="31224" y="37762"/>
                    </a:lnTo>
                    <a:lnTo>
                      <a:pt x="31224" y="6143"/>
                    </a:lnTo>
                    <a:lnTo>
                      <a:pt x="20257" y="37762"/>
                    </a:lnTo>
                    <a:lnTo>
                      <a:pt x="15753" y="37762"/>
                    </a:lnTo>
                    <a:lnTo>
                      <a:pt x="4824" y="5615"/>
                    </a:lnTo>
                    <a:lnTo>
                      <a:pt x="4824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09" name="Freihandform: Form 3608">
                <a:extLst>
                  <a:ext uri="{FF2B5EF4-FFF2-40B4-BE49-F238E27FC236}">
                    <a16:creationId xmlns:a16="http://schemas.microsoft.com/office/drawing/2014/main" id="{5AB337BF-C137-11A5-A687-A4F5A6D8F1E9}"/>
                  </a:ext>
                </a:extLst>
              </p:cNvPr>
              <p:cNvSpPr/>
              <p:nvPr/>
            </p:nvSpPr>
            <p:spPr>
              <a:xfrm>
                <a:off x="8920270" y="3475967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6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4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9 w 25193"/>
                  <a:gd name="connsiteY8" fmla="*/ 12210 h 28622"/>
                  <a:gd name="connsiteX9" fmla="*/ 19051 w 25193"/>
                  <a:gd name="connsiteY9" fmla="*/ 10609 h 28622"/>
                  <a:gd name="connsiteX10" fmla="*/ 19070 w 25193"/>
                  <a:gd name="connsiteY10" fmla="*/ 9403 h 28622"/>
                  <a:gd name="connsiteX11" fmla="*/ 17751 w 25193"/>
                  <a:gd name="connsiteY11" fmla="*/ 5408 h 28622"/>
                  <a:gd name="connsiteX12" fmla="*/ 12475 w 25193"/>
                  <a:gd name="connsiteY12" fmla="*/ 3844 h 28622"/>
                  <a:gd name="connsiteX13" fmla="*/ 7651 w 25193"/>
                  <a:gd name="connsiteY13" fmla="*/ 4994 h 28622"/>
                  <a:gd name="connsiteX14" fmla="*/ 5352 w 25193"/>
                  <a:gd name="connsiteY14" fmla="*/ 9045 h 28622"/>
                  <a:gd name="connsiteX15" fmla="*/ 811 w 25193"/>
                  <a:gd name="connsiteY15" fmla="*/ 8423 h 28622"/>
                  <a:gd name="connsiteX16" fmla="*/ 2845 w 25193"/>
                  <a:gd name="connsiteY16" fmla="*/ 3712 h 28622"/>
                  <a:gd name="connsiteX17" fmla="*/ 6935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6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6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6" y="28623"/>
                    </a:cubicBezTo>
                    <a:cubicBezTo>
                      <a:pt x="6369" y="28623"/>
                      <a:pt x="4052" y="27888"/>
                      <a:pt x="2431" y="26418"/>
                    </a:cubicBezTo>
                    <a:cubicBezTo>
                      <a:pt x="811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4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9" y="12210"/>
                    </a:cubicBezTo>
                    <a:cubicBezTo>
                      <a:pt x="14529" y="11758"/>
                      <a:pt x="17280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9" y="3844"/>
                      <a:pt x="8687" y="4221"/>
                      <a:pt x="7651" y="4994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1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4" y="1602"/>
                      <a:pt x="6935" y="961"/>
                    </a:cubicBezTo>
                    <a:cubicBezTo>
                      <a:pt x="8706" y="320"/>
                      <a:pt x="10798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80" y="27002"/>
                      <a:pt x="19560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5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10" name="Freihandform: Form 3609">
                <a:extLst>
                  <a:ext uri="{FF2B5EF4-FFF2-40B4-BE49-F238E27FC236}">
                    <a16:creationId xmlns:a16="http://schemas.microsoft.com/office/drawing/2014/main" id="{A9371F35-5AB9-613B-127D-B6B326FAC42A}"/>
                  </a:ext>
                </a:extLst>
              </p:cNvPr>
              <p:cNvSpPr/>
              <p:nvPr/>
            </p:nvSpPr>
            <p:spPr>
              <a:xfrm>
                <a:off x="8951098" y="3466206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11" name="Freihandform: Form 3610">
                <a:extLst>
                  <a:ext uri="{FF2B5EF4-FFF2-40B4-BE49-F238E27FC236}">
                    <a16:creationId xmlns:a16="http://schemas.microsoft.com/office/drawing/2014/main" id="{3CA1720E-CD1B-12DD-481E-DFA7940291FC}"/>
                  </a:ext>
                </a:extLst>
              </p:cNvPr>
              <p:cNvSpPr/>
              <p:nvPr/>
            </p:nvSpPr>
            <p:spPr>
              <a:xfrm>
                <a:off x="8961349" y="3475986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2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2 w 25231"/>
                  <a:gd name="connsiteY9" fmla="*/ 14245 h 28585"/>
                  <a:gd name="connsiteX10" fmla="*/ 25213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8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9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3" y="24722"/>
                      <a:pt x="20879" y="26268"/>
                    </a:cubicBezTo>
                    <a:cubicBezTo>
                      <a:pt x="18825" y="27813"/>
                      <a:pt x="16224" y="28585"/>
                      <a:pt x="13040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2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2" y="9723"/>
                      <a:pt x="25232" y="14245"/>
                    </a:cubicBezTo>
                    <a:cubicBezTo>
                      <a:pt x="25232" y="14528"/>
                      <a:pt x="25232" y="14924"/>
                      <a:pt x="25213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69"/>
                      <a:pt x="10778" y="24779"/>
                      <a:pt x="13078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9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60" y="7631"/>
                      <a:pt x="18599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49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75" name="Grafik 21">
              <a:extLst>
                <a:ext uri="{FF2B5EF4-FFF2-40B4-BE49-F238E27FC236}">
                  <a16:creationId xmlns:a16="http://schemas.microsoft.com/office/drawing/2014/main" id="{04AB651E-0EE1-7B0A-7164-0CD1B4C2AC84}"/>
                </a:ext>
              </a:extLst>
            </p:cNvPr>
            <p:cNvGrpSpPr/>
            <p:nvPr/>
          </p:nvGrpSpPr>
          <p:grpSpPr>
            <a:xfrm>
              <a:off x="8428703" y="3701522"/>
              <a:ext cx="125854" cy="38610"/>
              <a:chOff x="8428703" y="3701522"/>
              <a:chExt cx="125854" cy="38610"/>
            </a:xfrm>
            <a:solidFill>
              <a:srgbClr val="000000"/>
            </a:solidFill>
          </p:grpSpPr>
          <p:sp>
            <p:nvSpPr>
              <p:cNvPr id="3604" name="Freihandform: Form 3603">
                <a:extLst>
                  <a:ext uri="{FF2B5EF4-FFF2-40B4-BE49-F238E27FC236}">
                    <a16:creationId xmlns:a16="http://schemas.microsoft.com/office/drawing/2014/main" id="{7950A006-5C3C-0CD1-F352-7D01D46D909D}"/>
                  </a:ext>
                </a:extLst>
              </p:cNvPr>
              <p:cNvSpPr/>
              <p:nvPr/>
            </p:nvSpPr>
            <p:spPr>
              <a:xfrm>
                <a:off x="8428703" y="3701748"/>
                <a:ext cx="36047" cy="37762"/>
              </a:xfrm>
              <a:custGeom>
                <a:avLst/>
                <a:gdLst>
                  <a:gd name="connsiteX0" fmla="*/ 0 w 36047"/>
                  <a:gd name="connsiteY0" fmla="*/ 37762 h 37762"/>
                  <a:gd name="connsiteX1" fmla="*/ 0 w 36047"/>
                  <a:gd name="connsiteY1" fmla="*/ 0 h 37762"/>
                  <a:gd name="connsiteX2" fmla="*/ 7518 w 36047"/>
                  <a:gd name="connsiteY2" fmla="*/ 0 h 37762"/>
                  <a:gd name="connsiteX3" fmla="*/ 16450 w 36047"/>
                  <a:gd name="connsiteY3" fmla="*/ 26739 h 37762"/>
                  <a:gd name="connsiteX4" fmla="*/ 18259 w 36047"/>
                  <a:gd name="connsiteY4" fmla="*/ 32335 h 37762"/>
                  <a:gd name="connsiteX5" fmla="*/ 20275 w 36047"/>
                  <a:gd name="connsiteY5" fmla="*/ 26287 h 37762"/>
                  <a:gd name="connsiteX6" fmla="*/ 29320 w 36047"/>
                  <a:gd name="connsiteY6" fmla="*/ 0 h 37762"/>
                  <a:gd name="connsiteX7" fmla="*/ 36047 w 36047"/>
                  <a:gd name="connsiteY7" fmla="*/ 0 h 37762"/>
                  <a:gd name="connsiteX8" fmla="*/ 36047 w 36047"/>
                  <a:gd name="connsiteY8" fmla="*/ 37762 h 37762"/>
                  <a:gd name="connsiteX9" fmla="*/ 31224 w 36047"/>
                  <a:gd name="connsiteY9" fmla="*/ 37762 h 37762"/>
                  <a:gd name="connsiteX10" fmla="*/ 31224 w 36047"/>
                  <a:gd name="connsiteY10" fmla="*/ 6143 h 37762"/>
                  <a:gd name="connsiteX11" fmla="*/ 20257 w 36047"/>
                  <a:gd name="connsiteY11" fmla="*/ 37762 h 37762"/>
                  <a:gd name="connsiteX12" fmla="*/ 15753 w 36047"/>
                  <a:gd name="connsiteY12" fmla="*/ 37762 h 37762"/>
                  <a:gd name="connsiteX13" fmla="*/ 4824 w 36047"/>
                  <a:gd name="connsiteY13" fmla="*/ 5615 h 37762"/>
                  <a:gd name="connsiteX14" fmla="*/ 4824 w 36047"/>
                  <a:gd name="connsiteY14" fmla="*/ 37762 h 37762"/>
                  <a:gd name="connsiteX15" fmla="*/ 0 w 36047"/>
                  <a:gd name="connsiteY15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6047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7518" y="0"/>
                    </a:lnTo>
                    <a:lnTo>
                      <a:pt x="16450" y="26739"/>
                    </a:lnTo>
                    <a:cubicBezTo>
                      <a:pt x="17279" y="29226"/>
                      <a:pt x="17882" y="31092"/>
                      <a:pt x="18259" y="32335"/>
                    </a:cubicBezTo>
                    <a:cubicBezTo>
                      <a:pt x="18692" y="30960"/>
                      <a:pt x="19352" y="28943"/>
                      <a:pt x="20275" y="26287"/>
                    </a:cubicBezTo>
                    <a:lnTo>
                      <a:pt x="29320" y="0"/>
                    </a:lnTo>
                    <a:lnTo>
                      <a:pt x="36047" y="0"/>
                    </a:lnTo>
                    <a:lnTo>
                      <a:pt x="36047" y="37762"/>
                    </a:lnTo>
                    <a:lnTo>
                      <a:pt x="31224" y="37762"/>
                    </a:lnTo>
                    <a:lnTo>
                      <a:pt x="31224" y="6143"/>
                    </a:lnTo>
                    <a:lnTo>
                      <a:pt x="20257" y="37762"/>
                    </a:lnTo>
                    <a:lnTo>
                      <a:pt x="15753" y="37762"/>
                    </a:lnTo>
                    <a:lnTo>
                      <a:pt x="4824" y="5615"/>
                    </a:lnTo>
                    <a:lnTo>
                      <a:pt x="4824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05" name="Freihandform: Form 3604">
                <a:extLst>
                  <a:ext uri="{FF2B5EF4-FFF2-40B4-BE49-F238E27FC236}">
                    <a16:creationId xmlns:a16="http://schemas.microsoft.com/office/drawing/2014/main" id="{B4E6ED88-2F9D-2517-28E0-19A9D2159A98}"/>
                  </a:ext>
                </a:extLst>
              </p:cNvPr>
              <p:cNvSpPr/>
              <p:nvPr/>
            </p:nvSpPr>
            <p:spPr>
              <a:xfrm>
                <a:off x="8470630" y="3711509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1 w 25193"/>
                  <a:gd name="connsiteY13" fmla="*/ 4994 h 28622"/>
                  <a:gd name="connsiteX14" fmla="*/ 5352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3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6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1" y="4994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5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3" y="27963"/>
                    </a:cubicBezTo>
                    <a:lnTo>
                      <a:pt x="20351" y="27963"/>
                    </a:lnTo>
                    <a:cubicBezTo>
                      <a:pt x="19880" y="27002"/>
                      <a:pt x="19559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06" name="Freihandform: Form 3605">
                <a:extLst>
                  <a:ext uri="{FF2B5EF4-FFF2-40B4-BE49-F238E27FC236}">
                    <a16:creationId xmlns:a16="http://schemas.microsoft.com/office/drawing/2014/main" id="{EDEE2B7D-3CDE-463F-FB0F-42E58D61EA30}"/>
                  </a:ext>
                </a:extLst>
              </p:cNvPr>
              <p:cNvSpPr/>
              <p:nvPr/>
            </p:nvSpPr>
            <p:spPr>
              <a:xfrm>
                <a:off x="8501552" y="3701748"/>
                <a:ext cx="22272" cy="37762"/>
              </a:xfrm>
              <a:custGeom>
                <a:avLst/>
                <a:gdLst>
                  <a:gd name="connsiteX0" fmla="*/ 0 w 22272"/>
                  <a:gd name="connsiteY0" fmla="*/ 37762 h 37762"/>
                  <a:gd name="connsiteX1" fmla="*/ 0 w 22272"/>
                  <a:gd name="connsiteY1" fmla="*/ 0 h 37762"/>
                  <a:gd name="connsiteX2" fmla="*/ 4635 w 22272"/>
                  <a:gd name="connsiteY2" fmla="*/ 0 h 37762"/>
                  <a:gd name="connsiteX3" fmla="*/ 4635 w 22272"/>
                  <a:gd name="connsiteY3" fmla="*/ 13549 h 37762"/>
                  <a:gd name="connsiteX4" fmla="*/ 12832 w 22272"/>
                  <a:gd name="connsiteY4" fmla="*/ 9780 h 37762"/>
                  <a:gd name="connsiteX5" fmla="*/ 18109 w 22272"/>
                  <a:gd name="connsiteY5" fmla="*/ 10986 h 37762"/>
                  <a:gd name="connsiteX6" fmla="*/ 21312 w 22272"/>
                  <a:gd name="connsiteY6" fmla="*/ 14302 h 37762"/>
                  <a:gd name="connsiteX7" fmla="*/ 22273 w 22272"/>
                  <a:gd name="connsiteY7" fmla="*/ 20426 h 37762"/>
                  <a:gd name="connsiteX8" fmla="*/ 22273 w 22272"/>
                  <a:gd name="connsiteY8" fmla="*/ 37762 h 37762"/>
                  <a:gd name="connsiteX9" fmla="*/ 17638 w 22272"/>
                  <a:gd name="connsiteY9" fmla="*/ 37762 h 37762"/>
                  <a:gd name="connsiteX10" fmla="*/ 17638 w 22272"/>
                  <a:gd name="connsiteY10" fmla="*/ 20426 h 37762"/>
                  <a:gd name="connsiteX11" fmla="*/ 16130 w 22272"/>
                  <a:gd name="connsiteY11" fmla="*/ 15357 h 37762"/>
                  <a:gd name="connsiteX12" fmla="*/ 11871 w 22272"/>
                  <a:gd name="connsiteY12" fmla="*/ 13775 h 37762"/>
                  <a:gd name="connsiteX13" fmla="*/ 7990 w 22272"/>
                  <a:gd name="connsiteY13" fmla="*/ 14849 h 37762"/>
                  <a:gd name="connsiteX14" fmla="*/ 5408 w 22272"/>
                  <a:gd name="connsiteY14" fmla="*/ 17751 h 37762"/>
                  <a:gd name="connsiteX15" fmla="*/ 4635 w 22272"/>
                  <a:gd name="connsiteY15" fmla="*/ 22801 h 37762"/>
                  <a:gd name="connsiteX16" fmla="*/ 4635 w 22272"/>
                  <a:gd name="connsiteY16" fmla="*/ 37762 h 37762"/>
                  <a:gd name="connsiteX17" fmla="*/ 0 w 22272"/>
                  <a:gd name="connsiteY17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272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549"/>
                    </a:lnTo>
                    <a:cubicBezTo>
                      <a:pt x="6803" y="11042"/>
                      <a:pt x="9535" y="9780"/>
                      <a:pt x="12832" y="9780"/>
                    </a:cubicBezTo>
                    <a:cubicBezTo>
                      <a:pt x="14868" y="9780"/>
                      <a:pt x="16620" y="10175"/>
                      <a:pt x="18109" y="10986"/>
                    </a:cubicBezTo>
                    <a:cubicBezTo>
                      <a:pt x="19597" y="11796"/>
                      <a:pt x="20671" y="12889"/>
                      <a:pt x="21312" y="14302"/>
                    </a:cubicBezTo>
                    <a:cubicBezTo>
                      <a:pt x="21953" y="15716"/>
                      <a:pt x="22273" y="17751"/>
                      <a:pt x="22273" y="20426"/>
                    </a:cubicBezTo>
                    <a:lnTo>
                      <a:pt x="22273" y="37762"/>
                    </a:lnTo>
                    <a:lnTo>
                      <a:pt x="17638" y="37762"/>
                    </a:lnTo>
                    <a:lnTo>
                      <a:pt x="17638" y="20426"/>
                    </a:lnTo>
                    <a:cubicBezTo>
                      <a:pt x="17638" y="18108"/>
                      <a:pt x="17129" y="16413"/>
                      <a:pt x="16130" y="15357"/>
                    </a:cubicBezTo>
                    <a:cubicBezTo>
                      <a:pt x="15131" y="14302"/>
                      <a:pt x="13699" y="13775"/>
                      <a:pt x="11871" y="13775"/>
                    </a:cubicBezTo>
                    <a:cubicBezTo>
                      <a:pt x="10496" y="13775"/>
                      <a:pt x="9196" y="14133"/>
                      <a:pt x="7990" y="14849"/>
                    </a:cubicBezTo>
                    <a:cubicBezTo>
                      <a:pt x="6784" y="15565"/>
                      <a:pt x="5917" y="16526"/>
                      <a:pt x="5408" y="17751"/>
                    </a:cubicBezTo>
                    <a:cubicBezTo>
                      <a:pt x="4899" y="18975"/>
                      <a:pt x="4635" y="20652"/>
                      <a:pt x="4635" y="22801"/>
                    </a:cubicBez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07" name="Freihandform: Form 3606">
                <a:extLst>
                  <a:ext uri="{FF2B5EF4-FFF2-40B4-BE49-F238E27FC236}">
                    <a16:creationId xmlns:a16="http://schemas.microsoft.com/office/drawing/2014/main" id="{49005392-8A8D-8D88-E8FE-3227CFFCDB2C}"/>
                  </a:ext>
                </a:extLst>
              </p:cNvPr>
              <p:cNvSpPr/>
              <p:nvPr/>
            </p:nvSpPr>
            <p:spPr>
              <a:xfrm>
                <a:off x="8529327" y="3701522"/>
                <a:ext cx="25231" cy="38591"/>
              </a:xfrm>
              <a:custGeom>
                <a:avLst/>
                <a:gdLst>
                  <a:gd name="connsiteX0" fmla="*/ 20294 w 25231"/>
                  <a:gd name="connsiteY0" fmla="*/ 29170 h 38591"/>
                  <a:gd name="connsiteX1" fmla="*/ 25081 w 25231"/>
                  <a:gd name="connsiteY1" fmla="*/ 29754 h 38591"/>
                  <a:gd name="connsiteX2" fmla="*/ 20879 w 25231"/>
                  <a:gd name="connsiteY2" fmla="*/ 36273 h 38591"/>
                  <a:gd name="connsiteX3" fmla="*/ 13040 w 25231"/>
                  <a:gd name="connsiteY3" fmla="*/ 38591 h 38591"/>
                  <a:gd name="connsiteX4" fmla="*/ 3524 w 25231"/>
                  <a:gd name="connsiteY4" fmla="*/ 34898 h 38591"/>
                  <a:gd name="connsiteX5" fmla="*/ 0 w 25231"/>
                  <a:gd name="connsiteY5" fmla="*/ 24534 h 38591"/>
                  <a:gd name="connsiteX6" fmla="*/ 3562 w 25231"/>
                  <a:gd name="connsiteY6" fmla="*/ 13812 h 38591"/>
                  <a:gd name="connsiteX7" fmla="*/ 12776 w 25231"/>
                  <a:gd name="connsiteY7" fmla="*/ 10006 h 38591"/>
                  <a:gd name="connsiteX8" fmla="*/ 21745 w 25231"/>
                  <a:gd name="connsiteY8" fmla="*/ 13737 h 38591"/>
                  <a:gd name="connsiteX9" fmla="*/ 25232 w 25231"/>
                  <a:gd name="connsiteY9" fmla="*/ 24251 h 38591"/>
                  <a:gd name="connsiteX10" fmla="*/ 25213 w 25231"/>
                  <a:gd name="connsiteY10" fmla="*/ 25495 h 38591"/>
                  <a:gd name="connsiteX11" fmla="*/ 4805 w 25231"/>
                  <a:gd name="connsiteY11" fmla="*/ 25495 h 38591"/>
                  <a:gd name="connsiteX12" fmla="*/ 7349 w 25231"/>
                  <a:gd name="connsiteY12" fmla="*/ 32392 h 38591"/>
                  <a:gd name="connsiteX13" fmla="*/ 13078 w 25231"/>
                  <a:gd name="connsiteY13" fmla="*/ 34785 h 38591"/>
                  <a:gd name="connsiteX14" fmla="*/ 17430 w 25231"/>
                  <a:gd name="connsiteY14" fmla="*/ 33447 h 38591"/>
                  <a:gd name="connsiteX15" fmla="*/ 20294 w 25231"/>
                  <a:gd name="connsiteY15" fmla="*/ 29170 h 38591"/>
                  <a:gd name="connsiteX16" fmla="*/ 5069 w 25231"/>
                  <a:gd name="connsiteY16" fmla="*/ 21670 h 38591"/>
                  <a:gd name="connsiteX17" fmla="*/ 20351 w 25231"/>
                  <a:gd name="connsiteY17" fmla="*/ 21670 h 38591"/>
                  <a:gd name="connsiteX18" fmla="*/ 18599 w 25231"/>
                  <a:gd name="connsiteY18" fmla="*/ 16488 h 38591"/>
                  <a:gd name="connsiteX19" fmla="*/ 12851 w 25231"/>
                  <a:gd name="connsiteY19" fmla="*/ 13812 h 38591"/>
                  <a:gd name="connsiteX20" fmla="*/ 7481 w 25231"/>
                  <a:gd name="connsiteY20" fmla="*/ 15942 h 38591"/>
                  <a:gd name="connsiteX21" fmla="*/ 5069 w 25231"/>
                  <a:gd name="connsiteY21" fmla="*/ 21670 h 38591"/>
                  <a:gd name="connsiteX22" fmla="*/ 10063 w 25231"/>
                  <a:gd name="connsiteY22" fmla="*/ 7217 h 38591"/>
                  <a:gd name="connsiteX23" fmla="*/ 13492 w 25231"/>
                  <a:gd name="connsiteY23" fmla="*/ 0 h 38591"/>
                  <a:gd name="connsiteX24" fmla="*/ 19579 w 25231"/>
                  <a:gd name="connsiteY24" fmla="*/ 0 h 38591"/>
                  <a:gd name="connsiteX25" fmla="*/ 13907 w 25231"/>
                  <a:gd name="connsiteY25" fmla="*/ 7217 h 38591"/>
                  <a:gd name="connsiteX26" fmla="*/ 10063 w 25231"/>
                  <a:gd name="connsiteY26" fmla="*/ 7217 h 38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5231" h="38591">
                    <a:moveTo>
                      <a:pt x="20294" y="29170"/>
                    </a:moveTo>
                    <a:lnTo>
                      <a:pt x="25081" y="29754"/>
                    </a:lnTo>
                    <a:cubicBezTo>
                      <a:pt x="24327" y="32561"/>
                      <a:pt x="22933" y="34728"/>
                      <a:pt x="20879" y="36273"/>
                    </a:cubicBezTo>
                    <a:cubicBezTo>
                      <a:pt x="18825" y="37819"/>
                      <a:pt x="16224" y="38591"/>
                      <a:pt x="13040" y="38591"/>
                    </a:cubicBezTo>
                    <a:cubicBezTo>
                      <a:pt x="9045" y="38591"/>
                      <a:pt x="5860" y="37367"/>
                      <a:pt x="3524" y="34898"/>
                    </a:cubicBezTo>
                    <a:cubicBezTo>
                      <a:pt x="1187" y="32430"/>
                      <a:pt x="0" y="28981"/>
                      <a:pt x="0" y="24534"/>
                    </a:cubicBezTo>
                    <a:cubicBezTo>
                      <a:pt x="0" y="20087"/>
                      <a:pt x="1187" y="16356"/>
                      <a:pt x="3562" y="13812"/>
                    </a:cubicBezTo>
                    <a:cubicBezTo>
                      <a:pt x="5936" y="11268"/>
                      <a:pt x="9007" y="10006"/>
                      <a:pt x="12776" y="10006"/>
                    </a:cubicBezTo>
                    <a:cubicBezTo>
                      <a:pt x="16545" y="10006"/>
                      <a:pt x="19428" y="11250"/>
                      <a:pt x="21745" y="13737"/>
                    </a:cubicBezTo>
                    <a:cubicBezTo>
                      <a:pt x="24063" y="16224"/>
                      <a:pt x="25232" y="19729"/>
                      <a:pt x="25232" y="24251"/>
                    </a:cubicBezTo>
                    <a:cubicBezTo>
                      <a:pt x="25232" y="24534"/>
                      <a:pt x="25232" y="24930"/>
                      <a:pt x="25213" y="25495"/>
                    </a:cubicBezTo>
                    <a:lnTo>
                      <a:pt x="4805" y="25495"/>
                    </a:lnTo>
                    <a:cubicBezTo>
                      <a:pt x="4975" y="28491"/>
                      <a:pt x="5823" y="30809"/>
                      <a:pt x="7349" y="32392"/>
                    </a:cubicBezTo>
                    <a:cubicBezTo>
                      <a:pt x="8876" y="33975"/>
                      <a:pt x="10778" y="34785"/>
                      <a:pt x="13078" y="34785"/>
                    </a:cubicBezTo>
                    <a:cubicBezTo>
                      <a:pt x="14773" y="34785"/>
                      <a:pt x="16224" y="34333"/>
                      <a:pt x="17430" y="33447"/>
                    </a:cubicBezTo>
                    <a:cubicBezTo>
                      <a:pt x="18636" y="32561"/>
                      <a:pt x="19579" y="31129"/>
                      <a:pt x="20294" y="29170"/>
                    </a:cubicBezTo>
                    <a:close/>
                    <a:moveTo>
                      <a:pt x="5069" y="21670"/>
                    </a:moveTo>
                    <a:lnTo>
                      <a:pt x="20351" y="21670"/>
                    </a:lnTo>
                    <a:cubicBezTo>
                      <a:pt x="20144" y="19371"/>
                      <a:pt x="19560" y="17637"/>
                      <a:pt x="18599" y="16488"/>
                    </a:cubicBezTo>
                    <a:cubicBezTo>
                      <a:pt x="17129" y="14698"/>
                      <a:pt x="15207" y="13812"/>
                      <a:pt x="12851" y="13812"/>
                    </a:cubicBezTo>
                    <a:cubicBezTo>
                      <a:pt x="10722" y="13812"/>
                      <a:pt x="8932" y="14528"/>
                      <a:pt x="7481" y="15942"/>
                    </a:cubicBezTo>
                    <a:cubicBezTo>
                      <a:pt x="6030" y="17355"/>
                      <a:pt x="5220" y="19277"/>
                      <a:pt x="5069" y="21670"/>
                    </a:cubicBezTo>
                    <a:close/>
                    <a:moveTo>
                      <a:pt x="10063" y="7217"/>
                    </a:moveTo>
                    <a:lnTo>
                      <a:pt x="13492" y="0"/>
                    </a:lnTo>
                    <a:lnTo>
                      <a:pt x="19579" y="0"/>
                    </a:lnTo>
                    <a:lnTo>
                      <a:pt x="13907" y="7217"/>
                    </a:lnTo>
                    <a:lnTo>
                      <a:pt x="10063" y="721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76" name="Grafik 21">
              <a:extLst>
                <a:ext uri="{FF2B5EF4-FFF2-40B4-BE49-F238E27FC236}">
                  <a16:creationId xmlns:a16="http://schemas.microsoft.com/office/drawing/2014/main" id="{F679AB38-DF22-96CC-E5F1-F8374F2BD645}"/>
                </a:ext>
              </a:extLst>
            </p:cNvPr>
            <p:cNvGrpSpPr/>
            <p:nvPr/>
          </p:nvGrpSpPr>
          <p:grpSpPr>
            <a:xfrm>
              <a:off x="6364958" y="2118905"/>
              <a:ext cx="102187" cy="38402"/>
              <a:chOff x="6364958" y="2118905"/>
              <a:chExt cx="102187" cy="38402"/>
            </a:xfrm>
            <a:solidFill>
              <a:srgbClr val="000000"/>
            </a:solidFill>
          </p:grpSpPr>
          <p:sp>
            <p:nvSpPr>
              <p:cNvPr id="3600" name="Freihandform: Form 3599">
                <a:extLst>
                  <a:ext uri="{FF2B5EF4-FFF2-40B4-BE49-F238E27FC236}">
                    <a16:creationId xmlns:a16="http://schemas.microsoft.com/office/drawing/2014/main" id="{8EC6B960-3C7F-C245-7AE3-A03DBC0F9CED}"/>
                  </a:ext>
                </a:extLst>
              </p:cNvPr>
              <p:cNvSpPr/>
              <p:nvPr/>
            </p:nvSpPr>
            <p:spPr>
              <a:xfrm>
                <a:off x="6364958" y="2118905"/>
                <a:ext cx="25476" cy="37799"/>
              </a:xfrm>
              <a:custGeom>
                <a:avLst/>
                <a:gdLst>
                  <a:gd name="connsiteX0" fmla="*/ 0 w 25476"/>
                  <a:gd name="connsiteY0" fmla="*/ 37762 h 37799"/>
                  <a:gd name="connsiteX1" fmla="*/ 0 w 25476"/>
                  <a:gd name="connsiteY1" fmla="*/ 0 h 37799"/>
                  <a:gd name="connsiteX2" fmla="*/ 25476 w 25476"/>
                  <a:gd name="connsiteY2" fmla="*/ 0 h 37799"/>
                  <a:gd name="connsiteX3" fmla="*/ 25476 w 25476"/>
                  <a:gd name="connsiteY3" fmla="*/ 4466 h 37799"/>
                  <a:gd name="connsiteX4" fmla="*/ 4993 w 25476"/>
                  <a:gd name="connsiteY4" fmla="*/ 4466 h 37799"/>
                  <a:gd name="connsiteX5" fmla="*/ 4993 w 25476"/>
                  <a:gd name="connsiteY5" fmla="*/ 16168 h 37799"/>
                  <a:gd name="connsiteX6" fmla="*/ 22725 w 25476"/>
                  <a:gd name="connsiteY6" fmla="*/ 16168 h 37799"/>
                  <a:gd name="connsiteX7" fmla="*/ 22725 w 25476"/>
                  <a:gd name="connsiteY7" fmla="*/ 20633 h 37799"/>
                  <a:gd name="connsiteX8" fmla="*/ 4993 w 25476"/>
                  <a:gd name="connsiteY8" fmla="*/ 20633 h 37799"/>
                  <a:gd name="connsiteX9" fmla="*/ 4993 w 25476"/>
                  <a:gd name="connsiteY9" fmla="*/ 37800 h 37799"/>
                  <a:gd name="connsiteX10" fmla="*/ 0 w 25476"/>
                  <a:gd name="connsiteY10" fmla="*/ 37800 h 37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476" h="37799">
                    <a:moveTo>
                      <a:pt x="0" y="37762"/>
                    </a:moveTo>
                    <a:lnTo>
                      <a:pt x="0" y="0"/>
                    </a:lnTo>
                    <a:lnTo>
                      <a:pt x="25476" y="0"/>
                    </a:lnTo>
                    <a:lnTo>
                      <a:pt x="25476" y="4466"/>
                    </a:lnTo>
                    <a:lnTo>
                      <a:pt x="4993" y="4466"/>
                    </a:lnTo>
                    <a:lnTo>
                      <a:pt x="4993" y="16168"/>
                    </a:lnTo>
                    <a:lnTo>
                      <a:pt x="22725" y="16168"/>
                    </a:lnTo>
                    <a:lnTo>
                      <a:pt x="22725" y="20633"/>
                    </a:lnTo>
                    <a:lnTo>
                      <a:pt x="4993" y="20633"/>
                    </a:lnTo>
                    <a:lnTo>
                      <a:pt x="4993" y="37800"/>
                    </a:lnTo>
                    <a:lnTo>
                      <a:pt x="0" y="37800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01" name="Freihandform: Form 3600">
                <a:extLst>
                  <a:ext uri="{FF2B5EF4-FFF2-40B4-BE49-F238E27FC236}">
                    <a16:creationId xmlns:a16="http://schemas.microsoft.com/office/drawing/2014/main" id="{8579701E-688D-828B-078A-A2D7CB527BBF}"/>
                  </a:ext>
                </a:extLst>
              </p:cNvPr>
              <p:cNvSpPr/>
              <p:nvPr/>
            </p:nvSpPr>
            <p:spPr>
              <a:xfrm>
                <a:off x="6394750" y="2128666"/>
                <a:ext cx="25193" cy="28623"/>
              </a:xfrm>
              <a:custGeom>
                <a:avLst/>
                <a:gdLst>
                  <a:gd name="connsiteX0" fmla="*/ 19427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0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1 w 25193"/>
                  <a:gd name="connsiteY7" fmla="*/ 12908 h 28623"/>
                  <a:gd name="connsiteX8" fmla="*/ 10778 w 25193"/>
                  <a:gd name="connsiteY8" fmla="*/ 12210 h 28623"/>
                  <a:gd name="connsiteX9" fmla="*/ 19050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3 h 28623"/>
                  <a:gd name="connsiteX26" fmla="*/ 20350 w 25193"/>
                  <a:gd name="connsiteY26" fmla="*/ 27963 h 28623"/>
                  <a:gd name="connsiteX27" fmla="*/ 19427 w 25193"/>
                  <a:gd name="connsiteY27" fmla="*/ 24591 h 28623"/>
                  <a:gd name="connsiteX28" fmla="*/ 19032 w 25193"/>
                  <a:gd name="connsiteY28" fmla="*/ 14264 h 28623"/>
                  <a:gd name="connsiteX29" fmla="*/ 11456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0 w 25193"/>
                  <a:gd name="connsiteY37" fmla="*/ 15979 h 28623"/>
                  <a:gd name="connsiteX38" fmla="*/ 19050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7" y="24628"/>
                    </a:moveTo>
                    <a:cubicBezTo>
                      <a:pt x="17713" y="26079"/>
                      <a:pt x="16054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0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1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2" y="25834"/>
                      <a:pt x="24609" y="26927"/>
                      <a:pt x="25193" y="27963"/>
                    </a:cubicBezTo>
                    <a:lnTo>
                      <a:pt x="20350" y="27963"/>
                    </a:lnTo>
                    <a:cubicBezTo>
                      <a:pt x="19861" y="27002"/>
                      <a:pt x="19559" y="25872"/>
                      <a:pt x="19427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3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02" name="Freihandform: Form 3601">
                <a:extLst>
                  <a:ext uri="{FF2B5EF4-FFF2-40B4-BE49-F238E27FC236}">
                    <a16:creationId xmlns:a16="http://schemas.microsoft.com/office/drawing/2014/main" id="{4336C3D2-8B12-617E-3308-47AC8ABFCCF1}"/>
                  </a:ext>
                </a:extLst>
              </p:cNvPr>
              <p:cNvSpPr/>
              <p:nvPr/>
            </p:nvSpPr>
            <p:spPr>
              <a:xfrm>
                <a:off x="6425615" y="2128685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09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1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6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09"/>
                    </a:cubicBezTo>
                    <a:cubicBezTo>
                      <a:pt x="6332" y="6312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03" name="Freihandform: Form 3602">
                <a:extLst>
                  <a:ext uri="{FF2B5EF4-FFF2-40B4-BE49-F238E27FC236}">
                    <a16:creationId xmlns:a16="http://schemas.microsoft.com/office/drawing/2014/main" id="{B2B4D76F-1C55-92E5-B80D-57615B454A9D}"/>
                  </a:ext>
                </a:extLst>
              </p:cNvPr>
              <p:cNvSpPr/>
              <p:nvPr/>
            </p:nvSpPr>
            <p:spPr>
              <a:xfrm>
                <a:off x="6441500" y="2128704"/>
                <a:ext cx="25646" cy="28604"/>
              </a:xfrm>
              <a:custGeom>
                <a:avLst/>
                <a:gdLst>
                  <a:gd name="connsiteX0" fmla="*/ 19 w 25646"/>
                  <a:gd name="connsiteY0" fmla="*/ 14283 h 28604"/>
                  <a:gd name="connsiteX1" fmla="*/ 4240 w 25646"/>
                  <a:gd name="connsiteY1" fmla="*/ 3034 h 28604"/>
                  <a:gd name="connsiteX2" fmla="*/ 12851 w 25646"/>
                  <a:gd name="connsiteY2" fmla="*/ 0 h 28604"/>
                  <a:gd name="connsiteX3" fmla="*/ 22066 w 25646"/>
                  <a:gd name="connsiteY3" fmla="*/ 3693 h 28604"/>
                  <a:gd name="connsiteX4" fmla="*/ 25646 w 25646"/>
                  <a:gd name="connsiteY4" fmla="*/ 13906 h 28604"/>
                  <a:gd name="connsiteX5" fmla="*/ 24063 w 25646"/>
                  <a:gd name="connsiteY5" fmla="*/ 22216 h 28604"/>
                  <a:gd name="connsiteX6" fmla="*/ 19446 w 25646"/>
                  <a:gd name="connsiteY6" fmla="*/ 26927 h 28604"/>
                  <a:gd name="connsiteX7" fmla="*/ 12832 w 25646"/>
                  <a:gd name="connsiteY7" fmla="*/ 28604 h 28604"/>
                  <a:gd name="connsiteX8" fmla="*/ 3543 w 25646"/>
                  <a:gd name="connsiteY8" fmla="*/ 24911 h 28604"/>
                  <a:gd name="connsiteX9" fmla="*/ 0 w 25646"/>
                  <a:gd name="connsiteY9" fmla="*/ 14302 h 28604"/>
                  <a:gd name="connsiteX10" fmla="*/ 4786 w 25646"/>
                  <a:gd name="connsiteY10" fmla="*/ 14283 h 28604"/>
                  <a:gd name="connsiteX11" fmla="*/ 7085 w 25646"/>
                  <a:gd name="connsiteY11" fmla="*/ 22160 h 28604"/>
                  <a:gd name="connsiteX12" fmla="*/ 12851 w 25646"/>
                  <a:gd name="connsiteY12" fmla="*/ 24779 h 28604"/>
                  <a:gd name="connsiteX13" fmla="*/ 18599 w 25646"/>
                  <a:gd name="connsiteY13" fmla="*/ 22160 h 28604"/>
                  <a:gd name="connsiteX14" fmla="*/ 20897 w 25646"/>
                  <a:gd name="connsiteY14" fmla="*/ 14151 h 28604"/>
                  <a:gd name="connsiteX15" fmla="*/ 18599 w 25646"/>
                  <a:gd name="connsiteY15" fmla="*/ 6463 h 28604"/>
                  <a:gd name="connsiteX16" fmla="*/ 12870 w 25646"/>
                  <a:gd name="connsiteY16" fmla="*/ 3844 h 28604"/>
                  <a:gd name="connsiteX17" fmla="*/ 7104 w 25646"/>
                  <a:gd name="connsiteY17" fmla="*/ 6445 h 28604"/>
                  <a:gd name="connsiteX18" fmla="*/ 4805 w 25646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6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2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58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43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893"/>
                      <a:pt x="10534" y="24779"/>
                      <a:pt x="12851" y="24779"/>
                    </a:cubicBezTo>
                    <a:cubicBezTo>
                      <a:pt x="15169" y="24779"/>
                      <a:pt x="17072" y="23912"/>
                      <a:pt x="18599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9" y="6463"/>
                    </a:cubicBezTo>
                    <a:cubicBezTo>
                      <a:pt x="17072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77" name="Grafik 21">
              <a:extLst>
                <a:ext uri="{FF2B5EF4-FFF2-40B4-BE49-F238E27FC236}">
                  <a16:creationId xmlns:a16="http://schemas.microsoft.com/office/drawing/2014/main" id="{61C83FA3-D40C-C542-0399-65486EC69A87}"/>
                </a:ext>
              </a:extLst>
            </p:cNvPr>
            <p:cNvGrpSpPr/>
            <p:nvPr/>
          </p:nvGrpSpPr>
          <p:grpSpPr>
            <a:xfrm>
              <a:off x="6401100" y="1962505"/>
              <a:ext cx="216623" cy="38383"/>
              <a:chOff x="6401100" y="1962505"/>
              <a:chExt cx="216623" cy="38383"/>
            </a:xfrm>
            <a:solidFill>
              <a:srgbClr val="000000"/>
            </a:solidFill>
          </p:grpSpPr>
          <p:sp>
            <p:nvSpPr>
              <p:cNvPr id="3593" name="Freihandform: Form 3592">
                <a:extLst>
                  <a:ext uri="{FF2B5EF4-FFF2-40B4-BE49-F238E27FC236}">
                    <a16:creationId xmlns:a16="http://schemas.microsoft.com/office/drawing/2014/main" id="{8FFFB90B-9B58-7888-8478-E767EF28871B}"/>
                  </a:ext>
                </a:extLst>
              </p:cNvPr>
              <p:cNvSpPr/>
              <p:nvPr/>
            </p:nvSpPr>
            <p:spPr>
              <a:xfrm>
                <a:off x="6401100" y="1962505"/>
                <a:ext cx="28830" cy="37762"/>
              </a:xfrm>
              <a:custGeom>
                <a:avLst/>
                <a:gdLst>
                  <a:gd name="connsiteX0" fmla="*/ 0 w 28830"/>
                  <a:gd name="connsiteY0" fmla="*/ 37762 h 37762"/>
                  <a:gd name="connsiteX1" fmla="*/ 0 w 28830"/>
                  <a:gd name="connsiteY1" fmla="*/ 0 h 37762"/>
                  <a:gd name="connsiteX2" fmla="*/ 14246 w 28830"/>
                  <a:gd name="connsiteY2" fmla="*/ 0 h 37762"/>
                  <a:gd name="connsiteX3" fmla="*/ 19993 w 28830"/>
                  <a:gd name="connsiteY3" fmla="*/ 358 h 37762"/>
                  <a:gd name="connsiteX4" fmla="*/ 24647 w 28830"/>
                  <a:gd name="connsiteY4" fmla="*/ 2129 h 37762"/>
                  <a:gd name="connsiteX5" fmla="*/ 27681 w 28830"/>
                  <a:gd name="connsiteY5" fmla="*/ 5766 h 37762"/>
                  <a:gd name="connsiteX6" fmla="*/ 28830 w 28830"/>
                  <a:gd name="connsiteY6" fmla="*/ 10910 h 37762"/>
                  <a:gd name="connsiteX7" fmla="*/ 25759 w 28830"/>
                  <a:gd name="connsiteY7" fmla="*/ 19069 h 37762"/>
                  <a:gd name="connsiteX8" fmla="*/ 14679 w 28830"/>
                  <a:gd name="connsiteY8" fmla="*/ 22405 h 37762"/>
                  <a:gd name="connsiteX9" fmla="*/ 4993 w 28830"/>
                  <a:gd name="connsiteY9" fmla="*/ 22405 h 37762"/>
                  <a:gd name="connsiteX10" fmla="*/ 4993 w 28830"/>
                  <a:gd name="connsiteY10" fmla="*/ 37762 h 37762"/>
                  <a:gd name="connsiteX11" fmla="*/ 0 w 28830"/>
                  <a:gd name="connsiteY11" fmla="*/ 37762 h 37762"/>
                  <a:gd name="connsiteX12" fmla="*/ 4993 w 28830"/>
                  <a:gd name="connsiteY12" fmla="*/ 17958 h 37762"/>
                  <a:gd name="connsiteX13" fmla="*/ 14755 w 28830"/>
                  <a:gd name="connsiteY13" fmla="*/ 17958 h 37762"/>
                  <a:gd name="connsiteX14" fmla="*/ 21632 w 28830"/>
                  <a:gd name="connsiteY14" fmla="*/ 16149 h 37762"/>
                  <a:gd name="connsiteX15" fmla="*/ 23667 w 28830"/>
                  <a:gd name="connsiteY15" fmla="*/ 11080 h 37762"/>
                  <a:gd name="connsiteX16" fmla="*/ 22461 w 28830"/>
                  <a:gd name="connsiteY16" fmla="*/ 7029 h 37762"/>
                  <a:gd name="connsiteX17" fmla="*/ 19314 w 28830"/>
                  <a:gd name="connsiteY17" fmla="*/ 4805 h 37762"/>
                  <a:gd name="connsiteX18" fmla="*/ 14660 w 28830"/>
                  <a:gd name="connsiteY18" fmla="*/ 4466 h 37762"/>
                  <a:gd name="connsiteX19" fmla="*/ 4993 w 28830"/>
                  <a:gd name="connsiteY19" fmla="*/ 4466 h 37762"/>
                  <a:gd name="connsiteX20" fmla="*/ 4993 w 28830"/>
                  <a:gd name="connsiteY20" fmla="*/ 17958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8830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14246" y="0"/>
                    </a:lnTo>
                    <a:cubicBezTo>
                      <a:pt x="16752" y="0"/>
                      <a:pt x="18674" y="113"/>
                      <a:pt x="19993" y="358"/>
                    </a:cubicBezTo>
                    <a:cubicBezTo>
                      <a:pt x="21840" y="659"/>
                      <a:pt x="23403" y="1262"/>
                      <a:pt x="24647" y="2129"/>
                    </a:cubicBezTo>
                    <a:cubicBezTo>
                      <a:pt x="25910" y="2996"/>
                      <a:pt x="26908" y="4221"/>
                      <a:pt x="27681" y="5766"/>
                    </a:cubicBezTo>
                    <a:cubicBezTo>
                      <a:pt x="28454" y="7330"/>
                      <a:pt x="28830" y="9045"/>
                      <a:pt x="28830" y="10910"/>
                    </a:cubicBezTo>
                    <a:cubicBezTo>
                      <a:pt x="28830" y="14114"/>
                      <a:pt x="27813" y="16846"/>
                      <a:pt x="25759" y="19069"/>
                    </a:cubicBezTo>
                    <a:cubicBezTo>
                      <a:pt x="23724" y="21293"/>
                      <a:pt x="20031" y="22405"/>
                      <a:pt x="14679" y="22405"/>
                    </a:cubicBezTo>
                    <a:lnTo>
                      <a:pt x="4993" y="22405"/>
                    </a:lnTo>
                    <a:lnTo>
                      <a:pt x="4993" y="37762"/>
                    </a:lnTo>
                    <a:lnTo>
                      <a:pt x="0" y="37762"/>
                    </a:lnTo>
                    <a:close/>
                    <a:moveTo>
                      <a:pt x="4993" y="17958"/>
                    </a:moveTo>
                    <a:lnTo>
                      <a:pt x="14755" y="17958"/>
                    </a:lnTo>
                    <a:cubicBezTo>
                      <a:pt x="17977" y="17958"/>
                      <a:pt x="20275" y="17355"/>
                      <a:pt x="21632" y="16149"/>
                    </a:cubicBezTo>
                    <a:cubicBezTo>
                      <a:pt x="22989" y="14943"/>
                      <a:pt x="23667" y="13247"/>
                      <a:pt x="23667" y="11080"/>
                    </a:cubicBezTo>
                    <a:cubicBezTo>
                      <a:pt x="23667" y="9497"/>
                      <a:pt x="23272" y="8140"/>
                      <a:pt x="22461" y="7029"/>
                    </a:cubicBezTo>
                    <a:cubicBezTo>
                      <a:pt x="21651" y="5917"/>
                      <a:pt x="20615" y="5163"/>
                      <a:pt x="19314" y="4805"/>
                    </a:cubicBezTo>
                    <a:cubicBezTo>
                      <a:pt x="18467" y="4579"/>
                      <a:pt x="16921" y="4466"/>
                      <a:pt x="14660" y="4466"/>
                    </a:cubicBezTo>
                    <a:lnTo>
                      <a:pt x="4993" y="4466"/>
                    </a:lnTo>
                    <a:lnTo>
                      <a:pt x="4993" y="1795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94" name="Freihandform: Form 3593">
                <a:extLst>
                  <a:ext uri="{FF2B5EF4-FFF2-40B4-BE49-F238E27FC236}">
                    <a16:creationId xmlns:a16="http://schemas.microsoft.com/office/drawing/2014/main" id="{F96F8540-E561-0141-A407-4FA57349951D}"/>
                  </a:ext>
                </a:extLst>
              </p:cNvPr>
              <p:cNvSpPr/>
              <p:nvPr/>
            </p:nvSpPr>
            <p:spPr>
              <a:xfrm>
                <a:off x="6434132" y="1972266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3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7" y="16017"/>
                    </a:cubicBezTo>
                    <a:cubicBezTo>
                      <a:pt x="9554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95" name="Freihandform: Form 3594">
                <a:extLst>
                  <a:ext uri="{FF2B5EF4-FFF2-40B4-BE49-F238E27FC236}">
                    <a16:creationId xmlns:a16="http://schemas.microsoft.com/office/drawing/2014/main" id="{1B73C000-97ED-D024-3292-5991AFFC1EB2}"/>
                  </a:ext>
                </a:extLst>
              </p:cNvPr>
              <p:cNvSpPr/>
              <p:nvPr/>
            </p:nvSpPr>
            <p:spPr>
              <a:xfrm>
                <a:off x="6464941" y="1962505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96" name="Freihandform: Form 3595">
                <a:extLst>
                  <a:ext uri="{FF2B5EF4-FFF2-40B4-BE49-F238E27FC236}">
                    <a16:creationId xmlns:a16="http://schemas.microsoft.com/office/drawing/2014/main" id="{38CD7D31-195B-D9D1-F0F4-F321D437E5F7}"/>
                  </a:ext>
                </a:extLst>
              </p:cNvPr>
              <p:cNvSpPr/>
              <p:nvPr/>
            </p:nvSpPr>
            <p:spPr>
              <a:xfrm>
                <a:off x="6476737" y="1972285"/>
                <a:ext cx="37083" cy="27982"/>
              </a:xfrm>
              <a:custGeom>
                <a:avLst/>
                <a:gdLst>
                  <a:gd name="connsiteX0" fmla="*/ 18 w 37083"/>
                  <a:gd name="connsiteY0" fmla="*/ 27982 h 27982"/>
                  <a:gd name="connsiteX1" fmla="*/ 18 w 37083"/>
                  <a:gd name="connsiteY1" fmla="*/ 622 h 27982"/>
                  <a:gd name="connsiteX2" fmla="*/ 4164 w 37083"/>
                  <a:gd name="connsiteY2" fmla="*/ 622 h 27982"/>
                  <a:gd name="connsiteX3" fmla="*/ 4164 w 37083"/>
                  <a:gd name="connsiteY3" fmla="*/ 4466 h 27982"/>
                  <a:gd name="connsiteX4" fmla="*/ 7593 w 37083"/>
                  <a:gd name="connsiteY4" fmla="*/ 1225 h 27982"/>
                  <a:gd name="connsiteX5" fmla="*/ 12455 w 37083"/>
                  <a:gd name="connsiteY5" fmla="*/ 0 h 27982"/>
                  <a:gd name="connsiteX6" fmla="*/ 17449 w 37083"/>
                  <a:gd name="connsiteY6" fmla="*/ 1262 h 27982"/>
                  <a:gd name="connsiteX7" fmla="*/ 20200 w 37083"/>
                  <a:gd name="connsiteY7" fmla="*/ 4786 h 27982"/>
                  <a:gd name="connsiteX8" fmla="*/ 28642 w 37083"/>
                  <a:gd name="connsiteY8" fmla="*/ 0 h 27982"/>
                  <a:gd name="connsiteX9" fmla="*/ 34898 w 37083"/>
                  <a:gd name="connsiteY9" fmla="*/ 2261 h 27982"/>
                  <a:gd name="connsiteX10" fmla="*/ 37084 w 37083"/>
                  <a:gd name="connsiteY10" fmla="*/ 9196 h 27982"/>
                  <a:gd name="connsiteX11" fmla="*/ 37084 w 37083"/>
                  <a:gd name="connsiteY11" fmla="*/ 27982 h 27982"/>
                  <a:gd name="connsiteX12" fmla="*/ 32467 w 37083"/>
                  <a:gd name="connsiteY12" fmla="*/ 27982 h 27982"/>
                  <a:gd name="connsiteX13" fmla="*/ 32467 w 37083"/>
                  <a:gd name="connsiteY13" fmla="*/ 10741 h 27982"/>
                  <a:gd name="connsiteX14" fmla="*/ 32015 w 37083"/>
                  <a:gd name="connsiteY14" fmla="*/ 6727 h 27982"/>
                  <a:gd name="connsiteX15" fmla="*/ 30375 w 37083"/>
                  <a:gd name="connsiteY15" fmla="*/ 4748 h 27982"/>
                  <a:gd name="connsiteX16" fmla="*/ 27586 w 37083"/>
                  <a:gd name="connsiteY16" fmla="*/ 3995 h 27982"/>
                  <a:gd name="connsiteX17" fmla="*/ 22800 w 37083"/>
                  <a:gd name="connsiteY17" fmla="*/ 5917 h 27982"/>
                  <a:gd name="connsiteX18" fmla="*/ 20897 w 37083"/>
                  <a:gd name="connsiteY18" fmla="*/ 12060 h 27982"/>
                  <a:gd name="connsiteX19" fmla="*/ 20897 w 37083"/>
                  <a:gd name="connsiteY19" fmla="*/ 27963 h 27982"/>
                  <a:gd name="connsiteX20" fmla="*/ 16262 w 37083"/>
                  <a:gd name="connsiteY20" fmla="*/ 27963 h 27982"/>
                  <a:gd name="connsiteX21" fmla="*/ 16262 w 37083"/>
                  <a:gd name="connsiteY21" fmla="*/ 10194 h 27982"/>
                  <a:gd name="connsiteX22" fmla="*/ 15131 w 37083"/>
                  <a:gd name="connsiteY22" fmla="*/ 5559 h 27982"/>
                  <a:gd name="connsiteX23" fmla="*/ 11419 w 37083"/>
                  <a:gd name="connsiteY23" fmla="*/ 4014 h 27982"/>
                  <a:gd name="connsiteX24" fmla="*/ 7801 w 37083"/>
                  <a:gd name="connsiteY24" fmla="*/ 5050 h 27982"/>
                  <a:gd name="connsiteX25" fmla="*/ 5389 w 37083"/>
                  <a:gd name="connsiteY25" fmla="*/ 8065 h 27982"/>
                  <a:gd name="connsiteX26" fmla="*/ 4635 w 37083"/>
                  <a:gd name="connsiteY26" fmla="*/ 13793 h 27982"/>
                  <a:gd name="connsiteX27" fmla="*/ 4635 w 37083"/>
                  <a:gd name="connsiteY27" fmla="*/ 27982 h 27982"/>
                  <a:gd name="connsiteX28" fmla="*/ 0 w 37083"/>
                  <a:gd name="connsiteY28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7083" h="27982">
                    <a:moveTo>
                      <a:pt x="18" y="27982"/>
                    </a:moveTo>
                    <a:lnTo>
                      <a:pt x="18" y="622"/>
                    </a:lnTo>
                    <a:lnTo>
                      <a:pt x="4164" y="622"/>
                    </a:lnTo>
                    <a:lnTo>
                      <a:pt x="4164" y="4466"/>
                    </a:lnTo>
                    <a:cubicBezTo>
                      <a:pt x="5031" y="3128"/>
                      <a:pt x="6161" y="2054"/>
                      <a:pt x="7593" y="1225"/>
                    </a:cubicBezTo>
                    <a:cubicBezTo>
                      <a:pt x="9026" y="414"/>
                      <a:pt x="10646" y="0"/>
                      <a:pt x="12455" y="0"/>
                    </a:cubicBezTo>
                    <a:cubicBezTo>
                      <a:pt x="14490" y="0"/>
                      <a:pt x="16148" y="414"/>
                      <a:pt x="17449" y="1262"/>
                    </a:cubicBezTo>
                    <a:cubicBezTo>
                      <a:pt x="18749" y="2110"/>
                      <a:pt x="19654" y="3279"/>
                      <a:pt x="20200" y="4786"/>
                    </a:cubicBezTo>
                    <a:cubicBezTo>
                      <a:pt x="22367" y="1583"/>
                      <a:pt x="25174" y="0"/>
                      <a:pt x="28642" y="0"/>
                    </a:cubicBezTo>
                    <a:cubicBezTo>
                      <a:pt x="31355" y="0"/>
                      <a:pt x="33447" y="754"/>
                      <a:pt x="34898" y="2261"/>
                    </a:cubicBezTo>
                    <a:cubicBezTo>
                      <a:pt x="36348" y="3769"/>
                      <a:pt x="37084" y="6086"/>
                      <a:pt x="37084" y="9196"/>
                    </a:cubicBezTo>
                    <a:lnTo>
                      <a:pt x="37084" y="27982"/>
                    </a:lnTo>
                    <a:lnTo>
                      <a:pt x="32467" y="27982"/>
                    </a:lnTo>
                    <a:lnTo>
                      <a:pt x="32467" y="10741"/>
                    </a:lnTo>
                    <a:cubicBezTo>
                      <a:pt x="32467" y="8894"/>
                      <a:pt x="32316" y="7556"/>
                      <a:pt x="32015" y="6727"/>
                    </a:cubicBezTo>
                    <a:cubicBezTo>
                      <a:pt x="31713" y="5917"/>
                      <a:pt x="31167" y="5257"/>
                      <a:pt x="30375" y="4748"/>
                    </a:cubicBezTo>
                    <a:cubicBezTo>
                      <a:pt x="29584" y="4259"/>
                      <a:pt x="28661" y="3995"/>
                      <a:pt x="27586" y="3995"/>
                    </a:cubicBezTo>
                    <a:cubicBezTo>
                      <a:pt x="25664" y="3995"/>
                      <a:pt x="24063" y="4635"/>
                      <a:pt x="22800" y="5917"/>
                    </a:cubicBezTo>
                    <a:cubicBezTo>
                      <a:pt x="21538" y="7198"/>
                      <a:pt x="20897" y="9252"/>
                      <a:pt x="20897" y="12060"/>
                    </a:cubicBezTo>
                    <a:lnTo>
                      <a:pt x="20897" y="27963"/>
                    </a:lnTo>
                    <a:lnTo>
                      <a:pt x="16262" y="27963"/>
                    </a:lnTo>
                    <a:lnTo>
                      <a:pt x="16262" y="10194"/>
                    </a:lnTo>
                    <a:cubicBezTo>
                      <a:pt x="16262" y="8140"/>
                      <a:pt x="15885" y="6595"/>
                      <a:pt x="15131" y="5559"/>
                    </a:cubicBezTo>
                    <a:cubicBezTo>
                      <a:pt x="14377" y="4522"/>
                      <a:pt x="13134" y="4014"/>
                      <a:pt x="11419" y="4014"/>
                    </a:cubicBezTo>
                    <a:cubicBezTo>
                      <a:pt x="10119" y="4014"/>
                      <a:pt x="8913" y="4353"/>
                      <a:pt x="7801" y="5050"/>
                    </a:cubicBezTo>
                    <a:cubicBezTo>
                      <a:pt x="6689" y="5747"/>
                      <a:pt x="5898" y="6746"/>
                      <a:pt x="5389" y="8065"/>
                    </a:cubicBezTo>
                    <a:cubicBezTo>
                      <a:pt x="4899" y="9384"/>
                      <a:pt x="4635" y="11287"/>
                      <a:pt x="4635" y="13793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97" name="Freihandform: Form 3596">
                <a:extLst>
                  <a:ext uri="{FF2B5EF4-FFF2-40B4-BE49-F238E27FC236}">
                    <a16:creationId xmlns:a16="http://schemas.microsoft.com/office/drawing/2014/main" id="{DD450B3D-25FB-A2BB-90F9-61F602DCDBDA}"/>
                  </a:ext>
                </a:extLst>
              </p:cNvPr>
              <p:cNvSpPr/>
              <p:nvPr/>
            </p:nvSpPr>
            <p:spPr>
              <a:xfrm>
                <a:off x="6519135" y="1972266"/>
                <a:ext cx="25193" cy="28623"/>
              </a:xfrm>
              <a:custGeom>
                <a:avLst/>
                <a:gdLst>
                  <a:gd name="connsiteX0" fmla="*/ 19427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0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1 w 25193"/>
                  <a:gd name="connsiteY7" fmla="*/ 12908 h 28623"/>
                  <a:gd name="connsiteX8" fmla="*/ 10778 w 25193"/>
                  <a:gd name="connsiteY8" fmla="*/ 12210 h 28623"/>
                  <a:gd name="connsiteX9" fmla="*/ 19050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3 h 28623"/>
                  <a:gd name="connsiteX26" fmla="*/ 20350 w 25193"/>
                  <a:gd name="connsiteY26" fmla="*/ 27963 h 28623"/>
                  <a:gd name="connsiteX27" fmla="*/ 19427 w 25193"/>
                  <a:gd name="connsiteY27" fmla="*/ 24591 h 28623"/>
                  <a:gd name="connsiteX28" fmla="*/ 19032 w 25193"/>
                  <a:gd name="connsiteY28" fmla="*/ 14264 h 28623"/>
                  <a:gd name="connsiteX29" fmla="*/ 11456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0 w 25193"/>
                  <a:gd name="connsiteY37" fmla="*/ 15979 h 28623"/>
                  <a:gd name="connsiteX38" fmla="*/ 19050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7" y="24628"/>
                    </a:moveTo>
                    <a:cubicBezTo>
                      <a:pt x="17713" y="26079"/>
                      <a:pt x="16054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0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1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7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3" y="25834"/>
                      <a:pt x="24609" y="26927"/>
                      <a:pt x="25193" y="27963"/>
                    </a:cubicBezTo>
                    <a:lnTo>
                      <a:pt x="20350" y="27963"/>
                    </a:lnTo>
                    <a:cubicBezTo>
                      <a:pt x="19861" y="27002"/>
                      <a:pt x="19559" y="25872"/>
                      <a:pt x="19427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3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98" name="Freihandform: Form 3597">
                <a:extLst>
                  <a:ext uri="{FF2B5EF4-FFF2-40B4-BE49-F238E27FC236}">
                    <a16:creationId xmlns:a16="http://schemas.microsoft.com/office/drawing/2014/main" id="{0E6FD5F5-7A9D-2561-BB32-5B4E62405590}"/>
                  </a:ext>
                </a:extLst>
              </p:cNvPr>
              <p:cNvSpPr/>
              <p:nvPr/>
            </p:nvSpPr>
            <p:spPr>
              <a:xfrm>
                <a:off x="6563040" y="1962524"/>
                <a:ext cx="23723" cy="38365"/>
              </a:xfrm>
              <a:custGeom>
                <a:avLst/>
                <a:gdLst>
                  <a:gd name="connsiteX0" fmla="*/ 19428 w 23723"/>
                  <a:gd name="connsiteY0" fmla="*/ 37743 h 38365"/>
                  <a:gd name="connsiteX1" fmla="*/ 19428 w 23723"/>
                  <a:gd name="connsiteY1" fmla="*/ 34295 h 38365"/>
                  <a:gd name="connsiteX2" fmla="*/ 11777 w 23723"/>
                  <a:gd name="connsiteY2" fmla="*/ 38365 h 38365"/>
                  <a:gd name="connsiteX3" fmla="*/ 5766 w 23723"/>
                  <a:gd name="connsiteY3" fmla="*/ 36556 h 38365"/>
                  <a:gd name="connsiteX4" fmla="*/ 1508 w 23723"/>
                  <a:gd name="connsiteY4" fmla="*/ 31525 h 38365"/>
                  <a:gd name="connsiteX5" fmla="*/ 0 w 23723"/>
                  <a:gd name="connsiteY5" fmla="*/ 24101 h 38365"/>
                  <a:gd name="connsiteX6" fmla="*/ 1357 w 23723"/>
                  <a:gd name="connsiteY6" fmla="*/ 16676 h 38365"/>
                  <a:gd name="connsiteX7" fmla="*/ 5446 w 23723"/>
                  <a:gd name="connsiteY7" fmla="*/ 11570 h 38365"/>
                  <a:gd name="connsiteX8" fmla="*/ 11551 w 23723"/>
                  <a:gd name="connsiteY8" fmla="*/ 9799 h 38365"/>
                  <a:gd name="connsiteX9" fmla="*/ 15960 w 23723"/>
                  <a:gd name="connsiteY9" fmla="*/ 10835 h 38365"/>
                  <a:gd name="connsiteX10" fmla="*/ 19107 w 23723"/>
                  <a:gd name="connsiteY10" fmla="*/ 13548 h 38365"/>
                  <a:gd name="connsiteX11" fmla="*/ 19107 w 23723"/>
                  <a:gd name="connsiteY11" fmla="*/ 0 h 38365"/>
                  <a:gd name="connsiteX12" fmla="*/ 23724 w 23723"/>
                  <a:gd name="connsiteY12" fmla="*/ 0 h 38365"/>
                  <a:gd name="connsiteX13" fmla="*/ 23724 w 23723"/>
                  <a:gd name="connsiteY13" fmla="*/ 37762 h 38365"/>
                  <a:gd name="connsiteX14" fmla="*/ 19428 w 23723"/>
                  <a:gd name="connsiteY14" fmla="*/ 37762 h 38365"/>
                  <a:gd name="connsiteX15" fmla="*/ 4767 w 23723"/>
                  <a:gd name="connsiteY15" fmla="*/ 24082 h 38365"/>
                  <a:gd name="connsiteX16" fmla="*/ 6991 w 23723"/>
                  <a:gd name="connsiteY16" fmla="*/ 31940 h 38365"/>
                  <a:gd name="connsiteX17" fmla="*/ 12229 w 23723"/>
                  <a:gd name="connsiteY17" fmla="*/ 34540 h 38365"/>
                  <a:gd name="connsiteX18" fmla="*/ 17392 w 23723"/>
                  <a:gd name="connsiteY18" fmla="*/ 32053 h 38365"/>
                  <a:gd name="connsiteX19" fmla="*/ 19522 w 23723"/>
                  <a:gd name="connsiteY19" fmla="*/ 24459 h 38365"/>
                  <a:gd name="connsiteX20" fmla="*/ 17355 w 23723"/>
                  <a:gd name="connsiteY20" fmla="*/ 16205 h 38365"/>
                  <a:gd name="connsiteX21" fmla="*/ 12022 w 23723"/>
                  <a:gd name="connsiteY21" fmla="*/ 13586 h 38365"/>
                  <a:gd name="connsiteX22" fmla="*/ 6859 w 23723"/>
                  <a:gd name="connsiteY22" fmla="*/ 16111 h 38365"/>
                  <a:gd name="connsiteX23" fmla="*/ 4786 w 23723"/>
                  <a:gd name="connsiteY23" fmla="*/ 24063 h 38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723" h="38365">
                    <a:moveTo>
                      <a:pt x="19428" y="37743"/>
                    </a:moveTo>
                    <a:lnTo>
                      <a:pt x="19428" y="34295"/>
                    </a:lnTo>
                    <a:cubicBezTo>
                      <a:pt x="17694" y="37008"/>
                      <a:pt x="15150" y="38365"/>
                      <a:pt x="11777" y="38365"/>
                    </a:cubicBezTo>
                    <a:cubicBezTo>
                      <a:pt x="9591" y="38365"/>
                      <a:pt x="7594" y="37762"/>
                      <a:pt x="5766" y="36556"/>
                    </a:cubicBezTo>
                    <a:cubicBezTo>
                      <a:pt x="3938" y="35350"/>
                      <a:pt x="2525" y="33673"/>
                      <a:pt x="1508" y="31525"/>
                    </a:cubicBezTo>
                    <a:cubicBezTo>
                      <a:pt x="490" y="29377"/>
                      <a:pt x="0" y="26890"/>
                      <a:pt x="0" y="24101"/>
                    </a:cubicBezTo>
                    <a:cubicBezTo>
                      <a:pt x="0" y="21312"/>
                      <a:pt x="452" y="18900"/>
                      <a:pt x="1357" y="16676"/>
                    </a:cubicBezTo>
                    <a:cubicBezTo>
                      <a:pt x="2262" y="14453"/>
                      <a:pt x="3637" y="12757"/>
                      <a:pt x="5446" y="11570"/>
                    </a:cubicBezTo>
                    <a:cubicBezTo>
                      <a:pt x="7274" y="10383"/>
                      <a:pt x="9309" y="9799"/>
                      <a:pt x="11551" y="9799"/>
                    </a:cubicBezTo>
                    <a:cubicBezTo>
                      <a:pt x="13209" y="9799"/>
                      <a:pt x="14660" y="10138"/>
                      <a:pt x="15960" y="10835"/>
                    </a:cubicBezTo>
                    <a:cubicBezTo>
                      <a:pt x="17261" y="11532"/>
                      <a:pt x="18297" y="12437"/>
                      <a:pt x="19107" y="13548"/>
                    </a:cubicBezTo>
                    <a:lnTo>
                      <a:pt x="19107" y="0"/>
                    </a:lnTo>
                    <a:lnTo>
                      <a:pt x="23724" y="0"/>
                    </a:lnTo>
                    <a:lnTo>
                      <a:pt x="23724" y="37762"/>
                    </a:lnTo>
                    <a:lnTo>
                      <a:pt x="19428" y="37762"/>
                    </a:lnTo>
                    <a:close/>
                    <a:moveTo>
                      <a:pt x="4767" y="24082"/>
                    </a:moveTo>
                    <a:cubicBezTo>
                      <a:pt x="4767" y="27587"/>
                      <a:pt x="5503" y="30206"/>
                      <a:pt x="6991" y="31940"/>
                    </a:cubicBezTo>
                    <a:cubicBezTo>
                      <a:pt x="8461" y="33673"/>
                      <a:pt x="10213" y="34540"/>
                      <a:pt x="12229" y="34540"/>
                    </a:cubicBezTo>
                    <a:cubicBezTo>
                      <a:pt x="14246" y="34540"/>
                      <a:pt x="15979" y="33711"/>
                      <a:pt x="17392" y="32053"/>
                    </a:cubicBezTo>
                    <a:cubicBezTo>
                      <a:pt x="18806" y="30394"/>
                      <a:pt x="19522" y="27869"/>
                      <a:pt x="19522" y="24459"/>
                    </a:cubicBezTo>
                    <a:cubicBezTo>
                      <a:pt x="19522" y="20709"/>
                      <a:pt x="18806" y="17958"/>
                      <a:pt x="17355" y="16205"/>
                    </a:cubicBezTo>
                    <a:cubicBezTo>
                      <a:pt x="15904" y="14453"/>
                      <a:pt x="14133" y="13586"/>
                      <a:pt x="12022" y="13586"/>
                    </a:cubicBezTo>
                    <a:cubicBezTo>
                      <a:pt x="9912" y="13586"/>
                      <a:pt x="8235" y="14434"/>
                      <a:pt x="6859" y="16111"/>
                    </a:cubicBezTo>
                    <a:cubicBezTo>
                      <a:pt x="5484" y="17788"/>
                      <a:pt x="4786" y="20445"/>
                      <a:pt x="4786" y="2406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99" name="Freihandform: Form 3598">
                <a:extLst>
                  <a:ext uri="{FF2B5EF4-FFF2-40B4-BE49-F238E27FC236}">
                    <a16:creationId xmlns:a16="http://schemas.microsoft.com/office/drawing/2014/main" id="{51BE1071-C138-97ED-35D1-66C4642C871D}"/>
                  </a:ext>
                </a:extLst>
              </p:cNvPr>
              <p:cNvSpPr/>
              <p:nvPr/>
            </p:nvSpPr>
            <p:spPr>
              <a:xfrm>
                <a:off x="6592492" y="1972285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39 w 25231"/>
                  <a:gd name="connsiteY3" fmla="*/ 28585 h 28585"/>
                  <a:gd name="connsiteX4" fmla="*/ 3523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39" y="28585"/>
                    </a:cubicBezTo>
                    <a:cubicBezTo>
                      <a:pt x="9045" y="28585"/>
                      <a:pt x="5860" y="27360"/>
                      <a:pt x="3523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5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4" y="18485"/>
                      <a:pt x="5822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59" y="7632"/>
                      <a:pt x="18598" y="6482"/>
                    </a:cubicBezTo>
                    <a:cubicBezTo>
                      <a:pt x="17128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78" name="Grafik 21">
              <a:extLst>
                <a:ext uri="{FF2B5EF4-FFF2-40B4-BE49-F238E27FC236}">
                  <a16:creationId xmlns:a16="http://schemas.microsoft.com/office/drawing/2014/main" id="{21F5E571-13FB-9E72-1065-2D31AFABDD4D}"/>
                </a:ext>
              </a:extLst>
            </p:cNvPr>
            <p:cNvGrpSpPr/>
            <p:nvPr/>
          </p:nvGrpSpPr>
          <p:grpSpPr>
            <a:xfrm>
              <a:off x="6635210" y="1962505"/>
              <a:ext cx="193201" cy="38402"/>
              <a:chOff x="6635210" y="1962505"/>
              <a:chExt cx="193201" cy="38402"/>
            </a:xfrm>
            <a:solidFill>
              <a:srgbClr val="000000"/>
            </a:solidFill>
          </p:grpSpPr>
          <p:sp>
            <p:nvSpPr>
              <p:cNvPr id="3585" name="Freihandform: Form 3584">
                <a:extLst>
                  <a:ext uri="{FF2B5EF4-FFF2-40B4-BE49-F238E27FC236}">
                    <a16:creationId xmlns:a16="http://schemas.microsoft.com/office/drawing/2014/main" id="{52C7BC18-570F-82F5-5537-E321B7830334}"/>
                  </a:ext>
                </a:extLst>
              </p:cNvPr>
              <p:cNvSpPr/>
              <p:nvPr/>
            </p:nvSpPr>
            <p:spPr>
              <a:xfrm>
                <a:off x="6635210" y="1962505"/>
                <a:ext cx="36047" cy="37762"/>
              </a:xfrm>
              <a:custGeom>
                <a:avLst/>
                <a:gdLst>
                  <a:gd name="connsiteX0" fmla="*/ 0 w 36047"/>
                  <a:gd name="connsiteY0" fmla="*/ 37762 h 37762"/>
                  <a:gd name="connsiteX1" fmla="*/ 0 w 36047"/>
                  <a:gd name="connsiteY1" fmla="*/ 0 h 37762"/>
                  <a:gd name="connsiteX2" fmla="*/ 7518 w 36047"/>
                  <a:gd name="connsiteY2" fmla="*/ 0 h 37762"/>
                  <a:gd name="connsiteX3" fmla="*/ 16450 w 36047"/>
                  <a:gd name="connsiteY3" fmla="*/ 26739 h 37762"/>
                  <a:gd name="connsiteX4" fmla="*/ 18259 w 36047"/>
                  <a:gd name="connsiteY4" fmla="*/ 32335 h 37762"/>
                  <a:gd name="connsiteX5" fmla="*/ 20275 w 36047"/>
                  <a:gd name="connsiteY5" fmla="*/ 26286 h 37762"/>
                  <a:gd name="connsiteX6" fmla="*/ 29320 w 36047"/>
                  <a:gd name="connsiteY6" fmla="*/ 0 h 37762"/>
                  <a:gd name="connsiteX7" fmla="*/ 36048 w 36047"/>
                  <a:gd name="connsiteY7" fmla="*/ 0 h 37762"/>
                  <a:gd name="connsiteX8" fmla="*/ 36048 w 36047"/>
                  <a:gd name="connsiteY8" fmla="*/ 37762 h 37762"/>
                  <a:gd name="connsiteX9" fmla="*/ 31224 w 36047"/>
                  <a:gd name="connsiteY9" fmla="*/ 37762 h 37762"/>
                  <a:gd name="connsiteX10" fmla="*/ 31224 w 36047"/>
                  <a:gd name="connsiteY10" fmla="*/ 6143 h 37762"/>
                  <a:gd name="connsiteX11" fmla="*/ 20257 w 36047"/>
                  <a:gd name="connsiteY11" fmla="*/ 37762 h 37762"/>
                  <a:gd name="connsiteX12" fmla="*/ 15753 w 36047"/>
                  <a:gd name="connsiteY12" fmla="*/ 37762 h 37762"/>
                  <a:gd name="connsiteX13" fmla="*/ 4824 w 36047"/>
                  <a:gd name="connsiteY13" fmla="*/ 5615 h 37762"/>
                  <a:gd name="connsiteX14" fmla="*/ 4824 w 36047"/>
                  <a:gd name="connsiteY14" fmla="*/ 37762 h 37762"/>
                  <a:gd name="connsiteX15" fmla="*/ 0 w 36047"/>
                  <a:gd name="connsiteY15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6047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7518" y="0"/>
                    </a:lnTo>
                    <a:lnTo>
                      <a:pt x="16450" y="26739"/>
                    </a:lnTo>
                    <a:cubicBezTo>
                      <a:pt x="17279" y="29226"/>
                      <a:pt x="17882" y="31092"/>
                      <a:pt x="18259" y="32335"/>
                    </a:cubicBezTo>
                    <a:cubicBezTo>
                      <a:pt x="18692" y="30960"/>
                      <a:pt x="19352" y="28943"/>
                      <a:pt x="20275" y="26286"/>
                    </a:cubicBezTo>
                    <a:lnTo>
                      <a:pt x="29320" y="0"/>
                    </a:lnTo>
                    <a:lnTo>
                      <a:pt x="36048" y="0"/>
                    </a:lnTo>
                    <a:lnTo>
                      <a:pt x="36048" y="37762"/>
                    </a:lnTo>
                    <a:lnTo>
                      <a:pt x="31224" y="37762"/>
                    </a:lnTo>
                    <a:lnTo>
                      <a:pt x="31224" y="6143"/>
                    </a:lnTo>
                    <a:lnTo>
                      <a:pt x="20257" y="37762"/>
                    </a:lnTo>
                    <a:lnTo>
                      <a:pt x="15753" y="37762"/>
                    </a:lnTo>
                    <a:lnTo>
                      <a:pt x="4824" y="5615"/>
                    </a:lnTo>
                    <a:lnTo>
                      <a:pt x="4824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86" name="Freihandform: Form 3585">
                <a:extLst>
                  <a:ext uri="{FF2B5EF4-FFF2-40B4-BE49-F238E27FC236}">
                    <a16:creationId xmlns:a16="http://schemas.microsoft.com/office/drawing/2014/main" id="{7E2E52BA-0576-32CA-2767-9B0DAC82E8D1}"/>
                  </a:ext>
                </a:extLst>
              </p:cNvPr>
              <p:cNvSpPr/>
              <p:nvPr/>
            </p:nvSpPr>
            <p:spPr>
              <a:xfrm>
                <a:off x="6677136" y="1972266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0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2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80" y="27002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87" name="Freihandform: Form 3586">
                <a:extLst>
                  <a:ext uri="{FF2B5EF4-FFF2-40B4-BE49-F238E27FC236}">
                    <a16:creationId xmlns:a16="http://schemas.microsoft.com/office/drawing/2014/main" id="{F6E4C657-67C5-80E9-71E7-8246CEB25925}"/>
                  </a:ext>
                </a:extLst>
              </p:cNvPr>
              <p:cNvSpPr/>
              <p:nvPr/>
            </p:nvSpPr>
            <p:spPr>
              <a:xfrm>
                <a:off x="6707964" y="1962505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88" name="Freihandform: Form 3587">
                <a:extLst>
                  <a:ext uri="{FF2B5EF4-FFF2-40B4-BE49-F238E27FC236}">
                    <a16:creationId xmlns:a16="http://schemas.microsoft.com/office/drawing/2014/main" id="{460FE47E-7981-684D-888A-C37F55DAAD29}"/>
                  </a:ext>
                </a:extLst>
              </p:cNvPr>
              <p:cNvSpPr/>
              <p:nvPr/>
            </p:nvSpPr>
            <p:spPr>
              <a:xfrm>
                <a:off x="6719685" y="1962505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89" name="Freihandform: Form 3588">
                <a:extLst>
                  <a:ext uri="{FF2B5EF4-FFF2-40B4-BE49-F238E27FC236}">
                    <a16:creationId xmlns:a16="http://schemas.microsoft.com/office/drawing/2014/main" id="{82C1157B-0761-6AB2-A64D-AE0EC7D48F56}"/>
                  </a:ext>
                </a:extLst>
              </p:cNvPr>
              <p:cNvSpPr/>
              <p:nvPr/>
            </p:nvSpPr>
            <p:spPr>
              <a:xfrm>
                <a:off x="6729766" y="1972304"/>
                <a:ext cx="25646" cy="28604"/>
              </a:xfrm>
              <a:custGeom>
                <a:avLst/>
                <a:gdLst>
                  <a:gd name="connsiteX0" fmla="*/ 19 w 25646"/>
                  <a:gd name="connsiteY0" fmla="*/ 14283 h 28604"/>
                  <a:gd name="connsiteX1" fmla="*/ 4240 w 25646"/>
                  <a:gd name="connsiteY1" fmla="*/ 3034 h 28604"/>
                  <a:gd name="connsiteX2" fmla="*/ 12851 w 25646"/>
                  <a:gd name="connsiteY2" fmla="*/ 0 h 28604"/>
                  <a:gd name="connsiteX3" fmla="*/ 22066 w 25646"/>
                  <a:gd name="connsiteY3" fmla="*/ 3693 h 28604"/>
                  <a:gd name="connsiteX4" fmla="*/ 25646 w 25646"/>
                  <a:gd name="connsiteY4" fmla="*/ 13906 h 28604"/>
                  <a:gd name="connsiteX5" fmla="*/ 24063 w 25646"/>
                  <a:gd name="connsiteY5" fmla="*/ 22216 h 28604"/>
                  <a:gd name="connsiteX6" fmla="*/ 19446 w 25646"/>
                  <a:gd name="connsiteY6" fmla="*/ 26927 h 28604"/>
                  <a:gd name="connsiteX7" fmla="*/ 12832 w 25646"/>
                  <a:gd name="connsiteY7" fmla="*/ 28604 h 28604"/>
                  <a:gd name="connsiteX8" fmla="*/ 3543 w 25646"/>
                  <a:gd name="connsiteY8" fmla="*/ 24911 h 28604"/>
                  <a:gd name="connsiteX9" fmla="*/ 0 w 25646"/>
                  <a:gd name="connsiteY9" fmla="*/ 14302 h 28604"/>
                  <a:gd name="connsiteX10" fmla="*/ 4786 w 25646"/>
                  <a:gd name="connsiteY10" fmla="*/ 14283 h 28604"/>
                  <a:gd name="connsiteX11" fmla="*/ 7085 w 25646"/>
                  <a:gd name="connsiteY11" fmla="*/ 22160 h 28604"/>
                  <a:gd name="connsiteX12" fmla="*/ 12851 w 25646"/>
                  <a:gd name="connsiteY12" fmla="*/ 24779 h 28604"/>
                  <a:gd name="connsiteX13" fmla="*/ 18599 w 25646"/>
                  <a:gd name="connsiteY13" fmla="*/ 22160 h 28604"/>
                  <a:gd name="connsiteX14" fmla="*/ 20897 w 25646"/>
                  <a:gd name="connsiteY14" fmla="*/ 14151 h 28604"/>
                  <a:gd name="connsiteX15" fmla="*/ 18599 w 25646"/>
                  <a:gd name="connsiteY15" fmla="*/ 6463 h 28604"/>
                  <a:gd name="connsiteX16" fmla="*/ 12870 w 25646"/>
                  <a:gd name="connsiteY16" fmla="*/ 3844 h 28604"/>
                  <a:gd name="connsiteX17" fmla="*/ 7104 w 25646"/>
                  <a:gd name="connsiteY17" fmla="*/ 6445 h 28604"/>
                  <a:gd name="connsiteX18" fmla="*/ 4805 w 25646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6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2" y="1225"/>
                      <a:pt x="22066" y="3693"/>
                    </a:cubicBezTo>
                    <a:cubicBezTo>
                      <a:pt x="24440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58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43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912"/>
                      <a:pt x="10534" y="24779"/>
                      <a:pt x="12851" y="24779"/>
                    </a:cubicBezTo>
                    <a:cubicBezTo>
                      <a:pt x="15169" y="24779"/>
                      <a:pt x="17072" y="23912"/>
                      <a:pt x="18599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9" y="6463"/>
                    </a:cubicBezTo>
                    <a:cubicBezTo>
                      <a:pt x="17072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90" name="Freihandform: Form 3589">
                <a:extLst>
                  <a:ext uri="{FF2B5EF4-FFF2-40B4-BE49-F238E27FC236}">
                    <a16:creationId xmlns:a16="http://schemas.microsoft.com/office/drawing/2014/main" id="{3212B2CA-3666-F811-033F-1776588F48FA}"/>
                  </a:ext>
                </a:extLst>
              </p:cNvPr>
              <p:cNvSpPr/>
              <p:nvPr/>
            </p:nvSpPr>
            <p:spPr>
              <a:xfrm>
                <a:off x="6760801" y="1972285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2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5 w 14867"/>
                  <a:gd name="connsiteY7" fmla="*/ 5785 h 27982"/>
                  <a:gd name="connsiteX8" fmla="*/ 9874 w 14867"/>
                  <a:gd name="connsiteY8" fmla="*/ 4786 h 27982"/>
                  <a:gd name="connsiteX9" fmla="*/ 7141 w 14867"/>
                  <a:gd name="connsiteY9" fmla="*/ 5709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38" y="2827"/>
                      <a:pt x="6218" y="1545"/>
                      <a:pt x="7122" y="923"/>
                    </a:cubicBezTo>
                    <a:cubicBezTo>
                      <a:pt x="8027" y="301"/>
                      <a:pt x="9007" y="0"/>
                      <a:pt x="10100" y="0"/>
                    </a:cubicBezTo>
                    <a:cubicBezTo>
                      <a:pt x="11664" y="0"/>
                      <a:pt x="13246" y="490"/>
                      <a:pt x="14867" y="1489"/>
                    </a:cubicBezTo>
                    <a:lnTo>
                      <a:pt x="13265" y="5785"/>
                    </a:lnTo>
                    <a:cubicBezTo>
                      <a:pt x="12135" y="5106"/>
                      <a:pt x="11004" y="4786"/>
                      <a:pt x="9874" y="4786"/>
                    </a:cubicBezTo>
                    <a:cubicBezTo>
                      <a:pt x="8856" y="4786"/>
                      <a:pt x="7952" y="5088"/>
                      <a:pt x="7141" y="5709"/>
                    </a:cubicBezTo>
                    <a:cubicBezTo>
                      <a:pt x="6331" y="6331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91" name="Freihandform: Form 3590">
                <a:extLst>
                  <a:ext uri="{FF2B5EF4-FFF2-40B4-BE49-F238E27FC236}">
                    <a16:creationId xmlns:a16="http://schemas.microsoft.com/office/drawing/2014/main" id="{FE7489EA-67EB-7F5A-08FF-329149E3E9B9}"/>
                  </a:ext>
                </a:extLst>
              </p:cNvPr>
              <p:cNvSpPr/>
              <p:nvPr/>
            </p:nvSpPr>
            <p:spPr>
              <a:xfrm>
                <a:off x="6777006" y="1972285"/>
                <a:ext cx="23818" cy="28604"/>
              </a:xfrm>
              <a:custGeom>
                <a:avLst/>
                <a:gdLst>
                  <a:gd name="connsiteX0" fmla="*/ 19258 w 23818"/>
                  <a:gd name="connsiteY0" fmla="*/ 17958 h 28604"/>
                  <a:gd name="connsiteX1" fmla="*/ 23818 w 23818"/>
                  <a:gd name="connsiteY1" fmla="*/ 18542 h 28604"/>
                  <a:gd name="connsiteX2" fmla="*/ 19993 w 23818"/>
                  <a:gd name="connsiteY2" fmla="*/ 25928 h 28604"/>
                  <a:gd name="connsiteX3" fmla="*/ 12437 w 23818"/>
                  <a:gd name="connsiteY3" fmla="*/ 28604 h 28604"/>
                  <a:gd name="connsiteX4" fmla="*/ 3411 w 23818"/>
                  <a:gd name="connsiteY4" fmla="*/ 24930 h 28604"/>
                  <a:gd name="connsiteX5" fmla="*/ 0 w 23818"/>
                  <a:gd name="connsiteY5" fmla="*/ 14415 h 28604"/>
                  <a:gd name="connsiteX6" fmla="*/ 1470 w 23818"/>
                  <a:gd name="connsiteY6" fmla="*/ 6652 h 28604"/>
                  <a:gd name="connsiteX7" fmla="*/ 5936 w 23818"/>
                  <a:gd name="connsiteY7" fmla="*/ 1658 h 28604"/>
                  <a:gd name="connsiteX8" fmla="*/ 12475 w 23818"/>
                  <a:gd name="connsiteY8" fmla="*/ 0 h 28604"/>
                  <a:gd name="connsiteX9" fmla="*/ 19767 w 23818"/>
                  <a:gd name="connsiteY9" fmla="*/ 2261 h 28604"/>
                  <a:gd name="connsiteX10" fmla="*/ 23403 w 23818"/>
                  <a:gd name="connsiteY10" fmla="*/ 8668 h 28604"/>
                  <a:gd name="connsiteX11" fmla="*/ 18900 w 23818"/>
                  <a:gd name="connsiteY11" fmla="*/ 9365 h 28604"/>
                  <a:gd name="connsiteX12" fmla="*/ 16620 w 23818"/>
                  <a:gd name="connsiteY12" fmla="*/ 5220 h 28604"/>
                  <a:gd name="connsiteX13" fmla="*/ 12663 w 23818"/>
                  <a:gd name="connsiteY13" fmla="*/ 3825 h 28604"/>
                  <a:gd name="connsiteX14" fmla="*/ 6972 w 23818"/>
                  <a:gd name="connsiteY14" fmla="*/ 6331 h 28604"/>
                  <a:gd name="connsiteX15" fmla="*/ 4786 w 23818"/>
                  <a:gd name="connsiteY15" fmla="*/ 14283 h 28604"/>
                  <a:gd name="connsiteX16" fmla="*/ 6897 w 23818"/>
                  <a:gd name="connsiteY16" fmla="*/ 22292 h 28604"/>
                  <a:gd name="connsiteX17" fmla="*/ 12418 w 23818"/>
                  <a:gd name="connsiteY17" fmla="*/ 24798 h 28604"/>
                  <a:gd name="connsiteX18" fmla="*/ 16978 w 23818"/>
                  <a:gd name="connsiteY18" fmla="*/ 23121 h 28604"/>
                  <a:gd name="connsiteX19" fmla="*/ 19296 w 23818"/>
                  <a:gd name="connsiteY19" fmla="*/ 17977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818" h="28604">
                    <a:moveTo>
                      <a:pt x="19258" y="17958"/>
                    </a:moveTo>
                    <a:lnTo>
                      <a:pt x="23818" y="18542"/>
                    </a:lnTo>
                    <a:cubicBezTo>
                      <a:pt x="23328" y="21689"/>
                      <a:pt x="22047" y="24138"/>
                      <a:pt x="19993" y="25928"/>
                    </a:cubicBezTo>
                    <a:cubicBezTo>
                      <a:pt x="17939" y="27719"/>
                      <a:pt x="15414" y="28604"/>
                      <a:pt x="12437" y="28604"/>
                    </a:cubicBezTo>
                    <a:cubicBezTo>
                      <a:pt x="8687" y="28604"/>
                      <a:pt x="5691" y="27379"/>
                      <a:pt x="3411" y="24930"/>
                    </a:cubicBezTo>
                    <a:cubicBezTo>
                      <a:pt x="1131" y="22480"/>
                      <a:pt x="0" y="18975"/>
                      <a:pt x="0" y="14415"/>
                    </a:cubicBezTo>
                    <a:cubicBezTo>
                      <a:pt x="0" y="11457"/>
                      <a:pt x="490" y="8875"/>
                      <a:pt x="1470" y="6652"/>
                    </a:cubicBezTo>
                    <a:cubicBezTo>
                      <a:pt x="2450" y="4428"/>
                      <a:pt x="3938" y="2770"/>
                      <a:pt x="5936" y="1658"/>
                    </a:cubicBezTo>
                    <a:cubicBezTo>
                      <a:pt x="7933" y="546"/>
                      <a:pt x="10119" y="0"/>
                      <a:pt x="12475" y="0"/>
                    </a:cubicBezTo>
                    <a:cubicBezTo>
                      <a:pt x="15451" y="0"/>
                      <a:pt x="17882" y="754"/>
                      <a:pt x="19767" y="2261"/>
                    </a:cubicBezTo>
                    <a:cubicBezTo>
                      <a:pt x="21651" y="3769"/>
                      <a:pt x="22876" y="5898"/>
                      <a:pt x="23403" y="8668"/>
                    </a:cubicBezTo>
                    <a:lnTo>
                      <a:pt x="18900" y="9365"/>
                    </a:lnTo>
                    <a:cubicBezTo>
                      <a:pt x="18467" y="7518"/>
                      <a:pt x="17713" y="6143"/>
                      <a:pt x="16620" y="5220"/>
                    </a:cubicBezTo>
                    <a:cubicBezTo>
                      <a:pt x="15527" y="4296"/>
                      <a:pt x="14208" y="3825"/>
                      <a:pt x="12663" y="3825"/>
                    </a:cubicBezTo>
                    <a:cubicBezTo>
                      <a:pt x="10326" y="3825"/>
                      <a:pt x="8423" y="4654"/>
                      <a:pt x="6972" y="6331"/>
                    </a:cubicBezTo>
                    <a:cubicBezTo>
                      <a:pt x="5521" y="8008"/>
                      <a:pt x="4786" y="10646"/>
                      <a:pt x="4786" y="14283"/>
                    </a:cubicBezTo>
                    <a:cubicBezTo>
                      <a:pt x="4786" y="17920"/>
                      <a:pt x="5483" y="20633"/>
                      <a:pt x="6897" y="22292"/>
                    </a:cubicBezTo>
                    <a:cubicBezTo>
                      <a:pt x="8310" y="23950"/>
                      <a:pt x="10138" y="24798"/>
                      <a:pt x="12418" y="24798"/>
                    </a:cubicBezTo>
                    <a:cubicBezTo>
                      <a:pt x="14246" y="24798"/>
                      <a:pt x="15753" y="24233"/>
                      <a:pt x="16978" y="23121"/>
                    </a:cubicBezTo>
                    <a:cubicBezTo>
                      <a:pt x="18203" y="22009"/>
                      <a:pt x="18975" y="20294"/>
                      <a:pt x="19296" y="1797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92" name="Freihandform: Form 3591">
                <a:extLst>
                  <a:ext uri="{FF2B5EF4-FFF2-40B4-BE49-F238E27FC236}">
                    <a16:creationId xmlns:a16="http://schemas.microsoft.com/office/drawing/2014/main" id="{84D36B25-BBE3-95FD-C62A-A3F18F912FD0}"/>
                  </a:ext>
                </a:extLst>
              </p:cNvPr>
              <p:cNvSpPr/>
              <p:nvPr/>
            </p:nvSpPr>
            <p:spPr>
              <a:xfrm>
                <a:off x="6803217" y="1972266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6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4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9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1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1 w 25193"/>
                  <a:gd name="connsiteY15" fmla="*/ 8423 h 28623"/>
                  <a:gd name="connsiteX16" fmla="*/ 2845 w 25193"/>
                  <a:gd name="connsiteY16" fmla="*/ 3712 h 28623"/>
                  <a:gd name="connsiteX17" fmla="*/ 6935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6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6" y="28623"/>
                    </a:cubicBezTo>
                    <a:cubicBezTo>
                      <a:pt x="6369" y="28623"/>
                      <a:pt x="4052" y="27888"/>
                      <a:pt x="2431" y="26418"/>
                    </a:cubicBezTo>
                    <a:cubicBezTo>
                      <a:pt x="811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4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9" y="12210"/>
                    </a:cubicBezTo>
                    <a:cubicBezTo>
                      <a:pt x="14529" y="11758"/>
                      <a:pt x="17280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9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1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4" y="1602"/>
                      <a:pt x="6935" y="961"/>
                    </a:cubicBezTo>
                    <a:cubicBezTo>
                      <a:pt x="8706" y="320"/>
                      <a:pt x="10798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80" y="27002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5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79" name="Grafik 21">
              <a:extLst>
                <a:ext uri="{FF2B5EF4-FFF2-40B4-BE49-F238E27FC236}">
                  <a16:creationId xmlns:a16="http://schemas.microsoft.com/office/drawing/2014/main" id="{EB606193-D8E3-2FBB-19C8-6258CE5DF88B}"/>
                </a:ext>
              </a:extLst>
            </p:cNvPr>
            <p:cNvGrpSpPr/>
            <p:nvPr/>
          </p:nvGrpSpPr>
          <p:grpSpPr>
            <a:xfrm>
              <a:off x="8134238" y="1937387"/>
              <a:ext cx="103205" cy="39024"/>
              <a:chOff x="8134238" y="1937387"/>
              <a:chExt cx="103205" cy="39024"/>
            </a:xfrm>
            <a:solidFill>
              <a:srgbClr val="000000"/>
            </a:solidFill>
          </p:grpSpPr>
          <p:sp>
            <p:nvSpPr>
              <p:cNvPr id="3579" name="Freihandform: Form 3578">
                <a:extLst>
                  <a:ext uri="{FF2B5EF4-FFF2-40B4-BE49-F238E27FC236}">
                    <a16:creationId xmlns:a16="http://schemas.microsoft.com/office/drawing/2014/main" id="{DFCB6FC3-6FD3-9126-BA9E-CEFCBFCD8028}"/>
                  </a:ext>
                </a:extLst>
              </p:cNvPr>
              <p:cNvSpPr/>
              <p:nvPr/>
            </p:nvSpPr>
            <p:spPr>
              <a:xfrm>
                <a:off x="8134238" y="1937990"/>
                <a:ext cx="29941" cy="37780"/>
              </a:xfrm>
              <a:custGeom>
                <a:avLst/>
                <a:gdLst>
                  <a:gd name="connsiteX0" fmla="*/ 12437 w 29941"/>
                  <a:gd name="connsiteY0" fmla="*/ 37781 h 37780"/>
                  <a:gd name="connsiteX1" fmla="*/ 12437 w 29941"/>
                  <a:gd name="connsiteY1" fmla="*/ 4466 h 37780"/>
                  <a:gd name="connsiteX2" fmla="*/ 0 w 29941"/>
                  <a:gd name="connsiteY2" fmla="*/ 4466 h 37780"/>
                  <a:gd name="connsiteX3" fmla="*/ 0 w 29941"/>
                  <a:gd name="connsiteY3" fmla="*/ 0 h 37780"/>
                  <a:gd name="connsiteX4" fmla="*/ 29942 w 29941"/>
                  <a:gd name="connsiteY4" fmla="*/ 0 h 37780"/>
                  <a:gd name="connsiteX5" fmla="*/ 29942 w 29941"/>
                  <a:gd name="connsiteY5" fmla="*/ 4466 h 37780"/>
                  <a:gd name="connsiteX6" fmla="*/ 17449 w 29941"/>
                  <a:gd name="connsiteY6" fmla="*/ 4466 h 37780"/>
                  <a:gd name="connsiteX7" fmla="*/ 17449 w 29941"/>
                  <a:gd name="connsiteY7" fmla="*/ 37781 h 37780"/>
                  <a:gd name="connsiteX8" fmla="*/ 12456 w 29941"/>
                  <a:gd name="connsiteY8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941" h="37780">
                    <a:moveTo>
                      <a:pt x="12437" y="37781"/>
                    </a:moveTo>
                    <a:lnTo>
                      <a:pt x="12437" y="4466"/>
                    </a:lnTo>
                    <a:lnTo>
                      <a:pt x="0" y="4466"/>
                    </a:lnTo>
                    <a:lnTo>
                      <a:pt x="0" y="0"/>
                    </a:lnTo>
                    <a:lnTo>
                      <a:pt x="29942" y="0"/>
                    </a:lnTo>
                    <a:lnTo>
                      <a:pt x="29942" y="4466"/>
                    </a:lnTo>
                    <a:lnTo>
                      <a:pt x="17449" y="4466"/>
                    </a:lnTo>
                    <a:lnTo>
                      <a:pt x="17449" y="37781"/>
                    </a:lnTo>
                    <a:lnTo>
                      <a:pt x="12456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80" name="Freihandform: Form 3579">
                <a:extLst>
                  <a:ext uri="{FF2B5EF4-FFF2-40B4-BE49-F238E27FC236}">
                    <a16:creationId xmlns:a16="http://schemas.microsoft.com/office/drawing/2014/main" id="{9514FEBC-32D1-3D6C-CA34-989C9826BEB6}"/>
                  </a:ext>
                </a:extLst>
              </p:cNvPr>
              <p:cNvSpPr/>
              <p:nvPr/>
            </p:nvSpPr>
            <p:spPr>
              <a:xfrm>
                <a:off x="8166762" y="1938009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1 h 37762"/>
                  <a:gd name="connsiteX7" fmla="*/ 4635 w 4635"/>
                  <a:gd name="connsiteY7" fmla="*/ 10401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1"/>
                    </a:lnTo>
                    <a:lnTo>
                      <a:pt x="4635" y="10401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81" name="Freihandform: Form 3580">
                <a:extLst>
                  <a:ext uri="{FF2B5EF4-FFF2-40B4-BE49-F238E27FC236}">
                    <a16:creationId xmlns:a16="http://schemas.microsoft.com/office/drawing/2014/main" id="{A3FB1B57-C0EF-6844-E000-19669D6F157D}"/>
                  </a:ext>
                </a:extLst>
              </p:cNvPr>
              <p:cNvSpPr/>
              <p:nvPr/>
            </p:nvSpPr>
            <p:spPr>
              <a:xfrm>
                <a:off x="8175486" y="1937387"/>
                <a:ext cx="15998" cy="38421"/>
              </a:xfrm>
              <a:custGeom>
                <a:avLst/>
                <a:gdLst>
                  <a:gd name="connsiteX0" fmla="*/ 4089 w 15998"/>
                  <a:gd name="connsiteY0" fmla="*/ 38384 h 38421"/>
                  <a:gd name="connsiteX1" fmla="*/ 4089 w 15998"/>
                  <a:gd name="connsiteY1" fmla="*/ 14622 h 38421"/>
                  <a:gd name="connsiteX2" fmla="*/ 0 w 15998"/>
                  <a:gd name="connsiteY2" fmla="*/ 14622 h 38421"/>
                  <a:gd name="connsiteX3" fmla="*/ 0 w 15998"/>
                  <a:gd name="connsiteY3" fmla="*/ 11023 h 38421"/>
                  <a:gd name="connsiteX4" fmla="*/ 4089 w 15998"/>
                  <a:gd name="connsiteY4" fmla="*/ 11023 h 38421"/>
                  <a:gd name="connsiteX5" fmla="*/ 4089 w 15998"/>
                  <a:gd name="connsiteY5" fmla="*/ 8121 h 38421"/>
                  <a:gd name="connsiteX6" fmla="*/ 4579 w 15998"/>
                  <a:gd name="connsiteY6" fmla="*/ 4033 h 38421"/>
                  <a:gd name="connsiteX7" fmla="*/ 6935 w 15998"/>
                  <a:gd name="connsiteY7" fmla="*/ 1112 h 38421"/>
                  <a:gd name="connsiteX8" fmla="*/ 11664 w 15998"/>
                  <a:gd name="connsiteY8" fmla="*/ 0 h 38421"/>
                  <a:gd name="connsiteX9" fmla="*/ 15998 w 15998"/>
                  <a:gd name="connsiteY9" fmla="*/ 471 h 38421"/>
                  <a:gd name="connsiteX10" fmla="*/ 15301 w 15998"/>
                  <a:gd name="connsiteY10" fmla="*/ 4522 h 38421"/>
                  <a:gd name="connsiteX11" fmla="*/ 12569 w 15998"/>
                  <a:gd name="connsiteY11" fmla="*/ 4259 h 38421"/>
                  <a:gd name="connsiteX12" fmla="*/ 9573 w 15998"/>
                  <a:gd name="connsiteY12" fmla="*/ 5163 h 38421"/>
                  <a:gd name="connsiteX13" fmla="*/ 8706 w 15998"/>
                  <a:gd name="connsiteY13" fmla="*/ 8536 h 38421"/>
                  <a:gd name="connsiteX14" fmla="*/ 8706 w 15998"/>
                  <a:gd name="connsiteY14" fmla="*/ 11061 h 38421"/>
                  <a:gd name="connsiteX15" fmla="*/ 14039 w 15998"/>
                  <a:gd name="connsiteY15" fmla="*/ 11061 h 38421"/>
                  <a:gd name="connsiteX16" fmla="*/ 14039 w 15998"/>
                  <a:gd name="connsiteY16" fmla="*/ 14660 h 38421"/>
                  <a:gd name="connsiteX17" fmla="*/ 8706 w 15998"/>
                  <a:gd name="connsiteY17" fmla="*/ 14660 h 38421"/>
                  <a:gd name="connsiteX18" fmla="*/ 8706 w 15998"/>
                  <a:gd name="connsiteY18" fmla="*/ 38422 h 38421"/>
                  <a:gd name="connsiteX19" fmla="*/ 4089 w 15998"/>
                  <a:gd name="connsiteY19" fmla="*/ 38422 h 38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998" h="38421">
                    <a:moveTo>
                      <a:pt x="4089" y="38384"/>
                    </a:moveTo>
                    <a:lnTo>
                      <a:pt x="4089" y="14622"/>
                    </a:lnTo>
                    <a:lnTo>
                      <a:pt x="0" y="14622"/>
                    </a:lnTo>
                    <a:lnTo>
                      <a:pt x="0" y="11023"/>
                    </a:lnTo>
                    <a:lnTo>
                      <a:pt x="4089" y="11023"/>
                    </a:lnTo>
                    <a:lnTo>
                      <a:pt x="4089" y="8121"/>
                    </a:lnTo>
                    <a:cubicBezTo>
                      <a:pt x="4089" y="6275"/>
                      <a:pt x="4259" y="4918"/>
                      <a:pt x="4579" y="4033"/>
                    </a:cubicBezTo>
                    <a:cubicBezTo>
                      <a:pt x="5031" y="2827"/>
                      <a:pt x="5804" y="1847"/>
                      <a:pt x="6935" y="1112"/>
                    </a:cubicBezTo>
                    <a:cubicBezTo>
                      <a:pt x="8065" y="377"/>
                      <a:pt x="9629" y="0"/>
                      <a:pt x="11664" y="0"/>
                    </a:cubicBezTo>
                    <a:cubicBezTo>
                      <a:pt x="12964" y="0"/>
                      <a:pt x="14415" y="151"/>
                      <a:pt x="15998" y="471"/>
                    </a:cubicBezTo>
                    <a:lnTo>
                      <a:pt x="15301" y="4522"/>
                    </a:lnTo>
                    <a:cubicBezTo>
                      <a:pt x="14340" y="4353"/>
                      <a:pt x="13436" y="4259"/>
                      <a:pt x="12569" y="4259"/>
                    </a:cubicBezTo>
                    <a:cubicBezTo>
                      <a:pt x="11156" y="4259"/>
                      <a:pt x="10157" y="4560"/>
                      <a:pt x="9573" y="5163"/>
                    </a:cubicBezTo>
                    <a:cubicBezTo>
                      <a:pt x="8988" y="5766"/>
                      <a:pt x="8706" y="6897"/>
                      <a:pt x="8706" y="8536"/>
                    </a:cubicBezTo>
                    <a:lnTo>
                      <a:pt x="8706" y="11061"/>
                    </a:lnTo>
                    <a:lnTo>
                      <a:pt x="14039" y="11061"/>
                    </a:lnTo>
                    <a:lnTo>
                      <a:pt x="14039" y="14660"/>
                    </a:lnTo>
                    <a:lnTo>
                      <a:pt x="8706" y="14660"/>
                    </a:lnTo>
                    <a:lnTo>
                      <a:pt x="8706" y="38422"/>
                    </a:lnTo>
                    <a:lnTo>
                      <a:pt x="4089" y="3842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82" name="Freihandform: Form 3581">
                <a:extLst>
                  <a:ext uri="{FF2B5EF4-FFF2-40B4-BE49-F238E27FC236}">
                    <a16:creationId xmlns:a16="http://schemas.microsoft.com/office/drawing/2014/main" id="{2B2A3713-7794-21C0-4507-F6A392491F8F}"/>
                  </a:ext>
                </a:extLst>
              </p:cNvPr>
              <p:cNvSpPr/>
              <p:nvPr/>
            </p:nvSpPr>
            <p:spPr>
              <a:xfrm>
                <a:off x="8193029" y="1938009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83" name="Freihandform: Form 3582">
                <a:extLst>
                  <a:ext uri="{FF2B5EF4-FFF2-40B4-BE49-F238E27FC236}">
                    <a16:creationId xmlns:a16="http://schemas.microsoft.com/office/drawing/2014/main" id="{AF4012D5-34E3-DD38-1D23-ED89545BC4A7}"/>
                  </a:ext>
                </a:extLst>
              </p:cNvPr>
              <p:cNvSpPr/>
              <p:nvPr/>
            </p:nvSpPr>
            <p:spPr>
              <a:xfrm>
                <a:off x="8204863" y="1938009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1 h 37762"/>
                  <a:gd name="connsiteX7" fmla="*/ 4635 w 4635"/>
                  <a:gd name="connsiteY7" fmla="*/ 10401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1"/>
                    </a:lnTo>
                    <a:lnTo>
                      <a:pt x="4635" y="10401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84" name="Freihandform: Form 3583">
                <a:extLst>
                  <a:ext uri="{FF2B5EF4-FFF2-40B4-BE49-F238E27FC236}">
                    <a16:creationId xmlns:a16="http://schemas.microsoft.com/office/drawing/2014/main" id="{5F6F7997-7B45-36B6-72D9-7324EBE51A35}"/>
                  </a:ext>
                </a:extLst>
              </p:cNvPr>
              <p:cNvSpPr/>
              <p:nvPr/>
            </p:nvSpPr>
            <p:spPr>
              <a:xfrm>
                <a:off x="8214718" y="1947826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3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3 w 22725"/>
                  <a:gd name="connsiteY10" fmla="*/ 7877 h 28585"/>
                  <a:gd name="connsiteX11" fmla="*/ 1602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7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30 h 28585"/>
                  <a:gd name="connsiteX17" fmla="*/ 21708 w 22725"/>
                  <a:gd name="connsiteY17" fmla="*/ 7669 h 28585"/>
                  <a:gd name="connsiteX18" fmla="*/ 17167 w 22725"/>
                  <a:gd name="connsiteY18" fmla="*/ 8291 h 28585"/>
                  <a:gd name="connsiteX19" fmla="*/ 15376 w 22725"/>
                  <a:gd name="connsiteY19" fmla="*/ 4994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2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30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9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1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8" y="16997"/>
                      <a:pt x="11853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9" y="12663"/>
                      <a:pt x="1790" y="11551"/>
                    </a:cubicBezTo>
                    <a:cubicBezTo>
                      <a:pt x="1112" y="10439"/>
                      <a:pt x="773" y="9214"/>
                      <a:pt x="773" y="7877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48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7"/>
                    </a:cubicBezTo>
                    <a:cubicBezTo>
                      <a:pt x="8103" y="170"/>
                      <a:pt x="9422" y="0"/>
                      <a:pt x="10854" y="0"/>
                    </a:cubicBezTo>
                    <a:cubicBezTo>
                      <a:pt x="13002" y="0"/>
                      <a:pt x="14887" y="302"/>
                      <a:pt x="16507" y="923"/>
                    </a:cubicBezTo>
                    <a:cubicBezTo>
                      <a:pt x="18128" y="1545"/>
                      <a:pt x="19333" y="2374"/>
                      <a:pt x="20106" y="3430"/>
                    </a:cubicBezTo>
                    <a:cubicBezTo>
                      <a:pt x="20879" y="4485"/>
                      <a:pt x="21406" y="5898"/>
                      <a:pt x="21708" y="7669"/>
                    </a:cubicBezTo>
                    <a:lnTo>
                      <a:pt x="17167" y="8291"/>
                    </a:lnTo>
                    <a:cubicBezTo>
                      <a:pt x="16959" y="6878"/>
                      <a:pt x="16356" y="5785"/>
                      <a:pt x="15376" y="4994"/>
                    </a:cubicBezTo>
                    <a:cubicBezTo>
                      <a:pt x="14397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2" y="8951"/>
                    </a:cubicBezTo>
                    <a:cubicBezTo>
                      <a:pt x="6218" y="9441"/>
                      <a:pt x="6803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0" y="12248"/>
                      <a:pt x="17280" y="12983"/>
                      <a:pt x="18561" y="13530"/>
                    </a:cubicBezTo>
                    <a:cubicBezTo>
                      <a:pt x="19842" y="14076"/>
                      <a:pt x="20879" y="14905"/>
                      <a:pt x="21613" y="15960"/>
                    </a:cubicBezTo>
                    <a:cubicBezTo>
                      <a:pt x="22348" y="17034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9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46" y="27851"/>
                      <a:pt x="3581" y="26362"/>
                    </a:cubicBezTo>
                    <a:cubicBezTo>
                      <a:pt x="1715" y="24873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880" name="Freihandform: Form 1879">
              <a:extLst>
                <a:ext uri="{FF2B5EF4-FFF2-40B4-BE49-F238E27FC236}">
                  <a16:creationId xmlns:a16="http://schemas.microsoft.com/office/drawing/2014/main" id="{97C37963-E365-668D-AFFF-B124B6E882B3}"/>
                </a:ext>
              </a:extLst>
            </p:cNvPr>
            <p:cNvSpPr/>
            <p:nvPr/>
          </p:nvSpPr>
          <p:spPr>
            <a:xfrm>
              <a:off x="7470009" y="2440279"/>
              <a:ext cx="14245" cy="4654"/>
            </a:xfrm>
            <a:custGeom>
              <a:avLst/>
              <a:gdLst>
                <a:gd name="connsiteX0" fmla="*/ 0 w 14245"/>
                <a:gd name="connsiteY0" fmla="*/ 4654 h 4654"/>
                <a:gd name="connsiteX1" fmla="*/ 0 w 14245"/>
                <a:gd name="connsiteY1" fmla="*/ 0 h 4654"/>
                <a:gd name="connsiteX2" fmla="*/ 14246 w 14245"/>
                <a:gd name="connsiteY2" fmla="*/ 0 h 4654"/>
                <a:gd name="connsiteX3" fmla="*/ 14246 w 14245"/>
                <a:gd name="connsiteY3" fmla="*/ 4654 h 4654"/>
                <a:gd name="connsiteX4" fmla="*/ 0 w 14245"/>
                <a:gd name="connsiteY4" fmla="*/ 4654 h 4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45" h="4654">
                  <a:moveTo>
                    <a:pt x="0" y="4654"/>
                  </a:moveTo>
                  <a:lnTo>
                    <a:pt x="0" y="0"/>
                  </a:lnTo>
                  <a:lnTo>
                    <a:pt x="14246" y="0"/>
                  </a:lnTo>
                  <a:lnTo>
                    <a:pt x="14246" y="4654"/>
                  </a:lnTo>
                  <a:lnTo>
                    <a:pt x="0" y="4654"/>
                  </a:lnTo>
                  <a:close/>
                </a:path>
              </a:pathLst>
            </a:custGeom>
            <a:solidFill>
              <a:srgbClr val="000000"/>
            </a:solidFill>
            <a:ln w="18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881" name="Grafik 21">
              <a:extLst>
                <a:ext uri="{FF2B5EF4-FFF2-40B4-BE49-F238E27FC236}">
                  <a16:creationId xmlns:a16="http://schemas.microsoft.com/office/drawing/2014/main" id="{4405D3C1-3061-BFD4-70A8-27A8A93B7773}"/>
                </a:ext>
              </a:extLst>
            </p:cNvPr>
            <p:cNvGrpSpPr/>
            <p:nvPr/>
          </p:nvGrpSpPr>
          <p:grpSpPr>
            <a:xfrm>
              <a:off x="4424825" y="1836236"/>
              <a:ext cx="172775" cy="38421"/>
              <a:chOff x="4424825" y="1836236"/>
              <a:chExt cx="172775" cy="38421"/>
            </a:xfrm>
            <a:solidFill>
              <a:srgbClr val="000000"/>
            </a:solidFill>
          </p:grpSpPr>
          <p:sp>
            <p:nvSpPr>
              <p:cNvPr id="3572" name="Freihandform: Form 3571">
                <a:extLst>
                  <a:ext uri="{FF2B5EF4-FFF2-40B4-BE49-F238E27FC236}">
                    <a16:creationId xmlns:a16="http://schemas.microsoft.com/office/drawing/2014/main" id="{28A73E85-11DA-036C-C59D-2D9EA90F3AC7}"/>
                  </a:ext>
                </a:extLst>
              </p:cNvPr>
              <p:cNvSpPr/>
              <p:nvPr/>
            </p:nvSpPr>
            <p:spPr>
              <a:xfrm>
                <a:off x="4424825" y="1836236"/>
                <a:ext cx="29942" cy="37780"/>
              </a:xfrm>
              <a:custGeom>
                <a:avLst/>
                <a:gdLst>
                  <a:gd name="connsiteX0" fmla="*/ 12437 w 29942"/>
                  <a:gd name="connsiteY0" fmla="*/ 37781 h 37780"/>
                  <a:gd name="connsiteX1" fmla="*/ 12437 w 29942"/>
                  <a:gd name="connsiteY1" fmla="*/ 4466 h 37780"/>
                  <a:gd name="connsiteX2" fmla="*/ 0 w 29942"/>
                  <a:gd name="connsiteY2" fmla="*/ 4466 h 37780"/>
                  <a:gd name="connsiteX3" fmla="*/ 0 w 29942"/>
                  <a:gd name="connsiteY3" fmla="*/ 0 h 37780"/>
                  <a:gd name="connsiteX4" fmla="*/ 29942 w 29942"/>
                  <a:gd name="connsiteY4" fmla="*/ 0 h 37780"/>
                  <a:gd name="connsiteX5" fmla="*/ 29942 w 29942"/>
                  <a:gd name="connsiteY5" fmla="*/ 4466 h 37780"/>
                  <a:gd name="connsiteX6" fmla="*/ 17449 w 29942"/>
                  <a:gd name="connsiteY6" fmla="*/ 4466 h 37780"/>
                  <a:gd name="connsiteX7" fmla="*/ 17449 w 29942"/>
                  <a:gd name="connsiteY7" fmla="*/ 37781 h 37780"/>
                  <a:gd name="connsiteX8" fmla="*/ 12456 w 29942"/>
                  <a:gd name="connsiteY8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942" h="37780">
                    <a:moveTo>
                      <a:pt x="12437" y="37781"/>
                    </a:moveTo>
                    <a:lnTo>
                      <a:pt x="12437" y="4466"/>
                    </a:lnTo>
                    <a:lnTo>
                      <a:pt x="0" y="4466"/>
                    </a:lnTo>
                    <a:lnTo>
                      <a:pt x="0" y="0"/>
                    </a:lnTo>
                    <a:lnTo>
                      <a:pt x="29942" y="0"/>
                    </a:lnTo>
                    <a:lnTo>
                      <a:pt x="29942" y="4466"/>
                    </a:lnTo>
                    <a:lnTo>
                      <a:pt x="17449" y="4466"/>
                    </a:lnTo>
                    <a:lnTo>
                      <a:pt x="17449" y="37781"/>
                    </a:lnTo>
                    <a:lnTo>
                      <a:pt x="12456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73" name="Freihandform: Form 3572">
                <a:extLst>
                  <a:ext uri="{FF2B5EF4-FFF2-40B4-BE49-F238E27FC236}">
                    <a16:creationId xmlns:a16="http://schemas.microsoft.com/office/drawing/2014/main" id="{B6F1E757-B9CD-E7AC-F7EB-59FA68262141}"/>
                  </a:ext>
                </a:extLst>
              </p:cNvPr>
              <p:cNvSpPr/>
              <p:nvPr/>
            </p:nvSpPr>
            <p:spPr>
              <a:xfrm>
                <a:off x="4451696" y="1846053"/>
                <a:ext cx="25646" cy="28604"/>
              </a:xfrm>
              <a:custGeom>
                <a:avLst/>
                <a:gdLst>
                  <a:gd name="connsiteX0" fmla="*/ 19 w 25646"/>
                  <a:gd name="connsiteY0" fmla="*/ 14283 h 28604"/>
                  <a:gd name="connsiteX1" fmla="*/ 4240 w 25646"/>
                  <a:gd name="connsiteY1" fmla="*/ 3034 h 28604"/>
                  <a:gd name="connsiteX2" fmla="*/ 12851 w 25646"/>
                  <a:gd name="connsiteY2" fmla="*/ 0 h 28604"/>
                  <a:gd name="connsiteX3" fmla="*/ 22066 w 25646"/>
                  <a:gd name="connsiteY3" fmla="*/ 3693 h 28604"/>
                  <a:gd name="connsiteX4" fmla="*/ 25646 w 25646"/>
                  <a:gd name="connsiteY4" fmla="*/ 13906 h 28604"/>
                  <a:gd name="connsiteX5" fmla="*/ 24063 w 25646"/>
                  <a:gd name="connsiteY5" fmla="*/ 22216 h 28604"/>
                  <a:gd name="connsiteX6" fmla="*/ 19446 w 25646"/>
                  <a:gd name="connsiteY6" fmla="*/ 26927 h 28604"/>
                  <a:gd name="connsiteX7" fmla="*/ 12832 w 25646"/>
                  <a:gd name="connsiteY7" fmla="*/ 28604 h 28604"/>
                  <a:gd name="connsiteX8" fmla="*/ 3543 w 25646"/>
                  <a:gd name="connsiteY8" fmla="*/ 24911 h 28604"/>
                  <a:gd name="connsiteX9" fmla="*/ 0 w 25646"/>
                  <a:gd name="connsiteY9" fmla="*/ 14302 h 28604"/>
                  <a:gd name="connsiteX10" fmla="*/ 4786 w 25646"/>
                  <a:gd name="connsiteY10" fmla="*/ 14283 h 28604"/>
                  <a:gd name="connsiteX11" fmla="*/ 7085 w 25646"/>
                  <a:gd name="connsiteY11" fmla="*/ 22160 h 28604"/>
                  <a:gd name="connsiteX12" fmla="*/ 12851 w 25646"/>
                  <a:gd name="connsiteY12" fmla="*/ 24779 h 28604"/>
                  <a:gd name="connsiteX13" fmla="*/ 18598 w 25646"/>
                  <a:gd name="connsiteY13" fmla="*/ 22160 h 28604"/>
                  <a:gd name="connsiteX14" fmla="*/ 20897 w 25646"/>
                  <a:gd name="connsiteY14" fmla="*/ 14151 h 28604"/>
                  <a:gd name="connsiteX15" fmla="*/ 18598 w 25646"/>
                  <a:gd name="connsiteY15" fmla="*/ 6463 h 28604"/>
                  <a:gd name="connsiteX16" fmla="*/ 12870 w 25646"/>
                  <a:gd name="connsiteY16" fmla="*/ 3844 h 28604"/>
                  <a:gd name="connsiteX17" fmla="*/ 7104 w 25646"/>
                  <a:gd name="connsiteY17" fmla="*/ 6445 h 28604"/>
                  <a:gd name="connsiteX18" fmla="*/ 4805 w 25646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6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893"/>
                      <a:pt x="10534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74" name="Freihandform: Form 3573">
                <a:extLst>
                  <a:ext uri="{FF2B5EF4-FFF2-40B4-BE49-F238E27FC236}">
                    <a16:creationId xmlns:a16="http://schemas.microsoft.com/office/drawing/2014/main" id="{97B74D8D-4066-6FFF-4D43-82403D477DB0}"/>
                  </a:ext>
                </a:extLst>
              </p:cNvPr>
              <p:cNvSpPr/>
              <p:nvPr/>
            </p:nvSpPr>
            <p:spPr>
              <a:xfrm>
                <a:off x="4482731" y="1846034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1 w 14867"/>
                  <a:gd name="connsiteY9" fmla="*/ 5709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19" y="2827"/>
                      <a:pt x="6218" y="1545"/>
                      <a:pt x="7123" y="923"/>
                    </a:cubicBezTo>
                    <a:cubicBezTo>
                      <a:pt x="8027" y="301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6"/>
                      <a:pt x="11004" y="4786"/>
                      <a:pt x="9874" y="4786"/>
                    </a:cubicBezTo>
                    <a:cubicBezTo>
                      <a:pt x="8856" y="4786"/>
                      <a:pt x="7952" y="5088"/>
                      <a:pt x="7141" y="5709"/>
                    </a:cubicBezTo>
                    <a:cubicBezTo>
                      <a:pt x="6331" y="6312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75" name="Freihandform: Form 3574">
                <a:extLst>
                  <a:ext uri="{FF2B5EF4-FFF2-40B4-BE49-F238E27FC236}">
                    <a16:creationId xmlns:a16="http://schemas.microsoft.com/office/drawing/2014/main" id="{94BDDB57-A09C-130A-29B4-CB1F3A3ED6EE}"/>
                  </a:ext>
                </a:extLst>
              </p:cNvPr>
              <p:cNvSpPr/>
              <p:nvPr/>
            </p:nvSpPr>
            <p:spPr>
              <a:xfrm>
                <a:off x="4498616" y="1846053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76" name="Freihandform: Form 3575">
                <a:extLst>
                  <a:ext uri="{FF2B5EF4-FFF2-40B4-BE49-F238E27FC236}">
                    <a16:creationId xmlns:a16="http://schemas.microsoft.com/office/drawing/2014/main" id="{3CCD70B1-323E-EF62-CFC6-B86F5221E455}"/>
                  </a:ext>
                </a:extLst>
              </p:cNvPr>
              <p:cNvSpPr/>
              <p:nvPr/>
            </p:nvSpPr>
            <p:spPr>
              <a:xfrm>
                <a:off x="4529689" y="1846034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5 w 22235"/>
                  <a:gd name="connsiteY2" fmla="*/ 622 h 28001"/>
                  <a:gd name="connsiteX3" fmla="*/ 4165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5" y="622"/>
                    </a:lnTo>
                    <a:lnTo>
                      <a:pt x="4165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2" y="7179"/>
                      <a:pt x="4636" y="9553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77" name="Freihandform: Form 3576">
                <a:extLst>
                  <a:ext uri="{FF2B5EF4-FFF2-40B4-BE49-F238E27FC236}">
                    <a16:creationId xmlns:a16="http://schemas.microsoft.com/office/drawing/2014/main" id="{D7D08746-52CB-CE06-07CE-4BAE7EF7553E}"/>
                  </a:ext>
                </a:extLst>
              </p:cNvPr>
              <p:cNvSpPr/>
              <p:nvPr/>
            </p:nvSpPr>
            <p:spPr>
              <a:xfrm>
                <a:off x="4556503" y="1837103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2 h 37272"/>
                  <a:gd name="connsiteX7" fmla="*/ 0 w 13341"/>
                  <a:gd name="connsiteY7" fmla="*/ 13172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5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0" y="33522"/>
                      <a:pt x="3392" y="31695"/>
                      <a:pt x="3392" y="28906"/>
                    </a:cubicBezTo>
                    <a:lnTo>
                      <a:pt x="3392" y="13172"/>
                    </a:lnTo>
                    <a:lnTo>
                      <a:pt x="0" y="13172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78" name="Freihandform: Form 3577">
                <a:extLst>
                  <a:ext uri="{FF2B5EF4-FFF2-40B4-BE49-F238E27FC236}">
                    <a16:creationId xmlns:a16="http://schemas.microsoft.com/office/drawing/2014/main" id="{9895069B-E0C5-EAC3-3009-9E3E76CB4B08}"/>
                  </a:ext>
                </a:extLst>
              </p:cNvPr>
              <p:cNvSpPr/>
              <p:nvPr/>
            </p:nvSpPr>
            <p:spPr>
              <a:xfrm>
                <a:off x="4571955" y="1846053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51" name="Grafik 21">
              <a:extLst>
                <a:ext uri="{FF2B5EF4-FFF2-40B4-BE49-F238E27FC236}">
                  <a16:creationId xmlns:a16="http://schemas.microsoft.com/office/drawing/2014/main" id="{CFC1EAEE-8FE8-0049-16C0-F49BA25E4C9A}"/>
                </a:ext>
              </a:extLst>
            </p:cNvPr>
            <p:cNvGrpSpPr/>
            <p:nvPr/>
          </p:nvGrpSpPr>
          <p:grpSpPr>
            <a:xfrm>
              <a:off x="3914509" y="2035994"/>
              <a:ext cx="216774" cy="38402"/>
              <a:chOff x="3914509" y="2035994"/>
              <a:chExt cx="216774" cy="38402"/>
            </a:xfrm>
            <a:solidFill>
              <a:srgbClr val="000000"/>
            </a:solidFill>
          </p:grpSpPr>
          <p:sp>
            <p:nvSpPr>
              <p:cNvPr id="3563" name="Freihandform: Form 3562">
                <a:extLst>
                  <a:ext uri="{FF2B5EF4-FFF2-40B4-BE49-F238E27FC236}">
                    <a16:creationId xmlns:a16="http://schemas.microsoft.com/office/drawing/2014/main" id="{07B7E291-3014-732B-A6E1-8BCA326DF5EF}"/>
                  </a:ext>
                </a:extLst>
              </p:cNvPr>
              <p:cNvSpPr/>
              <p:nvPr/>
            </p:nvSpPr>
            <p:spPr>
              <a:xfrm>
                <a:off x="3914509" y="2035994"/>
                <a:ext cx="28510" cy="37780"/>
              </a:xfrm>
              <a:custGeom>
                <a:avLst/>
                <a:gdLst>
                  <a:gd name="connsiteX0" fmla="*/ 0 w 28510"/>
                  <a:gd name="connsiteY0" fmla="*/ 37762 h 37780"/>
                  <a:gd name="connsiteX1" fmla="*/ 0 w 28510"/>
                  <a:gd name="connsiteY1" fmla="*/ 0 h 37780"/>
                  <a:gd name="connsiteX2" fmla="*/ 14170 w 28510"/>
                  <a:gd name="connsiteY2" fmla="*/ 0 h 37780"/>
                  <a:gd name="connsiteX3" fmla="*/ 21105 w 28510"/>
                  <a:gd name="connsiteY3" fmla="*/ 1149 h 37780"/>
                  <a:gd name="connsiteX4" fmla="*/ 25194 w 28510"/>
                  <a:gd name="connsiteY4" fmla="*/ 4673 h 37780"/>
                  <a:gd name="connsiteX5" fmla="*/ 26682 w 28510"/>
                  <a:gd name="connsiteY5" fmla="*/ 9667 h 37780"/>
                  <a:gd name="connsiteX6" fmla="*/ 25363 w 28510"/>
                  <a:gd name="connsiteY6" fmla="*/ 14227 h 37780"/>
                  <a:gd name="connsiteX7" fmla="*/ 21387 w 28510"/>
                  <a:gd name="connsiteY7" fmla="*/ 17675 h 37780"/>
                  <a:gd name="connsiteX8" fmla="*/ 26663 w 28510"/>
                  <a:gd name="connsiteY8" fmla="*/ 21104 h 37780"/>
                  <a:gd name="connsiteX9" fmla="*/ 28510 w 28510"/>
                  <a:gd name="connsiteY9" fmla="*/ 26833 h 37780"/>
                  <a:gd name="connsiteX10" fmla="*/ 27398 w 28510"/>
                  <a:gd name="connsiteY10" fmla="*/ 31770 h 37780"/>
                  <a:gd name="connsiteX11" fmla="*/ 24628 w 28510"/>
                  <a:gd name="connsiteY11" fmla="*/ 35294 h 37780"/>
                  <a:gd name="connsiteX12" fmla="*/ 20502 w 28510"/>
                  <a:gd name="connsiteY12" fmla="*/ 37159 h 37780"/>
                  <a:gd name="connsiteX13" fmla="*/ 14415 w 28510"/>
                  <a:gd name="connsiteY13" fmla="*/ 37781 h 37780"/>
                  <a:gd name="connsiteX14" fmla="*/ 19 w 28510"/>
                  <a:gd name="connsiteY14" fmla="*/ 37781 h 37780"/>
                  <a:gd name="connsiteX15" fmla="*/ 4994 w 28510"/>
                  <a:gd name="connsiteY15" fmla="*/ 15866 h 37780"/>
                  <a:gd name="connsiteX16" fmla="*/ 13153 w 28510"/>
                  <a:gd name="connsiteY16" fmla="*/ 15866 h 37780"/>
                  <a:gd name="connsiteX17" fmla="*/ 17920 w 28510"/>
                  <a:gd name="connsiteY17" fmla="*/ 15433 h 37780"/>
                  <a:gd name="connsiteX18" fmla="*/ 20784 w 28510"/>
                  <a:gd name="connsiteY18" fmla="*/ 13548 h 37780"/>
                  <a:gd name="connsiteX19" fmla="*/ 21745 w 28510"/>
                  <a:gd name="connsiteY19" fmla="*/ 10251 h 37780"/>
                  <a:gd name="connsiteX20" fmla="*/ 20841 w 28510"/>
                  <a:gd name="connsiteY20" fmla="*/ 6934 h 37780"/>
                  <a:gd name="connsiteX21" fmla="*/ 18259 w 28510"/>
                  <a:gd name="connsiteY21" fmla="*/ 4975 h 37780"/>
                  <a:gd name="connsiteX22" fmla="*/ 12512 w 28510"/>
                  <a:gd name="connsiteY22" fmla="*/ 4447 h 37780"/>
                  <a:gd name="connsiteX23" fmla="*/ 4956 w 28510"/>
                  <a:gd name="connsiteY23" fmla="*/ 4447 h 37780"/>
                  <a:gd name="connsiteX24" fmla="*/ 4956 w 28510"/>
                  <a:gd name="connsiteY24" fmla="*/ 15866 h 37780"/>
                  <a:gd name="connsiteX25" fmla="*/ 4994 w 28510"/>
                  <a:gd name="connsiteY25" fmla="*/ 33315 h 37780"/>
                  <a:gd name="connsiteX26" fmla="*/ 14396 w 28510"/>
                  <a:gd name="connsiteY26" fmla="*/ 33315 h 37780"/>
                  <a:gd name="connsiteX27" fmla="*/ 17788 w 28510"/>
                  <a:gd name="connsiteY27" fmla="*/ 33127 h 37780"/>
                  <a:gd name="connsiteX28" fmla="*/ 20671 w 28510"/>
                  <a:gd name="connsiteY28" fmla="*/ 32090 h 37780"/>
                  <a:gd name="connsiteX29" fmla="*/ 22574 w 28510"/>
                  <a:gd name="connsiteY29" fmla="*/ 29999 h 37780"/>
                  <a:gd name="connsiteX30" fmla="*/ 23328 w 28510"/>
                  <a:gd name="connsiteY30" fmla="*/ 26814 h 37780"/>
                  <a:gd name="connsiteX31" fmla="*/ 22254 w 28510"/>
                  <a:gd name="connsiteY31" fmla="*/ 23140 h 37780"/>
                  <a:gd name="connsiteX32" fmla="*/ 19258 w 28510"/>
                  <a:gd name="connsiteY32" fmla="*/ 20954 h 37780"/>
                  <a:gd name="connsiteX33" fmla="*/ 13737 w 28510"/>
                  <a:gd name="connsiteY33" fmla="*/ 20332 h 37780"/>
                  <a:gd name="connsiteX34" fmla="*/ 5012 w 28510"/>
                  <a:gd name="connsiteY34" fmla="*/ 20332 h 37780"/>
                  <a:gd name="connsiteX35" fmla="*/ 5012 w 28510"/>
                  <a:gd name="connsiteY35" fmla="*/ 33315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8510" h="37780">
                    <a:moveTo>
                      <a:pt x="0" y="37762"/>
                    </a:moveTo>
                    <a:lnTo>
                      <a:pt x="0" y="0"/>
                    </a:lnTo>
                    <a:lnTo>
                      <a:pt x="14170" y="0"/>
                    </a:lnTo>
                    <a:cubicBezTo>
                      <a:pt x="17053" y="0"/>
                      <a:pt x="19371" y="377"/>
                      <a:pt x="21105" y="1149"/>
                    </a:cubicBezTo>
                    <a:cubicBezTo>
                      <a:pt x="22838" y="1922"/>
                      <a:pt x="24214" y="3090"/>
                      <a:pt x="25194" y="4673"/>
                    </a:cubicBezTo>
                    <a:cubicBezTo>
                      <a:pt x="26173" y="6256"/>
                      <a:pt x="26682" y="7914"/>
                      <a:pt x="26682" y="9667"/>
                    </a:cubicBezTo>
                    <a:cubicBezTo>
                      <a:pt x="26682" y="11287"/>
                      <a:pt x="26249" y="12795"/>
                      <a:pt x="25363" y="14227"/>
                    </a:cubicBezTo>
                    <a:cubicBezTo>
                      <a:pt x="24478" y="15659"/>
                      <a:pt x="23158" y="16808"/>
                      <a:pt x="21387" y="17675"/>
                    </a:cubicBezTo>
                    <a:cubicBezTo>
                      <a:pt x="23667" y="18353"/>
                      <a:pt x="25420" y="19484"/>
                      <a:pt x="26663" y="21104"/>
                    </a:cubicBezTo>
                    <a:cubicBezTo>
                      <a:pt x="27888" y="22725"/>
                      <a:pt x="28510" y="24628"/>
                      <a:pt x="28510" y="26833"/>
                    </a:cubicBezTo>
                    <a:cubicBezTo>
                      <a:pt x="28510" y="28604"/>
                      <a:pt x="28133" y="30244"/>
                      <a:pt x="27398" y="31770"/>
                    </a:cubicBezTo>
                    <a:cubicBezTo>
                      <a:pt x="26663" y="33296"/>
                      <a:pt x="25721" y="34464"/>
                      <a:pt x="24628" y="35294"/>
                    </a:cubicBezTo>
                    <a:cubicBezTo>
                      <a:pt x="23535" y="36123"/>
                      <a:pt x="22160" y="36745"/>
                      <a:pt x="20502" y="37159"/>
                    </a:cubicBezTo>
                    <a:cubicBezTo>
                      <a:pt x="18843" y="37574"/>
                      <a:pt x="16808" y="37781"/>
                      <a:pt x="14415" y="37781"/>
                    </a:cubicBezTo>
                    <a:lnTo>
                      <a:pt x="19" y="37781"/>
                    </a:lnTo>
                    <a:close/>
                    <a:moveTo>
                      <a:pt x="4994" y="15866"/>
                    </a:moveTo>
                    <a:lnTo>
                      <a:pt x="13153" y="15866"/>
                    </a:lnTo>
                    <a:cubicBezTo>
                      <a:pt x="15376" y="15866"/>
                      <a:pt x="16959" y="15715"/>
                      <a:pt x="17920" y="15433"/>
                    </a:cubicBezTo>
                    <a:cubicBezTo>
                      <a:pt x="19183" y="15056"/>
                      <a:pt x="20144" y="14434"/>
                      <a:pt x="20784" y="13548"/>
                    </a:cubicBezTo>
                    <a:cubicBezTo>
                      <a:pt x="21425" y="12663"/>
                      <a:pt x="21745" y="11570"/>
                      <a:pt x="21745" y="10251"/>
                    </a:cubicBezTo>
                    <a:cubicBezTo>
                      <a:pt x="21745" y="8988"/>
                      <a:pt x="21444" y="7895"/>
                      <a:pt x="20841" y="6934"/>
                    </a:cubicBezTo>
                    <a:cubicBezTo>
                      <a:pt x="20238" y="5973"/>
                      <a:pt x="19390" y="5333"/>
                      <a:pt x="18259" y="4975"/>
                    </a:cubicBezTo>
                    <a:cubicBezTo>
                      <a:pt x="17147" y="4617"/>
                      <a:pt x="15225" y="4447"/>
                      <a:pt x="12512" y="4447"/>
                    </a:cubicBezTo>
                    <a:lnTo>
                      <a:pt x="4956" y="4447"/>
                    </a:lnTo>
                    <a:lnTo>
                      <a:pt x="4956" y="15866"/>
                    </a:lnTo>
                    <a:close/>
                    <a:moveTo>
                      <a:pt x="4994" y="33315"/>
                    </a:moveTo>
                    <a:lnTo>
                      <a:pt x="14396" y="33315"/>
                    </a:lnTo>
                    <a:cubicBezTo>
                      <a:pt x="16017" y="33315"/>
                      <a:pt x="17147" y="33258"/>
                      <a:pt x="17788" y="33127"/>
                    </a:cubicBezTo>
                    <a:cubicBezTo>
                      <a:pt x="18938" y="32919"/>
                      <a:pt x="19899" y="32580"/>
                      <a:pt x="20671" y="32090"/>
                    </a:cubicBezTo>
                    <a:cubicBezTo>
                      <a:pt x="21444" y="31600"/>
                      <a:pt x="22084" y="30903"/>
                      <a:pt x="22574" y="29999"/>
                    </a:cubicBezTo>
                    <a:cubicBezTo>
                      <a:pt x="23064" y="29075"/>
                      <a:pt x="23328" y="28020"/>
                      <a:pt x="23328" y="26814"/>
                    </a:cubicBezTo>
                    <a:cubicBezTo>
                      <a:pt x="23328" y="25401"/>
                      <a:pt x="22970" y="24176"/>
                      <a:pt x="22254" y="23140"/>
                    </a:cubicBezTo>
                    <a:cubicBezTo>
                      <a:pt x="21538" y="22103"/>
                      <a:pt x="20539" y="21368"/>
                      <a:pt x="19258" y="20954"/>
                    </a:cubicBezTo>
                    <a:cubicBezTo>
                      <a:pt x="17977" y="20539"/>
                      <a:pt x="16130" y="20332"/>
                      <a:pt x="13737" y="20332"/>
                    </a:cubicBezTo>
                    <a:lnTo>
                      <a:pt x="5012" y="20332"/>
                    </a:lnTo>
                    <a:lnTo>
                      <a:pt x="5012" y="33315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64" name="Freihandform: Form 3563">
                <a:extLst>
                  <a:ext uri="{FF2B5EF4-FFF2-40B4-BE49-F238E27FC236}">
                    <a16:creationId xmlns:a16="http://schemas.microsoft.com/office/drawing/2014/main" id="{316CA6E1-86E3-0521-E913-5BFB67AD81B9}"/>
                  </a:ext>
                </a:extLst>
              </p:cNvPr>
              <p:cNvSpPr/>
              <p:nvPr/>
            </p:nvSpPr>
            <p:spPr>
              <a:xfrm>
                <a:off x="3947749" y="2045755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65" name="Freihandform: Form 3564">
                <a:extLst>
                  <a:ext uri="{FF2B5EF4-FFF2-40B4-BE49-F238E27FC236}">
                    <a16:creationId xmlns:a16="http://schemas.microsoft.com/office/drawing/2014/main" id="{707B695C-97CA-AA8F-3C3C-94F2C08504DF}"/>
                  </a:ext>
                </a:extLst>
              </p:cNvPr>
              <p:cNvSpPr/>
              <p:nvPr/>
            </p:nvSpPr>
            <p:spPr>
              <a:xfrm>
                <a:off x="3978558" y="2035994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66" name="Freihandform: Form 3565">
                <a:extLst>
                  <a:ext uri="{FF2B5EF4-FFF2-40B4-BE49-F238E27FC236}">
                    <a16:creationId xmlns:a16="http://schemas.microsoft.com/office/drawing/2014/main" id="{0C52A5D6-C41D-B2F7-3563-CA889FF95082}"/>
                  </a:ext>
                </a:extLst>
              </p:cNvPr>
              <p:cNvSpPr/>
              <p:nvPr/>
            </p:nvSpPr>
            <p:spPr>
              <a:xfrm>
                <a:off x="3987848" y="2036842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2 h 37272"/>
                  <a:gd name="connsiteX7" fmla="*/ 0 w 13341"/>
                  <a:gd name="connsiteY7" fmla="*/ 13172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5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0" y="33522"/>
                      <a:pt x="3392" y="31695"/>
                      <a:pt x="3392" y="28906"/>
                    </a:cubicBezTo>
                    <a:lnTo>
                      <a:pt x="3392" y="13172"/>
                    </a:lnTo>
                    <a:lnTo>
                      <a:pt x="0" y="13172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67" name="Freihandform: Form 3566">
                <a:extLst>
                  <a:ext uri="{FF2B5EF4-FFF2-40B4-BE49-F238E27FC236}">
                    <a16:creationId xmlns:a16="http://schemas.microsoft.com/office/drawing/2014/main" id="{DFE8198A-AC62-B59F-77E8-DDFFAE515A77}"/>
                  </a:ext>
                </a:extLst>
              </p:cNvPr>
              <p:cNvSpPr/>
              <p:nvPr/>
            </p:nvSpPr>
            <p:spPr>
              <a:xfrm>
                <a:off x="4005070" y="2035994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1 h 37762"/>
                  <a:gd name="connsiteX7" fmla="*/ 4636 w 4635"/>
                  <a:gd name="connsiteY7" fmla="*/ 10401 h 37762"/>
                  <a:gd name="connsiteX8" fmla="*/ 4636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1"/>
                    </a:lnTo>
                    <a:lnTo>
                      <a:pt x="4636" y="10401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68" name="Freihandform: Form 3567">
                <a:extLst>
                  <a:ext uri="{FF2B5EF4-FFF2-40B4-BE49-F238E27FC236}">
                    <a16:creationId xmlns:a16="http://schemas.microsoft.com/office/drawing/2014/main" id="{D33C61BE-6275-9BFA-0D66-77B297FFA599}"/>
                  </a:ext>
                </a:extLst>
              </p:cNvPr>
              <p:cNvSpPr/>
              <p:nvPr/>
            </p:nvSpPr>
            <p:spPr>
              <a:xfrm>
                <a:off x="4016734" y="2045774"/>
                <a:ext cx="37083" cy="27982"/>
              </a:xfrm>
              <a:custGeom>
                <a:avLst/>
                <a:gdLst>
                  <a:gd name="connsiteX0" fmla="*/ 19 w 37083"/>
                  <a:gd name="connsiteY0" fmla="*/ 27982 h 27982"/>
                  <a:gd name="connsiteX1" fmla="*/ 19 w 37083"/>
                  <a:gd name="connsiteY1" fmla="*/ 622 h 27982"/>
                  <a:gd name="connsiteX2" fmla="*/ 4164 w 37083"/>
                  <a:gd name="connsiteY2" fmla="*/ 622 h 27982"/>
                  <a:gd name="connsiteX3" fmla="*/ 4164 w 37083"/>
                  <a:gd name="connsiteY3" fmla="*/ 4466 h 27982"/>
                  <a:gd name="connsiteX4" fmla="*/ 7594 w 37083"/>
                  <a:gd name="connsiteY4" fmla="*/ 1225 h 27982"/>
                  <a:gd name="connsiteX5" fmla="*/ 12455 w 37083"/>
                  <a:gd name="connsiteY5" fmla="*/ 0 h 27982"/>
                  <a:gd name="connsiteX6" fmla="*/ 17449 w 37083"/>
                  <a:gd name="connsiteY6" fmla="*/ 1262 h 27982"/>
                  <a:gd name="connsiteX7" fmla="*/ 20200 w 37083"/>
                  <a:gd name="connsiteY7" fmla="*/ 4786 h 27982"/>
                  <a:gd name="connsiteX8" fmla="*/ 28642 w 37083"/>
                  <a:gd name="connsiteY8" fmla="*/ 0 h 27982"/>
                  <a:gd name="connsiteX9" fmla="*/ 34898 w 37083"/>
                  <a:gd name="connsiteY9" fmla="*/ 2261 h 27982"/>
                  <a:gd name="connsiteX10" fmla="*/ 37084 w 37083"/>
                  <a:gd name="connsiteY10" fmla="*/ 9196 h 27982"/>
                  <a:gd name="connsiteX11" fmla="*/ 37084 w 37083"/>
                  <a:gd name="connsiteY11" fmla="*/ 27982 h 27982"/>
                  <a:gd name="connsiteX12" fmla="*/ 32467 w 37083"/>
                  <a:gd name="connsiteY12" fmla="*/ 27982 h 27982"/>
                  <a:gd name="connsiteX13" fmla="*/ 32467 w 37083"/>
                  <a:gd name="connsiteY13" fmla="*/ 10741 h 27982"/>
                  <a:gd name="connsiteX14" fmla="*/ 32015 w 37083"/>
                  <a:gd name="connsiteY14" fmla="*/ 6727 h 27982"/>
                  <a:gd name="connsiteX15" fmla="*/ 30376 w 37083"/>
                  <a:gd name="connsiteY15" fmla="*/ 4748 h 27982"/>
                  <a:gd name="connsiteX16" fmla="*/ 27587 w 37083"/>
                  <a:gd name="connsiteY16" fmla="*/ 3995 h 27982"/>
                  <a:gd name="connsiteX17" fmla="*/ 22800 w 37083"/>
                  <a:gd name="connsiteY17" fmla="*/ 5917 h 27982"/>
                  <a:gd name="connsiteX18" fmla="*/ 20897 w 37083"/>
                  <a:gd name="connsiteY18" fmla="*/ 12060 h 27982"/>
                  <a:gd name="connsiteX19" fmla="*/ 20897 w 37083"/>
                  <a:gd name="connsiteY19" fmla="*/ 27963 h 27982"/>
                  <a:gd name="connsiteX20" fmla="*/ 16262 w 37083"/>
                  <a:gd name="connsiteY20" fmla="*/ 27963 h 27982"/>
                  <a:gd name="connsiteX21" fmla="*/ 16262 w 37083"/>
                  <a:gd name="connsiteY21" fmla="*/ 10194 h 27982"/>
                  <a:gd name="connsiteX22" fmla="*/ 15131 w 37083"/>
                  <a:gd name="connsiteY22" fmla="*/ 5559 h 27982"/>
                  <a:gd name="connsiteX23" fmla="*/ 11419 w 37083"/>
                  <a:gd name="connsiteY23" fmla="*/ 4014 h 27982"/>
                  <a:gd name="connsiteX24" fmla="*/ 7801 w 37083"/>
                  <a:gd name="connsiteY24" fmla="*/ 5050 h 27982"/>
                  <a:gd name="connsiteX25" fmla="*/ 5389 w 37083"/>
                  <a:gd name="connsiteY25" fmla="*/ 8065 h 27982"/>
                  <a:gd name="connsiteX26" fmla="*/ 4636 w 37083"/>
                  <a:gd name="connsiteY26" fmla="*/ 13793 h 27982"/>
                  <a:gd name="connsiteX27" fmla="*/ 4636 w 37083"/>
                  <a:gd name="connsiteY27" fmla="*/ 27982 h 27982"/>
                  <a:gd name="connsiteX28" fmla="*/ 0 w 37083"/>
                  <a:gd name="connsiteY28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7083" h="27982">
                    <a:moveTo>
                      <a:pt x="19" y="27982"/>
                    </a:moveTo>
                    <a:lnTo>
                      <a:pt x="19" y="622"/>
                    </a:lnTo>
                    <a:lnTo>
                      <a:pt x="4164" y="622"/>
                    </a:lnTo>
                    <a:lnTo>
                      <a:pt x="4164" y="4466"/>
                    </a:lnTo>
                    <a:cubicBezTo>
                      <a:pt x="5031" y="3128"/>
                      <a:pt x="6162" y="2054"/>
                      <a:pt x="7594" y="1225"/>
                    </a:cubicBezTo>
                    <a:cubicBezTo>
                      <a:pt x="9026" y="414"/>
                      <a:pt x="10647" y="0"/>
                      <a:pt x="12455" y="0"/>
                    </a:cubicBezTo>
                    <a:cubicBezTo>
                      <a:pt x="14491" y="0"/>
                      <a:pt x="16149" y="414"/>
                      <a:pt x="17449" y="1262"/>
                    </a:cubicBezTo>
                    <a:cubicBezTo>
                      <a:pt x="18749" y="2110"/>
                      <a:pt x="19654" y="3279"/>
                      <a:pt x="20200" y="4786"/>
                    </a:cubicBezTo>
                    <a:cubicBezTo>
                      <a:pt x="22367" y="1583"/>
                      <a:pt x="25175" y="0"/>
                      <a:pt x="28642" y="0"/>
                    </a:cubicBezTo>
                    <a:cubicBezTo>
                      <a:pt x="31355" y="0"/>
                      <a:pt x="33447" y="754"/>
                      <a:pt x="34898" y="2261"/>
                    </a:cubicBezTo>
                    <a:cubicBezTo>
                      <a:pt x="36349" y="3769"/>
                      <a:pt x="37084" y="6086"/>
                      <a:pt x="37084" y="9196"/>
                    </a:cubicBezTo>
                    <a:lnTo>
                      <a:pt x="37084" y="27982"/>
                    </a:lnTo>
                    <a:lnTo>
                      <a:pt x="32467" y="27982"/>
                    </a:lnTo>
                    <a:lnTo>
                      <a:pt x="32467" y="10741"/>
                    </a:lnTo>
                    <a:cubicBezTo>
                      <a:pt x="32467" y="8894"/>
                      <a:pt x="32316" y="7556"/>
                      <a:pt x="32015" y="6727"/>
                    </a:cubicBezTo>
                    <a:cubicBezTo>
                      <a:pt x="31713" y="5917"/>
                      <a:pt x="31167" y="5257"/>
                      <a:pt x="30376" y="4748"/>
                    </a:cubicBezTo>
                    <a:cubicBezTo>
                      <a:pt x="29584" y="4259"/>
                      <a:pt x="28661" y="3995"/>
                      <a:pt x="27587" y="3995"/>
                    </a:cubicBezTo>
                    <a:cubicBezTo>
                      <a:pt x="25665" y="3995"/>
                      <a:pt x="24063" y="4635"/>
                      <a:pt x="22800" y="5917"/>
                    </a:cubicBezTo>
                    <a:cubicBezTo>
                      <a:pt x="21538" y="7198"/>
                      <a:pt x="20897" y="9252"/>
                      <a:pt x="20897" y="12060"/>
                    </a:cubicBezTo>
                    <a:lnTo>
                      <a:pt x="20897" y="27963"/>
                    </a:lnTo>
                    <a:lnTo>
                      <a:pt x="16262" y="27963"/>
                    </a:lnTo>
                    <a:lnTo>
                      <a:pt x="16262" y="10194"/>
                    </a:lnTo>
                    <a:cubicBezTo>
                      <a:pt x="16262" y="8140"/>
                      <a:pt x="15885" y="6595"/>
                      <a:pt x="15131" y="5559"/>
                    </a:cubicBezTo>
                    <a:cubicBezTo>
                      <a:pt x="14378" y="4522"/>
                      <a:pt x="13134" y="4014"/>
                      <a:pt x="11419" y="4014"/>
                    </a:cubicBezTo>
                    <a:cubicBezTo>
                      <a:pt x="10119" y="4014"/>
                      <a:pt x="8913" y="4353"/>
                      <a:pt x="7801" y="5050"/>
                    </a:cubicBezTo>
                    <a:cubicBezTo>
                      <a:pt x="6689" y="5747"/>
                      <a:pt x="5898" y="6746"/>
                      <a:pt x="5389" y="8065"/>
                    </a:cubicBezTo>
                    <a:cubicBezTo>
                      <a:pt x="4899" y="9384"/>
                      <a:pt x="4636" y="11287"/>
                      <a:pt x="4636" y="13793"/>
                    </a:cubicBezTo>
                    <a:lnTo>
                      <a:pt x="4636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69" name="Freihandform: Form 3568">
                <a:extLst>
                  <a:ext uri="{FF2B5EF4-FFF2-40B4-BE49-F238E27FC236}">
                    <a16:creationId xmlns:a16="http://schemas.microsoft.com/office/drawing/2014/main" id="{4AAA67AE-31EF-3804-1A43-76CF1D9B123D}"/>
                  </a:ext>
                </a:extLst>
              </p:cNvPr>
              <p:cNvSpPr/>
              <p:nvPr/>
            </p:nvSpPr>
            <p:spPr>
              <a:xfrm>
                <a:off x="4058963" y="2045793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2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2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70" name="Freihandform: Form 3569">
                <a:extLst>
                  <a:ext uri="{FF2B5EF4-FFF2-40B4-BE49-F238E27FC236}">
                    <a16:creationId xmlns:a16="http://schemas.microsoft.com/office/drawing/2014/main" id="{BF996613-8089-0513-86CC-590946105626}"/>
                  </a:ext>
                </a:extLst>
              </p:cNvPr>
              <p:cNvSpPr/>
              <p:nvPr/>
            </p:nvSpPr>
            <p:spPr>
              <a:xfrm>
                <a:off x="4089998" y="2045774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09 h 27982"/>
                  <a:gd name="connsiteX10" fmla="*/ 5408 w 14867"/>
                  <a:gd name="connsiteY10" fmla="*/ 8253 h 27982"/>
                  <a:gd name="connsiteX11" fmla="*/ 4636 w 14867"/>
                  <a:gd name="connsiteY11" fmla="*/ 13661 h 27982"/>
                  <a:gd name="connsiteX12" fmla="*/ 4636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1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6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09"/>
                    </a:cubicBezTo>
                    <a:cubicBezTo>
                      <a:pt x="6331" y="6312"/>
                      <a:pt x="5766" y="7160"/>
                      <a:pt x="5408" y="8253"/>
                    </a:cubicBezTo>
                    <a:cubicBezTo>
                      <a:pt x="4899" y="9912"/>
                      <a:pt x="4636" y="11702"/>
                      <a:pt x="4636" y="13661"/>
                    </a:cubicBezTo>
                    <a:lnTo>
                      <a:pt x="4636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71" name="Freihandform: Form 3570">
                <a:extLst>
                  <a:ext uri="{FF2B5EF4-FFF2-40B4-BE49-F238E27FC236}">
                    <a16:creationId xmlns:a16="http://schemas.microsoft.com/office/drawing/2014/main" id="{3E0AED5A-65F0-6FFE-FB9E-04AA6E7DEF4B}"/>
                  </a:ext>
                </a:extLst>
              </p:cNvPr>
              <p:cNvSpPr/>
              <p:nvPr/>
            </p:nvSpPr>
            <p:spPr>
              <a:xfrm>
                <a:off x="4106052" y="2045774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0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4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951" name="Freihandform: Form 950">
              <a:extLst>
                <a:ext uri="{FF2B5EF4-FFF2-40B4-BE49-F238E27FC236}">
                  <a16:creationId xmlns:a16="http://schemas.microsoft.com/office/drawing/2014/main" id="{2B283E9D-D07E-5DFE-2DEA-15F79F6107D0}"/>
                </a:ext>
              </a:extLst>
            </p:cNvPr>
            <p:cNvSpPr/>
            <p:nvPr/>
          </p:nvSpPr>
          <p:spPr>
            <a:xfrm>
              <a:off x="4124782" y="2057758"/>
              <a:ext cx="14245" cy="4654"/>
            </a:xfrm>
            <a:custGeom>
              <a:avLst/>
              <a:gdLst>
                <a:gd name="connsiteX0" fmla="*/ 0 w 14245"/>
                <a:gd name="connsiteY0" fmla="*/ 4654 h 4654"/>
                <a:gd name="connsiteX1" fmla="*/ 0 w 14245"/>
                <a:gd name="connsiteY1" fmla="*/ 0 h 4654"/>
                <a:gd name="connsiteX2" fmla="*/ 14246 w 14245"/>
                <a:gd name="connsiteY2" fmla="*/ 0 h 4654"/>
                <a:gd name="connsiteX3" fmla="*/ 14246 w 14245"/>
                <a:gd name="connsiteY3" fmla="*/ 4654 h 4654"/>
                <a:gd name="connsiteX4" fmla="*/ 0 w 14245"/>
                <a:gd name="connsiteY4" fmla="*/ 4654 h 4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45" h="4654">
                  <a:moveTo>
                    <a:pt x="0" y="4654"/>
                  </a:moveTo>
                  <a:lnTo>
                    <a:pt x="0" y="0"/>
                  </a:lnTo>
                  <a:lnTo>
                    <a:pt x="14246" y="0"/>
                  </a:lnTo>
                  <a:lnTo>
                    <a:pt x="14246" y="4654"/>
                  </a:lnTo>
                  <a:lnTo>
                    <a:pt x="0" y="4654"/>
                  </a:lnTo>
                  <a:close/>
                </a:path>
              </a:pathLst>
            </a:custGeom>
            <a:solidFill>
              <a:srgbClr val="000000"/>
            </a:solidFill>
            <a:ln w="18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52" name="Grafik 21">
              <a:extLst>
                <a:ext uri="{FF2B5EF4-FFF2-40B4-BE49-F238E27FC236}">
                  <a16:creationId xmlns:a16="http://schemas.microsoft.com/office/drawing/2014/main" id="{1FA06D12-285E-19F4-0B73-77AD7AEBEB0B}"/>
                </a:ext>
              </a:extLst>
            </p:cNvPr>
            <p:cNvGrpSpPr/>
            <p:nvPr/>
          </p:nvGrpSpPr>
          <p:grpSpPr>
            <a:xfrm>
              <a:off x="4140159" y="2035976"/>
              <a:ext cx="272399" cy="48917"/>
              <a:chOff x="4140159" y="2035976"/>
              <a:chExt cx="272399" cy="48917"/>
            </a:xfrm>
            <a:solidFill>
              <a:srgbClr val="000000"/>
            </a:solidFill>
          </p:grpSpPr>
          <p:sp>
            <p:nvSpPr>
              <p:cNvPr id="3553" name="Freihandform: Form 3552">
                <a:extLst>
                  <a:ext uri="{FF2B5EF4-FFF2-40B4-BE49-F238E27FC236}">
                    <a16:creationId xmlns:a16="http://schemas.microsoft.com/office/drawing/2014/main" id="{34A349EE-83D8-7E15-7681-4B20455C288A}"/>
                  </a:ext>
                </a:extLst>
              </p:cNvPr>
              <p:cNvSpPr/>
              <p:nvPr/>
            </p:nvSpPr>
            <p:spPr>
              <a:xfrm>
                <a:off x="4140159" y="2035976"/>
                <a:ext cx="48559" cy="37780"/>
              </a:xfrm>
              <a:custGeom>
                <a:avLst/>
                <a:gdLst>
                  <a:gd name="connsiteX0" fmla="*/ 10025 w 48559"/>
                  <a:gd name="connsiteY0" fmla="*/ 37781 h 37780"/>
                  <a:gd name="connsiteX1" fmla="*/ 0 w 48559"/>
                  <a:gd name="connsiteY1" fmla="*/ 19 h 37780"/>
                  <a:gd name="connsiteX2" fmla="*/ 5125 w 48559"/>
                  <a:gd name="connsiteY2" fmla="*/ 19 h 37780"/>
                  <a:gd name="connsiteX3" fmla="*/ 10873 w 48559"/>
                  <a:gd name="connsiteY3" fmla="*/ 24779 h 37780"/>
                  <a:gd name="connsiteX4" fmla="*/ 12474 w 48559"/>
                  <a:gd name="connsiteY4" fmla="*/ 32505 h 37780"/>
                  <a:gd name="connsiteX5" fmla="*/ 14170 w 48559"/>
                  <a:gd name="connsiteY5" fmla="*/ 25514 h 37780"/>
                  <a:gd name="connsiteX6" fmla="*/ 21350 w 48559"/>
                  <a:gd name="connsiteY6" fmla="*/ 0 h 37780"/>
                  <a:gd name="connsiteX7" fmla="*/ 27379 w 48559"/>
                  <a:gd name="connsiteY7" fmla="*/ 0 h 37780"/>
                  <a:gd name="connsiteX8" fmla="*/ 32788 w 48559"/>
                  <a:gd name="connsiteY8" fmla="*/ 19107 h 37780"/>
                  <a:gd name="connsiteX9" fmla="*/ 35727 w 48559"/>
                  <a:gd name="connsiteY9" fmla="*/ 32486 h 37780"/>
                  <a:gd name="connsiteX10" fmla="*/ 37611 w 48559"/>
                  <a:gd name="connsiteY10" fmla="*/ 24270 h 37780"/>
                  <a:gd name="connsiteX11" fmla="*/ 43528 w 48559"/>
                  <a:gd name="connsiteY11" fmla="*/ 0 h 37780"/>
                  <a:gd name="connsiteX12" fmla="*/ 48559 w 48559"/>
                  <a:gd name="connsiteY12" fmla="*/ 0 h 37780"/>
                  <a:gd name="connsiteX13" fmla="*/ 38196 w 48559"/>
                  <a:gd name="connsiteY13" fmla="*/ 37762 h 37780"/>
                  <a:gd name="connsiteX14" fmla="*/ 33372 w 48559"/>
                  <a:gd name="connsiteY14" fmla="*/ 37762 h 37780"/>
                  <a:gd name="connsiteX15" fmla="*/ 25420 w 48559"/>
                  <a:gd name="connsiteY15" fmla="*/ 8988 h 37780"/>
                  <a:gd name="connsiteX16" fmla="*/ 24233 w 48559"/>
                  <a:gd name="connsiteY16" fmla="*/ 4560 h 37780"/>
                  <a:gd name="connsiteX17" fmla="*/ 23121 w 48559"/>
                  <a:gd name="connsiteY17" fmla="*/ 8988 h 37780"/>
                  <a:gd name="connsiteX18" fmla="*/ 15112 w 48559"/>
                  <a:gd name="connsiteY18" fmla="*/ 37762 h 37780"/>
                  <a:gd name="connsiteX19" fmla="*/ 10006 w 48559"/>
                  <a:gd name="connsiteY19" fmla="*/ 37762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8559" h="37780">
                    <a:moveTo>
                      <a:pt x="10025" y="37781"/>
                    </a:moveTo>
                    <a:lnTo>
                      <a:pt x="0" y="19"/>
                    </a:lnTo>
                    <a:lnTo>
                      <a:pt x="5125" y="19"/>
                    </a:lnTo>
                    <a:lnTo>
                      <a:pt x="10873" y="24779"/>
                    </a:lnTo>
                    <a:cubicBezTo>
                      <a:pt x="11494" y="27379"/>
                      <a:pt x="12022" y="29942"/>
                      <a:pt x="12474" y="32505"/>
                    </a:cubicBezTo>
                    <a:cubicBezTo>
                      <a:pt x="13435" y="28472"/>
                      <a:pt x="14001" y="26136"/>
                      <a:pt x="14170" y="25514"/>
                    </a:cubicBezTo>
                    <a:lnTo>
                      <a:pt x="21350" y="0"/>
                    </a:lnTo>
                    <a:lnTo>
                      <a:pt x="27379" y="0"/>
                    </a:lnTo>
                    <a:lnTo>
                      <a:pt x="32788" y="19107"/>
                    </a:lnTo>
                    <a:cubicBezTo>
                      <a:pt x="34144" y="23856"/>
                      <a:pt x="35124" y="28303"/>
                      <a:pt x="35727" y="32486"/>
                    </a:cubicBezTo>
                    <a:cubicBezTo>
                      <a:pt x="36198" y="30093"/>
                      <a:pt x="36839" y="27360"/>
                      <a:pt x="37611" y="24270"/>
                    </a:cubicBezTo>
                    <a:lnTo>
                      <a:pt x="43528" y="0"/>
                    </a:lnTo>
                    <a:lnTo>
                      <a:pt x="48559" y="0"/>
                    </a:lnTo>
                    <a:lnTo>
                      <a:pt x="38196" y="37762"/>
                    </a:lnTo>
                    <a:lnTo>
                      <a:pt x="33372" y="37762"/>
                    </a:lnTo>
                    <a:lnTo>
                      <a:pt x="25420" y="8988"/>
                    </a:lnTo>
                    <a:cubicBezTo>
                      <a:pt x="24741" y="6576"/>
                      <a:pt x="24346" y="5106"/>
                      <a:pt x="24233" y="4560"/>
                    </a:cubicBezTo>
                    <a:cubicBezTo>
                      <a:pt x="23837" y="6294"/>
                      <a:pt x="23460" y="7763"/>
                      <a:pt x="23121" y="8988"/>
                    </a:cubicBezTo>
                    <a:lnTo>
                      <a:pt x="15112" y="37762"/>
                    </a:lnTo>
                    <a:lnTo>
                      <a:pt x="10006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54" name="Freihandform: Form 3553">
                <a:extLst>
                  <a:ext uri="{FF2B5EF4-FFF2-40B4-BE49-F238E27FC236}">
                    <a16:creationId xmlns:a16="http://schemas.microsoft.com/office/drawing/2014/main" id="{08FFFE10-4E29-CFA1-80D4-7C8817CD7ACD}"/>
                  </a:ext>
                </a:extLst>
              </p:cNvPr>
              <p:cNvSpPr/>
              <p:nvPr/>
            </p:nvSpPr>
            <p:spPr>
              <a:xfrm>
                <a:off x="4189265" y="2045755"/>
                <a:ext cx="25193" cy="28623"/>
              </a:xfrm>
              <a:custGeom>
                <a:avLst/>
                <a:gdLst>
                  <a:gd name="connsiteX0" fmla="*/ 19427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7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7" y="24628"/>
                    </a:moveTo>
                    <a:cubicBezTo>
                      <a:pt x="17713" y="26079"/>
                      <a:pt x="16054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7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7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55" name="Freihandform: Form 3554">
                <a:extLst>
                  <a:ext uri="{FF2B5EF4-FFF2-40B4-BE49-F238E27FC236}">
                    <a16:creationId xmlns:a16="http://schemas.microsoft.com/office/drawing/2014/main" id="{DB3EAC74-4171-677B-47BB-2A6F3A4C5E48}"/>
                  </a:ext>
                </a:extLst>
              </p:cNvPr>
              <p:cNvSpPr/>
              <p:nvPr/>
            </p:nvSpPr>
            <p:spPr>
              <a:xfrm>
                <a:off x="4218321" y="2045812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3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3 w 22725"/>
                  <a:gd name="connsiteY10" fmla="*/ 7877 h 28585"/>
                  <a:gd name="connsiteX11" fmla="*/ 1602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7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30 h 28585"/>
                  <a:gd name="connsiteX17" fmla="*/ 21708 w 22725"/>
                  <a:gd name="connsiteY17" fmla="*/ 7669 h 28585"/>
                  <a:gd name="connsiteX18" fmla="*/ 17166 w 22725"/>
                  <a:gd name="connsiteY18" fmla="*/ 8291 h 28585"/>
                  <a:gd name="connsiteX19" fmla="*/ 15376 w 22725"/>
                  <a:gd name="connsiteY19" fmla="*/ 4994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1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30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8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0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8" y="16997"/>
                      <a:pt x="11853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9" y="12663"/>
                      <a:pt x="1790" y="11551"/>
                    </a:cubicBezTo>
                    <a:cubicBezTo>
                      <a:pt x="1112" y="10439"/>
                      <a:pt x="773" y="9214"/>
                      <a:pt x="773" y="7877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67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7"/>
                    </a:cubicBezTo>
                    <a:cubicBezTo>
                      <a:pt x="8084" y="170"/>
                      <a:pt x="9422" y="0"/>
                      <a:pt x="10854" y="0"/>
                    </a:cubicBezTo>
                    <a:cubicBezTo>
                      <a:pt x="13002" y="0"/>
                      <a:pt x="14886" y="302"/>
                      <a:pt x="16507" y="923"/>
                    </a:cubicBezTo>
                    <a:cubicBezTo>
                      <a:pt x="18127" y="1545"/>
                      <a:pt x="19333" y="2374"/>
                      <a:pt x="20106" y="3430"/>
                    </a:cubicBezTo>
                    <a:cubicBezTo>
                      <a:pt x="20879" y="4485"/>
                      <a:pt x="21406" y="5898"/>
                      <a:pt x="21708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4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1" y="8951"/>
                    </a:cubicBezTo>
                    <a:cubicBezTo>
                      <a:pt x="6218" y="9441"/>
                      <a:pt x="6802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1" y="12248"/>
                      <a:pt x="17279" y="12983"/>
                      <a:pt x="18561" y="13530"/>
                    </a:cubicBezTo>
                    <a:cubicBezTo>
                      <a:pt x="19861" y="14095"/>
                      <a:pt x="20879" y="14905"/>
                      <a:pt x="21613" y="15960"/>
                    </a:cubicBezTo>
                    <a:cubicBezTo>
                      <a:pt x="22348" y="17034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27" y="27851"/>
                      <a:pt x="3580" y="26362"/>
                    </a:cubicBezTo>
                    <a:cubicBezTo>
                      <a:pt x="1715" y="24892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56" name="Freihandform: Form 3555">
                <a:extLst>
                  <a:ext uri="{FF2B5EF4-FFF2-40B4-BE49-F238E27FC236}">
                    <a16:creationId xmlns:a16="http://schemas.microsoft.com/office/drawing/2014/main" id="{B89E66E4-5D87-31A9-57D8-7D2DC230895D}"/>
                  </a:ext>
                </a:extLst>
              </p:cNvPr>
              <p:cNvSpPr/>
              <p:nvPr/>
            </p:nvSpPr>
            <p:spPr>
              <a:xfrm>
                <a:off x="4246567" y="2035994"/>
                <a:ext cx="22272" cy="37762"/>
              </a:xfrm>
              <a:custGeom>
                <a:avLst/>
                <a:gdLst>
                  <a:gd name="connsiteX0" fmla="*/ 0 w 22272"/>
                  <a:gd name="connsiteY0" fmla="*/ 37762 h 37762"/>
                  <a:gd name="connsiteX1" fmla="*/ 0 w 22272"/>
                  <a:gd name="connsiteY1" fmla="*/ 0 h 37762"/>
                  <a:gd name="connsiteX2" fmla="*/ 4636 w 22272"/>
                  <a:gd name="connsiteY2" fmla="*/ 0 h 37762"/>
                  <a:gd name="connsiteX3" fmla="*/ 4636 w 22272"/>
                  <a:gd name="connsiteY3" fmla="*/ 13548 h 37762"/>
                  <a:gd name="connsiteX4" fmla="*/ 12832 w 22272"/>
                  <a:gd name="connsiteY4" fmla="*/ 9780 h 37762"/>
                  <a:gd name="connsiteX5" fmla="*/ 18108 w 22272"/>
                  <a:gd name="connsiteY5" fmla="*/ 10986 h 37762"/>
                  <a:gd name="connsiteX6" fmla="*/ 21312 w 22272"/>
                  <a:gd name="connsiteY6" fmla="*/ 14302 h 37762"/>
                  <a:gd name="connsiteX7" fmla="*/ 22273 w 22272"/>
                  <a:gd name="connsiteY7" fmla="*/ 20426 h 37762"/>
                  <a:gd name="connsiteX8" fmla="*/ 22273 w 22272"/>
                  <a:gd name="connsiteY8" fmla="*/ 37762 h 37762"/>
                  <a:gd name="connsiteX9" fmla="*/ 17637 w 22272"/>
                  <a:gd name="connsiteY9" fmla="*/ 37762 h 37762"/>
                  <a:gd name="connsiteX10" fmla="*/ 17637 w 22272"/>
                  <a:gd name="connsiteY10" fmla="*/ 20426 h 37762"/>
                  <a:gd name="connsiteX11" fmla="*/ 16130 w 22272"/>
                  <a:gd name="connsiteY11" fmla="*/ 15357 h 37762"/>
                  <a:gd name="connsiteX12" fmla="*/ 11871 w 22272"/>
                  <a:gd name="connsiteY12" fmla="*/ 13775 h 37762"/>
                  <a:gd name="connsiteX13" fmla="*/ 7990 w 22272"/>
                  <a:gd name="connsiteY13" fmla="*/ 14849 h 37762"/>
                  <a:gd name="connsiteX14" fmla="*/ 5408 w 22272"/>
                  <a:gd name="connsiteY14" fmla="*/ 17750 h 37762"/>
                  <a:gd name="connsiteX15" fmla="*/ 4636 w 22272"/>
                  <a:gd name="connsiteY15" fmla="*/ 22800 h 37762"/>
                  <a:gd name="connsiteX16" fmla="*/ 4636 w 22272"/>
                  <a:gd name="connsiteY16" fmla="*/ 37762 h 37762"/>
                  <a:gd name="connsiteX17" fmla="*/ 0 w 22272"/>
                  <a:gd name="connsiteY17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272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13548"/>
                    </a:lnTo>
                    <a:cubicBezTo>
                      <a:pt x="6802" y="11042"/>
                      <a:pt x="9535" y="9780"/>
                      <a:pt x="12832" y="9780"/>
                    </a:cubicBezTo>
                    <a:cubicBezTo>
                      <a:pt x="14867" y="9780"/>
                      <a:pt x="16620" y="10175"/>
                      <a:pt x="18108" y="10986"/>
                    </a:cubicBezTo>
                    <a:cubicBezTo>
                      <a:pt x="19597" y="11796"/>
                      <a:pt x="20671" y="12889"/>
                      <a:pt x="21312" y="14302"/>
                    </a:cubicBezTo>
                    <a:cubicBezTo>
                      <a:pt x="21953" y="15715"/>
                      <a:pt x="22273" y="17750"/>
                      <a:pt x="22273" y="20426"/>
                    </a:cubicBezTo>
                    <a:lnTo>
                      <a:pt x="22273" y="37762"/>
                    </a:lnTo>
                    <a:lnTo>
                      <a:pt x="17637" y="37762"/>
                    </a:lnTo>
                    <a:lnTo>
                      <a:pt x="17637" y="20426"/>
                    </a:lnTo>
                    <a:cubicBezTo>
                      <a:pt x="17637" y="18108"/>
                      <a:pt x="17129" y="16413"/>
                      <a:pt x="16130" y="15357"/>
                    </a:cubicBezTo>
                    <a:cubicBezTo>
                      <a:pt x="15131" y="14302"/>
                      <a:pt x="13699" y="13775"/>
                      <a:pt x="11871" y="13775"/>
                    </a:cubicBezTo>
                    <a:cubicBezTo>
                      <a:pt x="10496" y="13775"/>
                      <a:pt x="9196" y="14133"/>
                      <a:pt x="7990" y="14849"/>
                    </a:cubicBezTo>
                    <a:cubicBezTo>
                      <a:pt x="6784" y="15565"/>
                      <a:pt x="5917" y="16526"/>
                      <a:pt x="5408" y="17750"/>
                    </a:cubicBezTo>
                    <a:cubicBezTo>
                      <a:pt x="4899" y="18975"/>
                      <a:pt x="4636" y="20652"/>
                      <a:pt x="4636" y="22800"/>
                    </a:cubicBez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57" name="Freihandform: Form 3556">
                <a:extLst>
                  <a:ext uri="{FF2B5EF4-FFF2-40B4-BE49-F238E27FC236}">
                    <a16:creationId xmlns:a16="http://schemas.microsoft.com/office/drawing/2014/main" id="{C8B576BC-B392-33FE-84A0-CE7B960E6EC2}"/>
                  </a:ext>
                </a:extLst>
              </p:cNvPr>
              <p:cNvSpPr/>
              <p:nvPr/>
            </p:nvSpPr>
            <p:spPr>
              <a:xfrm>
                <a:off x="4275925" y="2035994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1 h 37762"/>
                  <a:gd name="connsiteX7" fmla="*/ 4635 w 4635"/>
                  <a:gd name="connsiteY7" fmla="*/ 10401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1"/>
                    </a:lnTo>
                    <a:lnTo>
                      <a:pt x="4635" y="10401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58" name="Freihandform: Form 3557">
                <a:extLst>
                  <a:ext uri="{FF2B5EF4-FFF2-40B4-BE49-F238E27FC236}">
                    <a16:creationId xmlns:a16="http://schemas.microsoft.com/office/drawing/2014/main" id="{1E350AF5-DCC9-EA11-7731-2D93578A86C1}"/>
                  </a:ext>
                </a:extLst>
              </p:cNvPr>
              <p:cNvSpPr/>
              <p:nvPr/>
            </p:nvSpPr>
            <p:spPr>
              <a:xfrm>
                <a:off x="4287627" y="2045774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3"/>
                    </a:lnTo>
                    <a:cubicBezTo>
                      <a:pt x="6181" y="1507"/>
                      <a:pt x="9082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1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59" name="Freihandform: Form 3558">
                <a:extLst>
                  <a:ext uri="{FF2B5EF4-FFF2-40B4-BE49-F238E27FC236}">
                    <a16:creationId xmlns:a16="http://schemas.microsoft.com/office/drawing/2014/main" id="{61912B15-B2F3-E14A-9AB9-2196768D011B}"/>
                  </a:ext>
                </a:extLst>
              </p:cNvPr>
              <p:cNvSpPr/>
              <p:nvPr/>
            </p:nvSpPr>
            <p:spPr>
              <a:xfrm>
                <a:off x="4315195" y="2045793"/>
                <a:ext cx="24119" cy="39099"/>
              </a:xfrm>
              <a:custGeom>
                <a:avLst/>
                <a:gdLst>
                  <a:gd name="connsiteX0" fmla="*/ 923 w 24119"/>
                  <a:gd name="connsiteY0" fmla="*/ 30225 h 39099"/>
                  <a:gd name="connsiteX1" fmla="*/ 5427 w 24119"/>
                  <a:gd name="connsiteY1" fmla="*/ 30903 h 39099"/>
                  <a:gd name="connsiteX2" fmla="*/ 6991 w 24119"/>
                  <a:gd name="connsiteY2" fmla="*/ 33937 h 39099"/>
                  <a:gd name="connsiteX3" fmla="*/ 11702 w 24119"/>
                  <a:gd name="connsiteY3" fmla="*/ 35218 h 39099"/>
                  <a:gd name="connsiteX4" fmla="*/ 16676 w 24119"/>
                  <a:gd name="connsiteY4" fmla="*/ 33937 h 39099"/>
                  <a:gd name="connsiteX5" fmla="*/ 19051 w 24119"/>
                  <a:gd name="connsiteY5" fmla="*/ 30338 h 39099"/>
                  <a:gd name="connsiteX6" fmla="*/ 19390 w 24119"/>
                  <a:gd name="connsiteY6" fmla="*/ 24383 h 39099"/>
                  <a:gd name="connsiteX7" fmla="*/ 11815 w 24119"/>
                  <a:gd name="connsiteY7" fmla="*/ 27964 h 39099"/>
                  <a:gd name="connsiteX8" fmla="*/ 3090 w 24119"/>
                  <a:gd name="connsiteY8" fmla="*/ 23893 h 39099"/>
                  <a:gd name="connsiteX9" fmla="*/ 0 w 24119"/>
                  <a:gd name="connsiteY9" fmla="*/ 14133 h 39099"/>
                  <a:gd name="connsiteX10" fmla="*/ 1413 w 24119"/>
                  <a:gd name="connsiteY10" fmla="*/ 6916 h 39099"/>
                  <a:gd name="connsiteX11" fmla="*/ 5521 w 24119"/>
                  <a:gd name="connsiteY11" fmla="*/ 1809 h 39099"/>
                  <a:gd name="connsiteX12" fmla="*/ 11853 w 24119"/>
                  <a:gd name="connsiteY12" fmla="*/ 0 h 39099"/>
                  <a:gd name="connsiteX13" fmla="*/ 19842 w 24119"/>
                  <a:gd name="connsiteY13" fmla="*/ 3919 h 39099"/>
                  <a:gd name="connsiteX14" fmla="*/ 19842 w 24119"/>
                  <a:gd name="connsiteY14" fmla="*/ 622 h 39099"/>
                  <a:gd name="connsiteX15" fmla="*/ 24120 w 24119"/>
                  <a:gd name="connsiteY15" fmla="*/ 622 h 39099"/>
                  <a:gd name="connsiteX16" fmla="*/ 24120 w 24119"/>
                  <a:gd name="connsiteY16" fmla="*/ 24270 h 39099"/>
                  <a:gd name="connsiteX17" fmla="*/ 22819 w 24119"/>
                  <a:gd name="connsiteY17" fmla="*/ 33334 h 39099"/>
                  <a:gd name="connsiteX18" fmla="*/ 18693 w 24119"/>
                  <a:gd name="connsiteY18" fmla="*/ 37555 h 39099"/>
                  <a:gd name="connsiteX19" fmla="*/ 11758 w 24119"/>
                  <a:gd name="connsiteY19" fmla="*/ 39100 h 39099"/>
                  <a:gd name="connsiteX20" fmla="*/ 3844 w 24119"/>
                  <a:gd name="connsiteY20" fmla="*/ 36895 h 39099"/>
                  <a:gd name="connsiteX21" fmla="*/ 942 w 24119"/>
                  <a:gd name="connsiteY21" fmla="*/ 30262 h 39099"/>
                  <a:gd name="connsiteX22" fmla="*/ 4767 w 24119"/>
                  <a:gd name="connsiteY22" fmla="*/ 13793 h 39099"/>
                  <a:gd name="connsiteX23" fmla="*/ 6897 w 24119"/>
                  <a:gd name="connsiteY23" fmla="*/ 21651 h 39099"/>
                  <a:gd name="connsiteX24" fmla="*/ 12248 w 24119"/>
                  <a:gd name="connsiteY24" fmla="*/ 24120 h 39099"/>
                  <a:gd name="connsiteX25" fmla="*/ 17600 w 24119"/>
                  <a:gd name="connsiteY25" fmla="*/ 21651 h 39099"/>
                  <a:gd name="connsiteX26" fmla="*/ 19767 w 24119"/>
                  <a:gd name="connsiteY26" fmla="*/ 13944 h 39099"/>
                  <a:gd name="connsiteX27" fmla="*/ 17543 w 24119"/>
                  <a:gd name="connsiteY27" fmla="*/ 6369 h 39099"/>
                  <a:gd name="connsiteX28" fmla="*/ 12173 w 24119"/>
                  <a:gd name="connsiteY28" fmla="*/ 3825 h 39099"/>
                  <a:gd name="connsiteX29" fmla="*/ 6916 w 24119"/>
                  <a:gd name="connsiteY29" fmla="*/ 6331 h 39099"/>
                  <a:gd name="connsiteX30" fmla="*/ 4749 w 24119"/>
                  <a:gd name="connsiteY30" fmla="*/ 13793 h 39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19" h="39099">
                    <a:moveTo>
                      <a:pt x="923" y="30225"/>
                    </a:moveTo>
                    <a:lnTo>
                      <a:pt x="5427" y="30903"/>
                    </a:lnTo>
                    <a:cubicBezTo>
                      <a:pt x="5615" y="32298"/>
                      <a:pt x="6143" y="33315"/>
                      <a:pt x="6991" y="33937"/>
                    </a:cubicBezTo>
                    <a:cubicBezTo>
                      <a:pt x="8140" y="34804"/>
                      <a:pt x="9704" y="35218"/>
                      <a:pt x="11702" y="35218"/>
                    </a:cubicBezTo>
                    <a:cubicBezTo>
                      <a:pt x="13850" y="35218"/>
                      <a:pt x="15508" y="34785"/>
                      <a:pt x="16676" y="33937"/>
                    </a:cubicBezTo>
                    <a:cubicBezTo>
                      <a:pt x="17845" y="33070"/>
                      <a:pt x="18636" y="31883"/>
                      <a:pt x="19051" y="30338"/>
                    </a:cubicBezTo>
                    <a:cubicBezTo>
                      <a:pt x="19296" y="29396"/>
                      <a:pt x="19409" y="27417"/>
                      <a:pt x="19390" y="24383"/>
                    </a:cubicBezTo>
                    <a:cubicBezTo>
                      <a:pt x="17355" y="26776"/>
                      <a:pt x="14830" y="27964"/>
                      <a:pt x="11815" y="27964"/>
                    </a:cubicBezTo>
                    <a:cubicBezTo>
                      <a:pt x="8046" y="27964"/>
                      <a:pt x="5144" y="26607"/>
                      <a:pt x="3090" y="23893"/>
                    </a:cubicBezTo>
                    <a:cubicBezTo>
                      <a:pt x="1036" y="21180"/>
                      <a:pt x="0" y="17920"/>
                      <a:pt x="0" y="14133"/>
                    </a:cubicBezTo>
                    <a:cubicBezTo>
                      <a:pt x="0" y="11513"/>
                      <a:pt x="471" y="9120"/>
                      <a:pt x="1413" y="6916"/>
                    </a:cubicBezTo>
                    <a:cubicBezTo>
                      <a:pt x="2355" y="4711"/>
                      <a:pt x="3731" y="2996"/>
                      <a:pt x="5521" y="1809"/>
                    </a:cubicBezTo>
                    <a:cubicBezTo>
                      <a:pt x="7311" y="603"/>
                      <a:pt x="9422" y="0"/>
                      <a:pt x="11853" y="0"/>
                    </a:cubicBezTo>
                    <a:cubicBezTo>
                      <a:pt x="15075" y="0"/>
                      <a:pt x="17751" y="1300"/>
                      <a:pt x="19842" y="3919"/>
                    </a:cubicBezTo>
                    <a:lnTo>
                      <a:pt x="19842" y="622"/>
                    </a:lnTo>
                    <a:lnTo>
                      <a:pt x="24120" y="622"/>
                    </a:lnTo>
                    <a:lnTo>
                      <a:pt x="24120" y="24270"/>
                    </a:lnTo>
                    <a:cubicBezTo>
                      <a:pt x="24120" y="28529"/>
                      <a:pt x="23686" y="31544"/>
                      <a:pt x="22819" y="33334"/>
                    </a:cubicBezTo>
                    <a:cubicBezTo>
                      <a:pt x="21953" y="35105"/>
                      <a:pt x="20577" y="36518"/>
                      <a:pt x="18693" y="37555"/>
                    </a:cubicBezTo>
                    <a:cubicBezTo>
                      <a:pt x="16808" y="38591"/>
                      <a:pt x="14490" y="39100"/>
                      <a:pt x="11758" y="39100"/>
                    </a:cubicBezTo>
                    <a:cubicBezTo>
                      <a:pt x="8498" y="39100"/>
                      <a:pt x="5860" y="38365"/>
                      <a:pt x="3844" y="36895"/>
                    </a:cubicBezTo>
                    <a:cubicBezTo>
                      <a:pt x="1828" y="35426"/>
                      <a:pt x="867" y="33221"/>
                      <a:pt x="942" y="30262"/>
                    </a:cubicBezTo>
                    <a:close/>
                    <a:moveTo>
                      <a:pt x="4767" y="13793"/>
                    </a:moveTo>
                    <a:cubicBezTo>
                      <a:pt x="4767" y="17393"/>
                      <a:pt x="5483" y="19993"/>
                      <a:pt x="6897" y="21651"/>
                    </a:cubicBezTo>
                    <a:cubicBezTo>
                      <a:pt x="8329" y="23309"/>
                      <a:pt x="10100" y="24120"/>
                      <a:pt x="12248" y="24120"/>
                    </a:cubicBezTo>
                    <a:cubicBezTo>
                      <a:pt x="14396" y="24120"/>
                      <a:pt x="16168" y="23290"/>
                      <a:pt x="17600" y="21651"/>
                    </a:cubicBezTo>
                    <a:cubicBezTo>
                      <a:pt x="19032" y="20012"/>
                      <a:pt x="19767" y="17430"/>
                      <a:pt x="19767" y="13944"/>
                    </a:cubicBezTo>
                    <a:cubicBezTo>
                      <a:pt x="19767" y="10458"/>
                      <a:pt x="19032" y="8065"/>
                      <a:pt x="17543" y="6369"/>
                    </a:cubicBezTo>
                    <a:cubicBezTo>
                      <a:pt x="16055" y="4673"/>
                      <a:pt x="14264" y="3825"/>
                      <a:pt x="12173" y="3825"/>
                    </a:cubicBezTo>
                    <a:cubicBezTo>
                      <a:pt x="10081" y="3825"/>
                      <a:pt x="8366" y="4654"/>
                      <a:pt x="6916" y="6331"/>
                    </a:cubicBezTo>
                    <a:cubicBezTo>
                      <a:pt x="5465" y="8008"/>
                      <a:pt x="4749" y="10496"/>
                      <a:pt x="4749" y="1379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60" name="Freihandform: Form 3559">
                <a:extLst>
                  <a:ext uri="{FF2B5EF4-FFF2-40B4-BE49-F238E27FC236}">
                    <a16:creationId xmlns:a16="http://schemas.microsoft.com/office/drawing/2014/main" id="{E9AD42A3-9247-D5B6-B099-DA0958BD2AB0}"/>
                  </a:ext>
                </a:extLst>
              </p:cNvPr>
              <p:cNvSpPr/>
              <p:nvPr/>
            </p:nvSpPr>
            <p:spPr>
              <a:xfrm>
                <a:off x="4343780" y="2036842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2 h 37272"/>
                  <a:gd name="connsiteX7" fmla="*/ 0 w 13341"/>
                  <a:gd name="connsiteY7" fmla="*/ 13172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5 h 37272"/>
                  <a:gd name="connsiteX18" fmla="*/ 9045 w 13341"/>
                  <a:gd name="connsiteY18" fmla="*/ 32599 h 37272"/>
                  <a:gd name="connsiteX19" fmla="*/ 10627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2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3" y="35953"/>
                      <a:pt x="4334" y="35256"/>
                      <a:pt x="3957" y="34389"/>
                    </a:cubicBezTo>
                    <a:cubicBezTo>
                      <a:pt x="3580" y="33522"/>
                      <a:pt x="3392" y="31695"/>
                      <a:pt x="3392" y="28906"/>
                    </a:cubicBezTo>
                    <a:lnTo>
                      <a:pt x="3392" y="13172"/>
                    </a:lnTo>
                    <a:lnTo>
                      <a:pt x="0" y="13172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7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61" name="Freihandform: Form 3560">
                <a:extLst>
                  <a:ext uri="{FF2B5EF4-FFF2-40B4-BE49-F238E27FC236}">
                    <a16:creationId xmlns:a16="http://schemas.microsoft.com/office/drawing/2014/main" id="{E77A7466-1A74-EBCA-4522-84035CEABF0A}"/>
                  </a:ext>
                </a:extLst>
              </p:cNvPr>
              <p:cNvSpPr/>
              <p:nvPr/>
            </p:nvSpPr>
            <p:spPr>
              <a:xfrm>
                <a:off x="4359232" y="2045793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62" name="Freihandform: Form 3561">
                <a:extLst>
                  <a:ext uri="{FF2B5EF4-FFF2-40B4-BE49-F238E27FC236}">
                    <a16:creationId xmlns:a16="http://schemas.microsoft.com/office/drawing/2014/main" id="{6C3C0573-617B-2684-AC04-9D5902694418}"/>
                  </a:ext>
                </a:extLst>
              </p:cNvPr>
              <p:cNvSpPr/>
              <p:nvPr/>
            </p:nvSpPr>
            <p:spPr>
              <a:xfrm>
                <a:off x="4390323" y="2045774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3"/>
                    </a:lnTo>
                    <a:cubicBezTo>
                      <a:pt x="6181" y="1507"/>
                      <a:pt x="9082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1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53" name="Grafik 21">
              <a:extLst>
                <a:ext uri="{FF2B5EF4-FFF2-40B4-BE49-F238E27FC236}">
                  <a16:creationId xmlns:a16="http://schemas.microsoft.com/office/drawing/2014/main" id="{9199D66B-233A-59BB-DF82-37EDAD40056E}"/>
                </a:ext>
              </a:extLst>
            </p:cNvPr>
            <p:cNvGrpSpPr/>
            <p:nvPr/>
          </p:nvGrpSpPr>
          <p:grpSpPr>
            <a:xfrm>
              <a:off x="4899754" y="1818674"/>
              <a:ext cx="156663" cy="39005"/>
              <a:chOff x="4899754" y="1818674"/>
              <a:chExt cx="156663" cy="39005"/>
            </a:xfrm>
            <a:solidFill>
              <a:srgbClr val="000000"/>
            </a:solidFill>
          </p:grpSpPr>
          <p:sp>
            <p:nvSpPr>
              <p:cNvPr id="3546" name="Freihandform: Form 3545">
                <a:extLst>
                  <a:ext uri="{FF2B5EF4-FFF2-40B4-BE49-F238E27FC236}">
                    <a16:creationId xmlns:a16="http://schemas.microsoft.com/office/drawing/2014/main" id="{4E1929A1-3715-03CC-BF2B-18231CDC5C69}"/>
                  </a:ext>
                </a:extLst>
              </p:cNvPr>
              <p:cNvSpPr/>
              <p:nvPr/>
            </p:nvSpPr>
            <p:spPr>
              <a:xfrm>
                <a:off x="4899754" y="1819296"/>
                <a:ext cx="29621" cy="37762"/>
              </a:xfrm>
              <a:custGeom>
                <a:avLst/>
                <a:gdLst>
                  <a:gd name="connsiteX0" fmla="*/ 0 w 29621"/>
                  <a:gd name="connsiteY0" fmla="*/ 37762 h 37762"/>
                  <a:gd name="connsiteX1" fmla="*/ 0 w 29621"/>
                  <a:gd name="connsiteY1" fmla="*/ 0 h 37762"/>
                  <a:gd name="connsiteX2" fmla="*/ 4994 w 29621"/>
                  <a:gd name="connsiteY2" fmla="*/ 0 h 37762"/>
                  <a:gd name="connsiteX3" fmla="*/ 4994 w 29621"/>
                  <a:gd name="connsiteY3" fmla="*/ 15508 h 37762"/>
                  <a:gd name="connsiteX4" fmla="*/ 24628 w 29621"/>
                  <a:gd name="connsiteY4" fmla="*/ 15508 h 37762"/>
                  <a:gd name="connsiteX5" fmla="*/ 24628 w 29621"/>
                  <a:gd name="connsiteY5" fmla="*/ 0 h 37762"/>
                  <a:gd name="connsiteX6" fmla="*/ 29622 w 29621"/>
                  <a:gd name="connsiteY6" fmla="*/ 0 h 37762"/>
                  <a:gd name="connsiteX7" fmla="*/ 29622 w 29621"/>
                  <a:gd name="connsiteY7" fmla="*/ 37762 h 37762"/>
                  <a:gd name="connsiteX8" fmla="*/ 24628 w 29621"/>
                  <a:gd name="connsiteY8" fmla="*/ 37762 h 37762"/>
                  <a:gd name="connsiteX9" fmla="*/ 24628 w 29621"/>
                  <a:gd name="connsiteY9" fmla="*/ 19955 h 37762"/>
                  <a:gd name="connsiteX10" fmla="*/ 4994 w 29621"/>
                  <a:gd name="connsiteY10" fmla="*/ 19955 h 37762"/>
                  <a:gd name="connsiteX11" fmla="*/ 4994 w 29621"/>
                  <a:gd name="connsiteY11" fmla="*/ 37762 h 37762"/>
                  <a:gd name="connsiteX12" fmla="*/ 0 w 29621"/>
                  <a:gd name="connsiteY12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21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994" y="0"/>
                    </a:lnTo>
                    <a:lnTo>
                      <a:pt x="4994" y="15508"/>
                    </a:lnTo>
                    <a:lnTo>
                      <a:pt x="24628" y="15508"/>
                    </a:lnTo>
                    <a:lnTo>
                      <a:pt x="24628" y="0"/>
                    </a:lnTo>
                    <a:lnTo>
                      <a:pt x="29622" y="0"/>
                    </a:lnTo>
                    <a:lnTo>
                      <a:pt x="29622" y="37762"/>
                    </a:lnTo>
                    <a:lnTo>
                      <a:pt x="24628" y="37762"/>
                    </a:lnTo>
                    <a:lnTo>
                      <a:pt x="24628" y="19955"/>
                    </a:lnTo>
                    <a:lnTo>
                      <a:pt x="4994" y="19955"/>
                    </a:lnTo>
                    <a:lnTo>
                      <a:pt x="4994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47" name="Freihandform: Form 3546">
                <a:extLst>
                  <a:ext uri="{FF2B5EF4-FFF2-40B4-BE49-F238E27FC236}">
                    <a16:creationId xmlns:a16="http://schemas.microsoft.com/office/drawing/2014/main" id="{EAC93470-3495-EDFA-E0CA-432E73082523}"/>
                  </a:ext>
                </a:extLst>
              </p:cNvPr>
              <p:cNvSpPr/>
              <p:nvPr/>
            </p:nvSpPr>
            <p:spPr>
              <a:xfrm>
                <a:off x="4935537" y="1829056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1 w 25193"/>
                  <a:gd name="connsiteY11" fmla="*/ 5408 h 28623"/>
                  <a:gd name="connsiteX12" fmla="*/ 12474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6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1" y="4993"/>
                    </a:cubicBezTo>
                    <a:cubicBezTo>
                      <a:pt x="6614" y="5766"/>
                      <a:pt x="5841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48" name="Freihandform: Form 3547">
                <a:extLst>
                  <a:ext uri="{FF2B5EF4-FFF2-40B4-BE49-F238E27FC236}">
                    <a16:creationId xmlns:a16="http://schemas.microsoft.com/office/drawing/2014/main" id="{F180DA9A-643C-1EFC-40CA-B42469C85FB7}"/>
                  </a:ext>
                </a:extLst>
              </p:cNvPr>
              <p:cNvSpPr/>
              <p:nvPr/>
            </p:nvSpPr>
            <p:spPr>
              <a:xfrm>
                <a:off x="4966346" y="1819296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49" name="Freihandform: Form 3548">
                <a:extLst>
                  <a:ext uri="{FF2B5EF4-FFF2-40B4-BE49-F238E27FC236}">
                    <a16:creationId xmlns:a16="http://schemas.microsoft.com/office/drawing/2014/main" id="{3D10C2E3-8B06-8935-96B0-A3D7E2AC8752}"/>
                  </a:ext>
                </a:extLst>
              </p:cNvPr>
              <p:cNvSpPr/>
              <p:nvPr/>
            </p:nvSpPr>
            <p:spPr>
              <a:xfrm>
                <a:off x="4978199" y="1819296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1 h 37762"/>
                  <a:gd name="connsiteX7" fmla="*/ 4635 w 4635"/>
                  <a:gd name="connsiteY7" fmla="*/ 10401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1"/>
                    </a:lnTo>
                    <a:lnTo>
                      <a:pt x="4635" y="10401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50" name="Freihandform: Form 3549">
                <a:extLst>
                  <a:ext uri="{FF2B5EF4-FFF2-40B4-BE49-F238E27FC236}">
                    <a16:creationId xmlns:a16="http://schemas.microsoft.com/office/drawing/2014/main" id="{8BC48ACC-F3BC-2A4D-0BF0-886DBB0C25F4}"/>
                  </a:ext>
                </a:extLst>
              </p:cNvPr>
              <p:cNvSpPr/>
              <p:nvPr/>
            </p:nvSpPr>
            <p:spPr>
              <a:xfrm>
                <a:off x="4986923" y="1818674"/>
                <a:ext cx="15998" cy="38421"/>
              </a:xfrm>
              <a:custGeom>
                <a:avLst/>
                <a:gdLst>
                  <a:gd name="connsiteX0" fmla="*/ 4089 w 15998"/>
                  <a:gd name="connsiteY0" fmla="*/ 38384 h 38421"/>
                  <a:gd name="connsiteX1" fmla="*/ 4089 w 15998"/>
                  <a:gd name="connsiteY1" fmla="*/ 14622 h 38421"/>
                  <a:gd name="connsiteX2" fmla="*/ 0 w 15998"/>
                  <a:gd name="connsiteY2" fmla="*/ 14622 h 38421"/>
                  <a:gd name="connsiteX3" fmla="*/ 0 w 15998"/>
                  <a:gd name="connsiteY3" fmla="*/ 11023 h 38421"/>
                  <a:gd name="connsiteX4" fmla="*/ 4089 w 15998"/>
                  <a:gd name="connsiteY4" fmla="*/ 11023 h 38421"/>
                  <a:gd name="connsiteX5" fmla="*/ 4089 w 15998"/>
                  <a:gd name="connsiteY5" fmla="*/ 8121 h 38421"/>
                  <a:gd name="connsiteX6" fmla="*/ 4579 w 15998"/>
                  <a:gd name="connsiteY6" fmla="*/ 4033 h 38421"/>
                  <a:gd name="connsiteX7" fmla="*/ 6934 w 15998"/>
                  <a:gd name="connsiteY7" fmla="*/ 1112 h 38421"/>
                  <a:gd name="connsiteX8" fmla="*/ 11664 w 15998"/>
                  <a:gd name="connsiteY8" fmla="*/ 0 h 38421"/>
                  <a:gd name="connsiteX9" fmla="*/ 15998 w 15998"/>
                  <a:gd name="connsiteY9" fmla="*/ 471 h 38421"/>
                  <a:gd name="connsiteX10" fmla="*/ 15301 w 15998"/>
                  <a:gd name="connsiteY10" fmla="*/ 4522 h 38421"/>
                  <a:gd name="connsiteX11" fmla="*/ 12569 w 15998"/>
                  <a:gd name="connsiteY11" fmla="*/ 4259 h 38421"/>
                  <a:gd name="connsiteX12" fmla="*/ 9572 w 15998"/>
                  <a:gd name="connsiteY12" fmla="*/ 5163 h 38421"/>
                  <a:gd name="connsiteX13" fmla="*/ 8706 w 15998"/>
                  <a:gd name="connsiteY13" fmla="*/ 8536 h 38421"/>
                  <a:gd name="connsiteX14" fmla="*/ 8706 w 15998"/>
                  <a:gd name="connsiteY14" fmla="*/ 11061 h 38421"/>
                  <a:gd name="connsiteX15" fmla="*/ 14038 w 15998"/>
                  <a:gd name="connsiteY15" fmla="*/ 11061 h 38421"/>
                  <a:gd name="connsiteX16" fmla="*/ 14038 w 15998"/>
                  <a:gd name="connsiteY16" fmla="*/ 14660 h 38421"/>
                  <a:gd name="connsiteX17" fmla="*/ 8706 w 15998"/>
                  <a:gd name="connsiteY17" fmla="*/ 14660 h 38421"/>
                  <a:gd name="connsiteX18" fmla="*/ 8706 w 15998"/>
                  <a:gd name="connsiteY18" fmla="*/ 38422 h 38421"/>
                  <a:gd name="connsiteX19" fmla="*/ 4089 w 15998"/>
                  <a:gd name="connsiteY19" fmla="*/ 38422 h 38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998" h="38421">
                    <a:moveTo>
                      <a:pt x="4089" y="38384"/>
                    </a:moveTo>
                    <a:lnTo>
                      <a:pt x="4089" y="14622"/>
                    </a:lnTo>
                    <a:lnTo>
                      <a:pt x="0" y="14622"/>
                    </a:lnTo>
                    <a:lnTo>
                      <a:pt x="0" y="11023"/>
                    </a:lnTo>
                    <a:lnTo>
                      <a:pt x="4089" y="11023"/>
                    </a:lnTo>
                    <a:lnTo>
                      <a:pt x="4089" y="8121"/>
                    </a:lnTo>
                    <a:cubicBezTo>
                      <a:pt x="4089" y="6275"/>
                      <a:pt x="4259" y="4918"/>
                      <a:pt x="4579" y="4033"/>
                    </a:cubicBezTo>
                    <a:cubicBezTo>
                      <a:pt x="5031" y="2827"/>
                      <a:pt x="5804" y="1847"/>
                      <a:pt x="6934" y="1112"/>
                    </a:cubicBezTo>
                    <a:cubicBezTo>
                      <a:pt x="8065" y="358"/>
                      <a:pt x="9629" y="0"/>
                      <a:pt x="11664" y="0"/>
                    </a:cubicBezTo>
                    <a:cubicBezTo>
                      <a:pt x="12964" y="0"/>
                      <a:pt x="14415" y="151"/>
                      <a:pt x="15998" y="471"/>
                    </a:cubicBezTo>
                    <a:lnTo>
                      <a:pt x="15301" y="4522"/>
                    </a:lnTo>
                    <a:cubicBezTo>
                      <a:pt x="14340" y="4353"/>
                      <a:pt x="13435" y="4259"/>
                      <a:pt x="12569" y="4259"/>
                    </a:cubicBezTo>
                    <a:cubicBezTo>
                      <a:pt x="11155" y="4259"/>
                      <a:pt x="10157" y="4560"/>
                      <a:pt x="9572" y="5163"/>
                    </a:cubicBezTo>
                    <a:cubicBezTo>
                      <a:pt x="8988" y="5766"/>
                      <a:pt x="8706" y="6897"/>
                      <a:pt x="8706" y="8536"/>
                    </a:cubicBezTo>
                    <a:lnTo>
                      <a:pt x="8706" y="11061"/>
                    </a:lnTo>
                    <a:lnTo>
                      <a:pt x="14038" y="11061"/>
                    </a:lnTo>
                    <a:lnTo>
                      <a:pt x="14038" y="14660"/>
                    </a:lnTo>
                    <a:lnTo>
                      <a:pt x="8706" y="14660"/>
                    </a:lnTo>
                    <a:lnTo>
                      <a:pt x="8706" y="38422"/>
                    </a:lnTo>
                    <a:lnTo>
                      <a:pt x="4089" y="3842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51" name="Freihandform: Form 3550">
                <a:extLst>
                  <a:ext uri="{FF2B5EF4-FFF2-40B4-BE49-F238E27FC236}">
                    <a16:creationId xmlns:a16="http://schemas.microsoft.com/office/drawing/2014/main" id="{0F0F49F6-F9D8-2C3F-186C-2935C8CF74AA}"/>
                  </a:ext>
                </a:extLst>
              </p:cNvPr>
              <p:cNvSpPr/>
              <p:nvPr/>
            </p:nvSpPr>
            <p:spPr>
              <a:xfrm>
                <a:off x="5002978" y="1829056"/>
                <a:ext cx="25193" cy="28623"/>
              </a:xfrm>
              <a:custGeom>
                <a:avLst/>
                <a:gdLst>
                  <a:gd name="connsiteX0" fmla="*/ 19427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1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7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7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7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52" name="Freihandform: Form 3551">
                <a:extLst>
                  <a:ext uri="{FF2B5EF4-FFF2-40B4-BE49-F238E27FC236}">
                    <a16:creationId xmlns:a16="http://schemas.microsoft.com/office/drawing/2014/main" id="{99D8C70C-E8D9-0136-FABB-5108BAF06701}"/>
                  </a:ext>
                </a:extLst>
              </p:cNvPr>
              <p:cNvSpPr/>
              <p:nvPr/>
            </p:nvSpPr>
            <p:spPr>
              <a:xfrm>
                <a:off x="5030810" y="1829697"/>
                <a:ext cx="25608" cy="27360"/>
              </a:xfrm>
              <a:custGeom>
                <a:avLst/>
                <a:gdLst>
                  <a:gd name="connsiteX0" fmla="*/ 0 w 25608"/>
                  <a:gd name="connsiteY0" fmla="*/ 27361 h 27360"/>
                  <a:gd name="connsiteX1" fmla="*/ 9987 w 25608"/>
                  <a:gd name="connsiteY1" fmla="*/ 13134 h 27360"/>
                  <a:gd name="connsiteX2" fmla="*/ 735 w 25608"/>
                  <a:gd name="connsiteY2" fmla="*/ 0 h 27360"/>
                  <a:gd name="connsiteX3" fmla="*/ 6539 w 25608"/>
                  <a:gd name="connsiteY3" fmla="*/ 0 h 27360"/>
                  <a:gd name="connsiteX4" fmla="*/ 10741 w 25608"/>
                  <a:gd name="connsiteY4" fmla="*/ 6407 h 27360"/>
                  <a:gd name="connsiteX5" fmla="*/ 12644 w 25608"/>
                  <a:gd name="connsiteY5" fmla="*/ 9478 h 27360"/>
                  <a:gd name="connsiteX6" fmla="*/ 14735 w 25608"/>
                  <a:gd name="connsiteY6" fmla="*/ 6463 h 27360"/>
                  <a:gd name="connsiteX7" fmla="*/ 19352 w 25608"/>
                  <a:gd name="connsiteY7" fmla="*/ 0 h 27360"/>
                  <a:gd name="connsiteX8" fmla="*/ 24892 w 25608"/>
                  <a:gd name="connsiteY8" fmla="*/ 0 h 27360"/>
                  <a:gd name="connsiteX9" fmla="*/ 15433 w 25608"/>
                  <a:gd name="connsiteY9" fmla="*/ 12889 h 27360"/>
                  <a:gd name="connsiteX10" fmla="*/ 25608 w 25608"/>
                  <a:gd name="connsiteY10" fmla="*/ 27361 h 27360"/>
                  <a:gd name="connsiteX11" fmla="*/ 19917 w 25608"/>
                  <a:gd name="connsiteY11" fmla="*/ 27361 h 27360"/>
                  <a:gd name="connsiteX12" fmla="*/ 14302 w 25608"/>
                  <a:gd name="connsiteY12" fmla="*/ 18862 h 27360"/>
                  <a:gd name="connsiteX13" fmla="*/ 12813 w 25608"/>
                  <a:gd name="connsiteY13" fmla="*/ 16563 h 27360"/>
                  <a:gd name="connsiteX14" fmla="*/ 5634 w 25608"/>
                  <a:gd name="connsiteY14" fmla="*/ 27361 h 27360"/>
                  <a:gd name="connsiteX15" fmla="*/ 19 w 25608"/>
                  <a:gd name="connsiteY15" fmla="*/ 27361 h 27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608" h="27360">
                    <a:moveTo>
                      <a:pt x="0" y="27361"/>
                    </a:moveTo>
                    <a:lnTo>
                      <a:pt x="9987" y="13134"/>
                    </a:lnTo>
                    <a:lnTo>
                      <a:pt x="735" y="0"/>
                    </a:lnTo>
                    <a:lnTo>
                      <a:pt x="6539" y="0"/>
                    </a:lnTo>
                    <a:lnTo>
                      <a:pt x="10741" y="6407"/>
                    </a:lnTo>
                    <a:cubicBezTo>
                      <a:pt x="11532" y="7632"/>
                      <a:pt x="12173" y="8649"/>
                      <a:pt x="12644" y="9478"/>
                    </a:cubicBezTo>
                    <a:cubicBezTo>
                      <a:pt x="13398" y="8348"/>
                      <a:pt x="14095" y="7349"/>
                      <a:pt x="14735" y="6463"/>
                    </a:cubicBezTo>
                    <a:lnTo>
                      <a:pt x="19352" y="0"/>
                    </a:lnTo>
                    <a:lnTo>
                      <a:pt x="24892" y="0"/>
                    </a:lnTo>
                    <a:lnTo>
                      <a:pt x="15433" y="12889"/>
                    </a:lnTo>
                    <a:lnTo>
                      <a:pt x="25608" y="27361"/>
                    </a:lnTo>
                    <a:lnTo>
                      <a:pt x="19917" y="27361"/>
                    </a:lnTo>
                    <a:lnTo>
                      <a:pt x="14302" y="18862"/>
                    </a:lnTo>
                    <a:lnTo>
                      <a:pt x="12813" y="16563"/>
                    </a:lnTo>
                    <a:lnTo>
                      <a:pt x="5634" y="27361"/>
                    </a:lnTo>
                    <a:lnTo>
                      <a:pt x="19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54" name="Grafik 21">
              <a:extLst>
                <a:ext uri="{FF2B5EF4-FFF2-40B4-BE49-F238E27FC236}">
                  <a16:creationId xmlns:a16="http://schemas.microsoft.com/office/drawing/2014/main" id="{E649E5A0-1205-5B30-DC31-B266E1356028}"/>
                </a:ext>
              </a:extLst>
            </p:cNvPr>
            <p:cNvGrpSpPr/>
            <p:nvPr/>
          </p:nvGrpSpPr>
          <p:grpSpPr>
            <a:xfrm>
              <a:off x="4078993" y="2910327"/>
              <a:ext cx="199438" cy="48898"/>
              <a:chOff x="4078993" y="2910327"/>
              <a:chExt cx="199438" cy="48898"/>
            </a:xfrm>
            <a:solidFill>
              <a:srgbClr val="000000"/>
            </a:solidFill>
          </p:grpSpPr>
          <p:sp>
            <p:nvSpPr>
              <p:cNvPr id="3539" name="Freihandform: Form 3538">
                <a:extLst>
                  <a:ext uri="{FF2B5EF4-FFF2-40B4-BE49-F238E27FC236}">
                    <a16:creationId xmlns:a16="http://schemas.microsoft.com/office/drawing/2014/main" id="{DC7CE160-CC19-0037-BD91-138AF4972219}"/>
                  </a:ext>
                </a:extLst>
              </p:cNvPr>
              <p:cNvSpPr/>
              <p:nvPr/>
            </p:nvSpPr>
            <p:spPr>
              <a:xfrm>
                <a:off x="4078993" y="2910327"/>
                <a:ext cx="36047" cy="37762"/>
              </a:xfrm>
              <a:custGeom>
                <a:avLst/>
                <a:gdLst>
                  <a:gd name="connsiteX0" fmla="*/ 0 w 36047"/>
                  <a:gd name="connsiteY0" fmla="*/ 37762 h 37762"/>
                  <a:gd name="connsiteX1" fmla="*/ 0 w 36047"/>
                  <a:gd name="connsiteY1" fmla="*/ 0 h 37762"/>
                  <a:gd name="connsiteX2" fmla="*/ 7519 w 36047"/>
                  <a:gd name="connsiteY2" fmla="*/ 0 h 37762"/>
                  <a:gd name="connsiteX3" fmla="*/ 16450 w 36047"/>
                  <a:gd name="connsiteY3" fmla="*/ 26739 h 37762"/>
                  <a:gd name="connsiteX4" fmla="*/ 18259 w 36047"/>
                  <a:gd name="connsiteY4" fmla="*/ 32335 h 37762"/>
                  <a:gd name="connsiteX5" fmla="*/ 20275 w 36047"/>
                  <a:gd name="connsiteY5" fmla="*/ 26287 h 37762"/>
                  <a:gd name="connsiteX6" fmla="*/ 29320 w 36047"/>
                  <a:gd name="connsiteY6" fmla="*/ 0 h 37762"/>
                  <a:gd name="connsiteX7" fmla="*/ 36047 w 36047"/>
                  <a:gd name="connsiteY7" fmla="*/ 0 h 37762"/>
                  <a:gd name="connsiteX8" fmla="*/ 36047 w 36047"/>
                  <a:gd name="connsiteY8" fmla="*/ 37762 h 37762"/>
                  <a:gd name="connsiteX9" fmla="*/ 31223 w 36047"/>
                  <a:gd name="connsiteY9" fmla="*/ 37762 h 37762"/>
                  <a:gd name="connsiteX10" fmla="*/ 31223 w 36047"/>
                  <a:gd name="connsiteY10" fmla="*/ 6143 h 37762"/>
                  <a:gd name="connsiteX11" fmla="*/ 20257 w 36047"/>
                  <a:gd name="connsiteY11" fmla="*/ 37762 h 37762"/>
                  <a:gd name="connsiteX12" fmla="*/ 15753 w 36047"/>
                  <a:gd name="connsiteY12" fmla="*/ 37762 h 37762"/>
                  <a:gd name="connsiteX13" fmla="*/ 4824 w 36047"/>
                  <a:gd name="connsiteY13" fmla="*/ 5615 h 37762"/>
                  <a:gd name="connsiteX14" fmla="*/ 4824 w 36047"/>
                  <a:gd name="connsiteY14" fmla="*/ 37762 h 37762"/>
                  <a:gd name="connsiteX15" fmla="*/ 0 w 36047"/>
                  <a:gd name="connsiteY15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6047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7519" y="0"/>
                    </a:lnTo>
                    <a:lnTo>
                      <a:pt x="16450" y="26739"/>
                    </a:lnTo>
                    <a:cubicBezTo>
                      <a:pt x="17279" y="29226"/>
                      <a:pt x="17882" y="31092"/>
                      <a:pt x="18259" y="32335"/>
                    </a:cubicBezTo>
                    <a:cubicBezTo>
                      <a:pt x="18693" y="30960"/>
                      <a:pt x="19352" y="28943"/>
                      <a:pt x="20275" y="26287"/>
                    </a:cubicBezTo>
                    <a:lnTo>
                      <a:pt x="29320" y="0"/>
                    </a:lnTo>
                    <a:lnTo>
                      <a:pt x="36047" y="0"/>
                    </a:lnTo>
                    <a:lnTo>
                      <a:pt x="36047" y="37762"/>
                    </a:lnTo>
                    <a:lnTo>
                      <a:pt x="31223" y="37762"/>
                    </a:lnTo>
                    <a:lnTo>
                      <a:pt x="31223" y="6143"/>
                    </a:lnTo>
                    <a:lnTo>
                      <a:pt x="20257" y="37762"/>
                    </a:lnTo>
                    <a:lnTo>
                      <a:pt x="15753" y="37762"/>
                    </a:lnTo>
                    <a:lnTo>
                      <a:pt x="4824" y="5615"/>
                    </a:lnTo>
                    <a:lnTo>
                      <a:pt x="4824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40" name="Freihandform: Form 3539">
                <a:extLst>
                  <a:ext uri="{FF2B5EF4-FFF2-40B4-BE49-F238E27FC236}">
                    <a16:creationId xmlns:a16="http://schemas.microsoft.com/office/drawing/2014/main" id="{AC78B0DB-E142-CA3F-2DCC-8311CCE793EB}"/>
                  </a:ext>
                </a:extLst>
              </p:cNvPr>
              <p:cNvSpPr/>
              <p:nvPr/>
            </p:nvSpPr>
            <p:spPr>
              <a:xfrm>
                <a:off x="4120750" y="2920125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6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1"/>
                      <a:pt x="20897" y="14151"/>
                    </a:cubicBezTo>
                    <a:cubicBezTo>
                      <a:pt x="20897" y="10759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41" name="Freihandform: Form 3540">
                <a:extLst>
                  <a:ext uri="{FF2B5EF4-FFF2-40B4-BE49-F238E27FC236}">
                    <a16:creationId xmlns:a16="http://schemas.microsoft.com/office/drawing/2014/main" id="{0872DD4A-3E56-F459-E5B6-828F709FE13B}"/>
                  </a:ext>
                </a:extLst>
              </p:cNvPr>
              <p:cNvSpPr/>
              <p:nvPr/>
            </p:nvSpPr>
            <p:spPr>
              <a:xfrm>
                <a:off x="4151841" y="2920107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1" y="7179"/>
                      <a:pt x="4636" y="9553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42" name="Freihandform: Form 3541">
                <a:extLst>
                  <a:ext uri="{FF2B5EF4-FFF2-40B4-BE49-F238E27FC236}">
                    <a16:creationId xmlns:a16="http://schemas.microsoft.com/office/drawing/2014/main" id="{B05BF8E8-779A-B75E-9A94-0FA4D41A04F3}"/>
                  </a:ext>
                </a:extLst>
              </p:cNvPr>
              <p:cNvSpPr/>
              <p:nvPr/>
            </p:nvSpPr>
            <p:spPr>
              <a:xfrm>
                <a:off x="4178656" y="2911175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1 h 37272"/>
                  <a:gd name="connsiteX7" fmla="*/ 0 w 13341"/>
                  <a:gd name="connsiteY7" fmla="*/ 13171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3 h 37272"/>
                  <a:gd name="connsiteX13" fmla="*/ 12663 w 13341"/>
                  <a:gd name="connsiteY13" fmla="*/ 9553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4 h 37272"/>
                  <a:gd name="connsiteX18" fmla="*/ 9045 w 13341"/>
                  <a:gd name="connsiteY18" fmla="*/ 32599 h 37272"/>
                  <a:gd name="connsiteX19" fmla="*/ 10627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2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3" y="35953"/>
                      <a:pt x="4334" y="35256"/>
                      <a:pt x="3957" y="34389"/>
                    </a:cubicBezTo>
                    <a:cubicBezTo>
                      <a:pt x="3580" y="33522"/>
                      <a:pt x="3392" y="31694"/>
                      <a:pt x="3392" y="28906"/>
                    </a:cubicBezTo>
                    <a:lnTo>
                      <a:pt x="3392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3"/>
                    </a:lnTo>
                    <a:lnTo>
                      <a:pt x="12663" y="9553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4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7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43" name="Freihandform: Form 3542">
                <a:extLst>
                  <a:ext uri="{FF2B5EF4-FFF2-40B4-BE49-F238E27FC236}">
                    <a16:creationId xmlns:a16="http://schemas.microsoft.com/office/drawing/2014/main" id="{455FBFB8-608C-1652-F727-0CFACB443B94}"/>
                  </a:ext>
                </a:extLst>
              </p:cNvPr>
              <p:cNvSpPr/>
              <p:nvPr/>
            </p:nvSpPr>
            <p:spPr>
              <a:xfrm>
                <a:off x="4194277" y="2920107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5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9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5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9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1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44" name="Freihandform: Form 3543">
                <a:extLst>
                  <a:ext uri="{FF2B5EF4-FFF2-40B4-BE49-F238E27FC236}">
                    <a16:creationId xmlns:a16="http://schemas.microsoft.com/office/drawing/2014/main" id="{A5E63A62-8362-5C9A-5536-5F7573E8AC44}"/>
                  </a:ext>
                </a:extLst>
              </p:cNvPr>
              <p:cNvSpPr/>
              <p:nvPr/>
            </p:nvSpPr>
            <p:spPr>
              <a:xfrm>
                <a:off x="4223409" y="2920125"/>
                <a:ext cx="24119" cy="39099"/>
              </a:xfrm>
              <a:custGeom>
                <a:avLst/>
                <a:gdLst>
                  <a:gd name="connsiteX0" fmla="*/ 923 w 24119"/>
                  <a:gd name="connsiteY0" fmla="*/ 30225 h 39099"/>
                  <a:gd name="connsiteX1" fmla="*/ 5427 w 24119"/>
                  <a:gd name="connsiteY1" fmla="*/ 30903 h 39099"/>
                  <a:gd name="connsiteX2" fmla="*/ 6991 w 24119"/>
                  <a:gd name="connsiteY2" fmla="*/ 33937 h 39099"/>
                  <a:gd name="connsiteX3" fmla="*/ 11702 w 24119"/>
                  <a:gd name="connsiteY3" fmla="*/ 35218 h 39099"/>
                  <a:gd name="connsiteX4" fmla="*/ 16676 w 24119"/>
                  <a:gd name="connsiteY4" fmla="*/ 33937 h 39099"/>
                  <a:gd name="connsiteX5" fmla="*/ 19051 w 24119"/>
                  <a:gd name="connsiteY5" fmla="*/ 30338 h 39099"/>
                  <a:gd name="connsiteX6" fmla="*/ 19390 w 24119"/>
                  <a:gd name="connsiteY6" fmla="*/ 24383 h 39099"/>
                  <a:gd name="connsiteX7" fmla="*/ 11815 w 24119"/>
                  <a:gd name="connsiteY7" fmla="*/ 27963 h 39099"/>
                  <a:gd name="connsiteX8" fmla="*/ 3090 w 24119"/>
                  <a:gd name="connsiteY8" fmla="*/ 23893 h 39099"/>
                  <a:gd name="connsiteX9" fmla="*/ 0 w 24119"/>
                  <a:gd name="connsiteY9" fmla="*/ 14133 h 39099"/>
                  <a:gd name="connsiteX10" fmla="*/ 1413 w 24119"/>
                  <a:gd name="connsiteY10" fmla="*/ 6915 h 39099"/>
                  <a:gd name="connsiteX11" fmla="*/ 5521 w 24119"/>
                  <a:gd name="connsiteY11" fmla="*/ 1809 h 39099"/>
                  <a:gd name="connsiteX12" fmla="*/ 11852 w 24119"/>
                  <a:gd name="connsiteY12" fmla="*/ 0 h 39099"/>
                  <a:gd name="connsiteX13" fmla="*/ 19842 w 24119"/>
                  <a:gd name="connsiteY13" fmla="*/ 3919 h 39099"/>
                  <a:gd name="connsiteX14" fmla="*/ 19842 w 24119"/>
                  <a:gd name="connsiteY14" fmla="*/ 622 h 39099"/>
                  <a:gd name="connsiteX15" fmla="*/ 24119 w 24119"/>
                  <a:gd name="connsiteY15" fmla="*/ 622 h 39099"/>
                  <a:gd name="connsiteX16" fmla="*/ 24119 w 24119"/>
                  <a:gd name="connsiteY16" fmla="*/ 24270 h 39099"/>
                  <a:gd name="connsiteX17" fmla="*/ 22819 w 24119"/>
                  <a:gd name="connsiteY17" fmla="*/ 33334 h 39099"/>
                  <a:gd name="connsiteX18" fmla="*/ 18692 w 24119"/>
                  <a:gd name="connsiteY18" fmla="*/ 37555 h 39099"/>
                  <a:gd name="connsiteX19" fmla="*/ 11758 w 24119"/>
                  <a:gd name="connsiteY19" fmla="*/ 39100 h 39099"/>
                  <a:gd name="connsiteX20" fmla="*/ 3844 w 24119"/>
                  <a:gd name="connsiteY20" fmla="*/ 36895 h 39099"/>
                  <a:gd name="connsiteX21" fmla="*/ 942 w 24119"/>
                  <a:gd name="connsiteY21" fmla="*/ 30262 h 39099"/>
                  <a:gd name="connsiteX22" fmla="*/ 4767 w 24119"/>
                  <a:gd name="connsiteY22" fmla="*/ 13793 h 39099"/>
                  <a:gd name="connsiteX23" fmla="*/ 6897 w 24119"/>
                  <a:gd name="connsiteY23" fmla="*/ 21651 h 39099"/>
                  <a:gd name="connsiteX24" fmla="*/ 12248 w 24119"/>
                  <a:gd name="connsiteY24" fmla="*/ 24119 h 39099"/>
                  <a:gd name="connsiteX25" fmla="*/ 17600 w 24119"/>
                  <a:gd name="connsiteY25" fmla="*/ 21651 h 39099"/>
                  <a:gd name="connsiteX26" fmla="*/ 19767 w 24119"/>
                  <a:gd name="connsiteY26" fmla="*/ 13944 h 39099"/>
                  <a:gd name="connsiteX27" fmla="*/ 17543 w 24119"/>
                  <a:gd name="connsiteY27" fmla="*/ 6369 h 39099"/>
                  <a:gd name="connsiteX28" fmla="*/ 12173 w 24119"/>
                  <a:gd name="connsiteY28" fmla="*/ 3825 h 39099"/>
                  <a:gd name="connsiteX29" fmla="*/ 6915 w 24119"/>
                  <a:gd name="connsiteY29" fmla="*/ 6331 h 39099"/>
                  <a:gd name="connsiteX30" fmla="*/ 4748 w 24119"/>
                  <a:gd name="connsiteY30" fmla="*/ 13793 h 39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19" h="39099">
                    <a:moveTo>
                      <a:pt x="923" y="30225"/>
                    </a:moveTo>
                    <a:lnTo>
                      <a:pt x="5427" y="30903"/>
                    </a:lnTo>
                    <a:cubicBezTo>
                      <a:pt x="5615" y="32298"/>
                      <a:pt x="6143" y="33315"/>
                      <a:pt x="6991" y="33937"/>
                    </a:cubicBezTo>
                    <a:cubicBezTo>
                      <a:pt x="8140" y="34804"/>
                      <a:pt x="9704" y="35218"/>
                      <a:pt x="11702" y="35218"/>
                    </a:cubicBezTo>
                    <a:cubicBezTo>
                      <a:pt x="13850" y="35218"/>
                      <a:pt x="15508" y="34785"/>
                      <a:pt x="16676" y="33937"/>
                    </a:cubicBezTo>
                    <a:cubicBezTo>
                      <a:pt x="17845" y="33070"/>
                      <a:pt x="18636" y="31883"/>
                      <a:pt x="19051" y="30338"/>
                    </a:cubicBezTo>
                    <a:cubicBezTo>
                      <a:pt x="19296" y="29396"/>
                      <a:pt x="19409" y="27417"/>
                      <a:pt x="19390" y="24383"/>
                    </a:cubicBezTo>
                    <a:cubicBezTo>
                      <a:pt x="17355" y="26776"/>
                      <a:pt x="14830" y="27963"/>
                      <a:pt x="11815" y="27963"/>
                    </a:cubicBezTo>
                    <a:cubicBezTo>
                      <a:pt x="8046" y="27963"/>
                      <a:pt x="5144" y="26607"/>
                      <a:pt x="3090" y="23893"/>
                    </a:cubicBezTo>
                    <a:cubicBezTo>
                      <a:pt x="1036" y="21180"/>
                      <a:pt x="0" y="17920"/>
                      <a:pt x="0" y="14133"/>
                    </a:cubicBezTo>
                    <a:cubicBezTo>
                      <a:pt x="0" y="11513"/>
                      <a:pt x="471" y="9120"/>
                      <a:pt x="1413" y="6915"/>
                    </a:cubicBezTo>
                    <a:cubicBezTo>
                      <a:pt x="2355" y="4711"/>
                      <a:pt x="3731" y="2996"/>
                      <a:pt x="5521" y="1809"/>
                    </a:cubicBezTo>
                    <a:cubicBezTo>
                      <a:pt x="7311" y="603"/>
                      <a:pt x="9422" y="0"/>
                      <a:pt x="11852" y="0"/>
                    </a:cubicBezTo>
                    <a:cubicBezTo>
                      <a:pt x="15075" y="0"/>
                      <a:pt x="17750" y="1300"/>
                      <a:pt x="19842" y="3919"/>
                    </a:cubicBezTo>
                    <a:lnTo>
                      <a:pt x="19842" y="622"/>
                    </a:lnTo>
                    <a:lnTo>
                      <a:pt x="24119" y="622"/>
                    </a:lnTo>
                    <a:lnTo>
                      <a:pt x="24119" y="24270"/>
                    </a:lnTo>
                    <a:cubicBezTo>
                      <a:pt x="24119" y="28529"/>
                      <a:pt x="23686" y="31544"/>
                      <a:pt x="22819" y="33334"/>
                    </a:cubicBezTo>
                    <a:cubicBezTo>
                      <a:pt x="21952" y="35105"/>
                      <a:pt x="20577" y="36518"/>
                      <a:pt x="18692" y="37555"/>
                    </a:cubicBezTo>
                    <a:cubicBezTo>
                      <a:pt x="16808" y="38591"/>
                      <a:pt x="14490" y="39100"/>
                      <a:pt x="11758" y="39100"/>
                    </a:cubicBezTo>
                    <a:cubicBezTo>
                      <a:pt x="8498" y="39100"/>
                      <a:pt x="5860" y="38365"/>
                      <a:pt x="3844" y="36895"/>
                    </a:cubicBezTo>
                    <a:cubicBezTo>
                      <a:pt x="1828" y="35425"/>
                      <a:pt x="867" y="33221"/>
                      <a:pt x="942" y="30262"/>
                    </a:cubicBezTo>
                    <a:close/>
                    <a:moveTo>
                      <a:pt x="4767" y="13793"/>
                    </a:moveTo>
                    <a:cubicBezTo>
                      <a:pt x="4767" y="17392"/>
                      <a:pt x="5483" y="19993"/>
                      <a:pt x="6897" y="21651"/>
                    </a:cubicBezTo>
                    <a:cubicBezTo>
                      <a:pt x="8329" y="23309"/>
                      <a:pt x="10100" y="24119"/>
                      <a:pt x="12248" y="24119"/>
                    </a:cubicBezTo>
                    <a:cubicBezTo>
                      <a:pt x="14396" y="24119"/>
                      <a:pt x="16168" y="23290"/>
                      <a:pt x="17600" y="21651"/>
                    </a:cubicBezTo>
                    <a:cubicBezTo>
                      <a:pt x="19032" y="20012"/>
                      <a:pt x="19767" y="17430"/>
                      <a:pt x="19767" y="13944"/>
                    </a:cubicBezTo>
                    <a:cubicBezTo>
                      <a:pt x="19767" y="10458"/>
                      <a:pt x="19032" y="8065"/>
                      <a:pt x="17543" y="6369"/>
                    </a:cubicBezTo>
                    <a:cubicBezTo>
                      <a:pt x="16054" y="4673"/>
                      <a:pt x="14264" y="3825"/>
                      <a:pt x="12173" y="3825"/>
                    </a:cubicBezTo>
                    <a:cubicBezTo>
                      <a:pt x="10081" y="3825"/>
                      <a:pt x="8366" y="4654"/>
                      <a:pt x="6915" y="6331"/>
                    </a:cubicBezTo>
                    <a:cubicBezTo>
                      <a:pt x="5464" y="8008"/>
                      <a:pt x="4748" y="10496"/>
                      <a:pt x="4748" y="1379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45" name="Freihandform: Form 3544">
                <a:extLst>
                  <a:ext uri="{FF2B5EF4-FFF2-40B4-BE49-F238E27FC236}">
                    <a16:creationId xmlns:a16="http://schemas.microsoft.com/office/drawing/2014/main" id="{8A750BD8-C9A1-F933-A3F5-B375D992D90D}"/>
                  </a:ext>
                </a:extLst>
              </p:cNvPr>
              <p:cNvSpPr/>
              <p:nvPr/>
            </p:nvSpPr>
            <p:spPr>
              <a:xfrm>
                <a:off x="4252785" y="2920125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6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1"/>
                      <a:pt x="20897" y="14151"/>
                    </a:cubicBezTo>
                    <a:cubicBezTo>
                      <a:pt x="20897" y="10759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55" name="Grafik 21">
              <a:extLst>
                <a:ext uri="{FF2B5EF4-FFF2-40B4-BE49-F238E27FC236}">
                  <a16:creationId xmlns:a16="http://schemas.microsoft.com/office/drawing/2014/main" id="{0F31ABC2-408A-C0FC-7FBF-9BB6BEAF1346}"/>
                </a:ext>
              </a:extLst>
            </p:cNvPr>
            <p:cNvGrpSpPr/>
            <p:nvPr/>
          </p:nvGrpSpPr>
          <p:grpSpPr>
            <a:xfrm>
              <a:off x="4295937" y="2910327"/>
              <a:ext cx="86566" cy="48860"/>
              <a:chOff x="4295937" y="2910327"/>
              <a:chExt cx="86566" cy="48860"/>
            </a:xfrm>
            <a:solidFill>
              <a:srgbClr val="000000"/>
            </a:solidFill>
          </p:grpSpPr>
          <p:sp>
            <p:nvSpPr>
              <p:cNvPr id="3536" name="Freihandform: Form 3535">
                <a:extLst>
                  <a:ext uri="{FF2B5EF4-FFF2-40B4-BE49-F238E27FC236}">
                    <a16:creationId xmlns:a16="http://schemas.microsoft.com/office/drawing/2014/main" id="{6F5A5442-171C-F187-82D2-F51CE649A926}"/>
                  </a:ext>
                </a:extLst>
              </p:cNvPr>
              <p:cNvSpPr/>
              <p:nvPr/>
            </p:nvSpPr>
            <p:spPr>
              <a:xfrm>
                <a:off x="4295937" y="2910327"/>
                <a:ext cx="28510" cy="37781"/>
              </a:xfrm>
              <a:custGeom>
                <a:avLst/>
                <a:gdLst>
                  <a:gd name="connsiteX0" fmla="*/ 0 w 28510"/>
                  <a:gd name="connsiteY0" fmla="*/ 37762 h 37781"/>
                  <a:gd name="connsiteX1" fmla="*/ 0 w 28510"/>
                  <a:gd name="connsiteY1" fmla="*/ 0 h 37781"/>
                  <a:gd name="connsiteX2" fmla="*/ 14170 w 28510"/>
                  <a:gd name="connsiteY2" fmla="*/ 0 h 37781"/>
                  <a:gd name="connsiteX3" fmla="*/ 21104 w 28510"/>
                  <a:gd name="connsiteY3" fmla="*/ 1149 h 37781"/>
                  <a:gd name="connsiteX4" fmla="*/ 25194 w 28510"/>
                  <a:gd name="connsiteY4" fmla="*/ 4673 h 37781"/>
                  <a:gd name="connsiteX5" fmla="*/ 26682 w 28510"/>
                  <a:gd name="connsiteY5" fmla="*/ 9667 h 37781"/>
                  <a:gd name="connsiteX6" fmla="*/ 25363 w 28510"/>
                  <a:gd name="connsiteY6" fmla="*/ 14227 h 37781"/>
                  <a:gd name="connsiteX7" fmla="*/ 21387 w 28510"/>
                  <a:gd name="connsiteY7" fmla="*/ 17675 h 37781"/>
                  <a:gd name="connsiteX8" fmla="*/ 26663 w 28510"/>
                  <a:gd name="connsiteY8" fmla="*/ 21105 h 37781"/>
                  <a:gd name="connsiteX9" fmla="*/ 28510 w 28510"/>
                  <a:gd name="connsiteY9" fmla="*/ 26833 h 37781"/>
                  <a:gd name="connsiteX10" fmla="*/ 27398 w 28510"/>
                  <a:gd name="connsiteY10" fmla="*/ 31770 h 37781"/>
                  <a:gd name="connsiteX11" fmla="*/ 24628 w 28510"/>
                  <a:gd name="connsiteY11" fmla="*/ 35294 h 37781"/>
                  <a:gd name="connsiteX12" fmla="*/ 20502 w 28510"/>
                  <a:gd name="connsiteY12" fmla="*/ 37159 h 37781"/>
                  <a:gd name="connsiteX13" fmla="*/ 14415 w 28510"/>
                  <a:gd name="connsiteY13" fmla="*/ 37781 h 37781"/>
                  <a:gd name="connsiteX14" fmla="*/ 19 w 28510"/>
                  <a:gd name="connsiteY14" fmla="*/ 37781 h 37781"/>
                  <a:gd name="connsiteX15" fmla="*/ 4993 w 28510"/>
                  <a:gd name="connsiteY15" fmla="*/ 15866 h 37781"/>
                  <a:gd name="connsiteX16" fmla="*/ 13153 w 28510"/>
                  <a:gd name="connsiteY16" fmla="*/ 15866 h 37781"/>
                  <a:gd name="connsiteX17" fmla="*/ 17920 w 28510"/>
                  <a:gd name="connsiteY17" fmla="*/ 15433 h 37781"/>
                  <a:gd name="connsiteX18" fmla="*/ 20784 w 28510"/>
                  <a:gd name="connsiteY18" fmla="*/ 13549 h 37781"/>
                  <a:gd name="connsiteX19" fmla="*/ 21745 w 28510"/>
                  <a:gd name="connsiteY19" fmla="*/ 10251 h 37781"/>
                  <a:gd name="connsiteX20" fmla="*/ 20841 w 28510"/>
                  <a:gd name="connsiteY20" fmla="*/ 6934 h 37781"/>
                  <a:gd name="connsiteX21" fmla="*/ 18259 w 28510"/>
                  <a:gd name="connsiteY21" fmla="*/ 4975 h 37781"/>
                  <a:gd name="connsiteX22" fmla="*/ 12512 w 28510"/>
                  <a:gd name="connsiteY22" fmla="*/ 4447 h 37781"/>
                  <a:gd name="connsiteX23" fmla="*/ 4956 w 28510"/>
                  <a:gd name="connsiteY23" fmla="*/ 4447 h 37781"/>
                  <a:gd name="connsiteX24" fmla="*/ 4956 w 28510"/>
                  <a:gd name="connsiteY24" fmla="*/ 15866 h 37781"/>
                  <a:gd name="connsiteX25" fmla="*/ 4993 w 28510"/>
                  <a:gd name="connsiteY25" fmla="*/ 33315 h 37781"/>
                  <a:gd name="connsiteX26" fmla="*/ 14396 w 28510"/>
                  <a:gd name="connsiteY26" fmla="*/ 33315 h 37781"/>
                  <a:gd name="connsiteX27" fmla="*/ 17788 w 28510"/>
                  <a:gd name="connsiteY27" fmla="*/ 33127 h 37781"/>
                  <a:gd name="connsiteX28" fmla="*/ 20671 w 28510"/>
                  <a:gd name="connsiteY28" fmla="*/ 32090 h 37781"/>
                  <a:gd name="connsiteX29" fmla="*/ 22574 w 28510"/>
                  <a:gd name="connsiteY29" fmla="*/ 29999 h 37781"/>
                  <a:gd name="connsiteX30" fmla="*/ 23328 w 28510"/>
                  <a:gd name="connsiteY30" fmla="*/ 26814 h 37781"/>
                  <a:gd name="connsiteX31" fmla="*/ 22254 w 28510"/>
                  <a:gd name="connsiteY31" fmla="*/ 23140 h 37781"/>
                  <a:gd name="connsiteX32" fmla="*/ 19258 w 28510"/>
                  <a:gd name="connsiteY32" fmla="*/ 20954 h 37781"/>
                  <a:gd name="connsiteX33" fmla="*/ 13737 w 28510"/>
                  <a:gd name="connsiteY33" fmla="*/ 20332 h 37781"/>
                  <a:gd name="connsiteX34" fmla="*/ 5012 w 28510"/>
                  <a:gd name="connsiteY34" fmla="*/ 20332 h 37781"/>
                  <a:gd name="connsiteX35" fmla="*/ 5012 w 28510"/>
                  <a:gd name="connsiteY35" fmla="*/ 33315 h 37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8510" h="37781">
                    <a:moveTo>
                      <a:pt x="0" y="37762"/>
                    </a:moveTo>
                    <a:lnTo>
                      <a:pt x="0" y="0"/>
                    </a:lnTo>
                    <a:lnTo>
                      <a:pt x="14170" y="0"/>
                    </a:lnTo>
                    <a:cubicBezTo>
                      <a:pt x="17053" y="0"/>
                      <a:pt x="19371" y="377"/>
                      <a:pt x="21104" y="1149"/>
                    </a:cubicBezTo>
                    <a:cubicBezTo>
                      <a:pt x="22838" y="1922"/>
                      <a:pt x="24214" y="3090"/>
                      <a:pt x="25194" y="4673"/>
                    </a:cubicBezTo>
                    <a:cubicBezTo>
                      <a:pt x="26173" y="6256"/>
                      <a:pt x="26682" y="7914"/>
                      <a:pt x="26682" y="9667"/>
                    </a:cubicBezTo>
                    <a:cubicBezTo>
                      <a:pt x="26682" y="11287"/>
                      <a:pt x="26249" y="12795"/>
                      <a:pt x="25363" y="14227"/>
                    </a:cubicBezTo>
                    <a:cubicBezTo>
                      <a:pt x="24478" y="15659"/>
                      <a:pt x="23158" y="16808"/>
                      <a:pt x="21387" y="17675"/>
                    </a:cubicBezTo>
                    <a:cubicBezTo>
                      <a:pt x="23667" y="18353"/>
                      <a:pt x="25420" y="19484"/>
                      <a:pt x="26663" y="21105"/>
                    </a:cubicBezTo>
                    <a:cubicBezTo>
                      <a:pt x="27888" y="22725"/>
                      <a:pt x="28510" y="24628"/>
                      <a:pt x="28510" y="26833"/>
                    </a:cubicBezTo>
                    <a:cubicBezTo>
                      <a:pt x="28510" y="28604"/>
                      <a:pt x="28133" y="30244"/>
                      <a:pt x="27398" y="31770"/>
                    </a:cubicBezTo>
                    <a:cubicBezTo>
                      <a:pt x="26663" y="33296"/>
                      <a:pt x="25721" y="34465"/>
                      <a:pt x="24628" y="35294"/>
                    </a:cubicBezTo>
                    <a:cubicBezTo>
                      <a:pt x="23535" y="36123"/>
                      <a:pt x="22141" y="36745"/>
                      <a:pt x="20502" y="37159"/>
                    </a:cubicBezTo>
                    <a:cubicBezTo>
                      <a:pt x="18843" y="37574"/>
                      <a:pt x="16808" y="37781"/>
                      <a:pt x="14415" y="37781"/>
                    </a:cubicBezTo>
                    <a:lnTo>
                      <a:pt x="19" y="37781"/>
                    </a:lnTo>
                    <a:close/>
                    <a:moveTo>
                      <a:pt x="4993" y="15866"/>
                    </a:moveTo>
                    <a:lnTo>
                      <a:pt x="13153" y="15866"/>
                    </a:lnTo>
                    <a:cubicBezTo>
                      <a:pt x="15376" y="15866"/>
                      <a:pt x="16959" y="15716"/>
                      <a:pt x="17920" y="15433"/>
                    </a:cubicBezTo>
                    <a:cubicBezTo>
                      <a:pt x="19182" y="15056"/>
                      <a:pt x="20143" y="14434"/>
                      <a:pt x="20784" y="13549"/>
                    </a:cubicBezTo>
                    <a:cubicBezTo>
                      <a:pt x="21425" y="12663"/>
                      <a:pt x="21745" y="11570"/>
                      <a:pt x="21745" y="10251"/>
                    </a:cubicBezTo>
                    <a:cubicBezTo>
                      <a:pt x="21745" y="8988"/>
                      <a:pt x="21444" y="7895"/>
                      <a:pt x="20841" y="6934"/>
                    </a:cubicBezTo>
                    <a:cubicBezTo>
                      <a:pt x="20238" y="5973"/>
                      <a:pt x="19371" y="5333"/>
                      <a:pt x="18259" y="4975"/>
                    </a:cubicBezTo>
                    <a:cubicBezTo>
                      <a:pt x="17147" y="4617"/>
                      <a:pt x="15225" y="4447"/>
                      <a:pt x="12512" y="4447"/>
                    </a:cubicBezTo>
                    <a:lnTo>
                      <a:pt x="4956" y="4447"/>
                    </a:lnTo>
                    <a:lnTo>
                      <a:pt x="4956" y="15866"/>
                    </a:lnTo>
                    <a:close/>
                    <a:moveTo>
                      <a:pt x="4993" y="33315"/>
                    </a:moveTo>
                    <a:lnTo>
                      <a:pt x="14396" y="33315"/>
                    </a:lnTo>
                    <a:cubicBezTo>
                      <a:pt x="16017" y="33315"/>
                      <a:pt x="17147" y="33259"/>
                      <a:pt x="17788" y="33127"/>
                    </a:cubicBezTo>
                    <a:cubicBezTo>
                      <a:pt x="18937" y="32920"/>
                      <a:pt x="19898" y="32580"/>
                      <a:pt x="20671" y="32090"/>
                    </a:cubicBezTo>
                    <a:cubicBezTo>
                      <a:pt x="21444" y="31600"/>
                      <a:pt x="22084" y="30903"/>
                      <a:pt x="22574" y="29999"/>
                    </a:cubicBezTo>
                    <a:cubicBezTo>
                      <a:pt x="23064" y="29075"/>
                      <a:pt x="23328" y="28020"/>
                      <a:pt x="23328" y="26814"/>
                    </a:cubicBezTo>
                    <a:cubicBezTo>
                      <a:pt x="23328" y="25401"/>
                      <a:pt x="22970" y="24176"/>
                      <a:pt x="22254" y="23140"/>
                    </a:cubicBezTo>
                    <a:cubicBezTo>
                      <a:pt x="21538" y="22103"/>
                      <a:pt x="20539" y="21369"/>
                      <a:pt x="19258" y="20954"/>
                    </a:cubicBezTo>
                    <a:cubicBezTo>
                      <a:pt x="17976" y="20539"/>
                      <a:pt x="16130" y="20332"/>
                      <a:pt x="13737" y="20332"/>
                    </a:cubicBezTo>
                    <a:lnTo>
                      <a:pt x="5012" y="20332"/>
                    </a:lnTo>
                    <a:lnTo>
                      <a:pt x="5012" y="33315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37" name="Freihandform: Form 3536">
                <a:extLst>
                  <a:ext uri="{FF2B5EF4-FFF2-40B4-BE49-F238E27FC236}">
                    <a16:creationId xmlns:a16="http://schemas.microsoft.com/office/drawing/2014/main" id="{7DDF8C6B-9802-145B-2FA5-E347962C9A8A}"/>
                  </a:ext>
                </a:extLst>
              </p:cNvPr>
              <p:cNvSpPr/>
              <p:nvPr/>
            </p:nvSpPr>
            <p:spPr>
              <a:xfrm>
                <a:off x="4329177" y="2920088"/>
                <a:ext cx="25193" cy="28622"/>
              </a:xfrm>
              <a:custGeom>
                <a:avLst/>
                <a:gdLst>
                  <a:gd name="connsiteX0" fmla="*/ 19427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7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7" y="24628"/>
                    </a:moveTo>
                    <a:cubicBezTo>
                      <a:pt x="17713" y="26079"/>
                      <a:pt x="16054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7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7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38" name="Freihandform: Form 3537">
                <a:extLst>
                  <a:ext uri="{FF2B5EF4-FFF2-40B4-BE49-F238E27FC236}">
                    <a16:creationId xmlns:a16="http://schemas.microsoft.com/office/drawing/2014/main" id="{32A4F13E-7DE3-0AF1-153D-D232C155183E}"/>
                  </a:ext>
                </a:extLst>
              </p:cNvPr>
              <p:cNvSpPr/>
              <p:nvPr/>
            </p:nvSpPr>
            <p:spPr>
              <a:xfrm>
                <a:off x="4357460" y="2920728"/>
                <a:ext cx="25042" cy="38459"/>
              </a:xfrm>
              <a:custGeom>
                <a:avLst/>
                <a:gdLst>
                  <a:gd name="connsiteX0" fmla="*/ 2412 w 25042"/>
                  <a:gd name="connsiteY0" fmla="*/ 37894 h 38459"/>
                  <a:gd name="connsiteX1" fmla="*/ 1903 w 25042"/>
                  <a:gd name="connsiteY1" fmla="*/ 33541 h 38459"/>
                  <a:gd name="connsiteX2" fmla="*/ 4560 w 25042"/>
                  <a:gd name="connsiteY2" fmla="*/ 33956 h 38459"/>
                  <a:gd name="connsiteX3" fmla="*/ 7029 w 25042"/>
                  <a:gd name="connsiteY3" fmla="*/ 33447 h 38459"/>
                  <a:gd name="connsiteX4" fmla="*/ 8555 w 25042"/>
                  <a:gd name="connsiteY4" fmla="*/ 31996 h 38459"/>
                  <a:gd name="connsiteX5" fmla="*/ 9968 w 25042"/>
                  <a:gd name="connsiteY5" fmla="*/ 28548 h 38459"/>
                  <a:gd name="connsiteX6" fmla="*/ 10383 w 25042"/>
                  <a:gd name="connsiteY6" fmla="*/ 27417 h 38459"/>
                  <a:gd name="connsiteX7" fmla="*/ 0 w 25042"/>
                  <a:gd name="connsiteY7" fmla="*/ 0 h 38459"/>
                  <a:gd name="connsiteX8" fmla="*/ 4994 w 25042"/>
                  <a:gd name="connsiteY8" fmla="*/ 0 h 38459"/>
                  <a:gd name="connsiteX9" fmla="*/ 10684 w 25042"/>
                  <a:gd name="connsiteY9" fmla="*/ 15847 h 38459"/>
                  <a:gd name="connsiteX10" fmla="*/ 12663 w 25042"/>
                  <a:gd name="connsiteY10" fmla="*/ 22179 h 38459"/>
                  <a:gd name="connsiteX11" fmla="*/ 14566 w 25042"/>
                  <a:gd name="connsiteY11" fmla="*/ 15941 h 38459"/>
                  <a:gd name="connsiteX12" fmla="*/ 20408 w 25042"/>
                  <a:gd name="connsiteY12" fmla="*/ 0 h 38459"/>
                  <a:gd name="connsiteX13" fmla="*/ 25043 w 25042"/>
                  <a:gd name="connsiteY13" fmla="*/ 0 h 38459"/>
                  <a:gd name="connsiteX14" fmla="*/ 14641 w 25042"/>
                  <a:gd name="connsiteY14" fmla="*/ 27832 h 38459"/>
                  <a:gd name="connsiteX15" fmla="*/ 12041 w 25042"/>
                  <a:gd name="connsiteY15" fmla="*/ 34031 h 38459"/>
                  <a:gd name="connsiteX16" fmla="*/ 9214 w 25042"/>
                  <a:gd name="connsiteY16" fmla="*/ 37385 h 38459"/>
                  <a:gd name="connsiteX17" fmla="*/ 5408 w 25042"/>
                  <a:gd name="connsiteY17" fmla="*/ 38459 h 38459"/>
                  <a:gd name="connsiteX18" fmla="*/ 2412 w 25042"/>
                  <a:gd name="connsiteY18" fmla="*/ 37894 h 38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042" h="38459">
                    <a:moveTo>
                      <a:pt x="2412" y="37894"/>
                    </a:moveTo>
                    <a:lnTo>
                      <a:pt x="1903" y="33541"/>
                    </a:lnTo>
                    <a:cubicBezTo>
                      <a:pt x="2921" y="33824"/>
                      <a:pt x="3806" y="33956"/>
                      <a:pt x="4560" y="33956"/>
                    </a:cubicBezTo>
                    <a:cubicBezTo>
                      <a:pt x="5597" y="33956"/>
                      <a:pt x="6407" y="33786"/>
                      <a:pt x="7029" y="33447"/>
                    </a:cubicBezTo>
                    <a:cubicBezTo>
                      <a:pt x="7651" y="33108"/>
                      <a:pt x="8159" y="32618"/>
                      <a:pt x="8555" y="31996"/>
                    </a:cubicBezTo>
                    <a:cubicBezTo>
                      <a:pt x="8838" y="31525"/>
                      <a:pt x="9328" y="30376"/>
                      <a:pt x="9968" y="28548"/>
                    </a:cubicBezTo>
                    <a:cubicBezTo>
                      <a:pt x="10044" y="28284"/>
                      <a:pt x="10194" y="27907"/>
                      <a:pt x="10383" y="27417"/>
                    </a:cubicBezTo>
                    <a:lnTo>
                      <a:pt x="0" y="0"/>
                    </a:lnTo>
                    <a:lnTo>
                      <a:pt x="4994" y="0"/>
                    </a:lnTo>
                    <a:lnTo>
                      <a:pt x="10684" y="15847"/>
                    </a:lnTo>
                    <a:cubicBezTo>
                      <a:pt x="11419" y="17863"/>
                      <a:pt x="12079" y="19974"/>
                      <a:pt x="12663" y="22179"/>
                    </a:cubicBezTo>
                    <a:cubicBezTo>
                      <a:pt x="13190" y="20049"/>
                      <a:pt x="13831" y="17977"/>
                      <a:pt x="14566" y="15941"/>
                    </a:cubicBezTo>
                    <a:lnTo>
                      <a:pt x="20408" y="0"/>
                    </a:lnTo>
                    <a:lnTo>
                      <a:pt x="25043" y="0"/>
                    </a:lnTo>
                    <a:lnTo>
                      <a:pt x="14641" y="27832"/>
                    </a:lnTo>
                    <a:cubicBezTo>
                      <a:pt x="13530" y="30828"/>
                      <a:pt x="12663" y="32900"/>
                      <a:pt x="12041" y="34031"/>
                    </a:cubicBezTo>
                    <a:cubicBezTo>
                      <a:pt x="11212" y="35557"/>
                      <a:pt x="10270" y="36688"/>
                      <a:pt x="9214" y="37385"/>
                    </a:cubicBezTo>
                    <a:cubicBezTo>
                      <a:pt x="8140" y="38101"/>
                      <a:pt x="6878" y="38459"/>
                      <a:pt x="5408" y="38459"/>
                    </a:cubicBezTo>
                    <a:cubicBezTo>
                      <a:pt x="4522" y="38459"/>
                      <a:pt x="3524" y="38271"/>
                      <a:pt x="2412" y="3789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56" name="Grafik 21">
              <a:extLst>
                <a:ext uri="{FF2B5EF4-FFF2-40B4-BE49-F238E27FC236}">
                  <a16:creationId xmlns:a16="http://schemas.microsoft.com/office/drawing/2014/main" id="{86D4DF83-57CB-EFF3-A22A-D599E153305F}"/>
                </a:ext>
              </a:extLst>
            </p:cNvPr>
            <p:cNvGrpSpPr/>
            <p:nvPr/>
          </p:nvGrpSpPr>
          <p:grpSpPr>
            <a:xfrm>
              <a:off x="3917995" y="2760823"/>
              <a:ext cx="175601" cy="39043"/>
              <a:chOff x="3917995" y="2760823"/>
              <a:chExt cx="175601" cy="39043"/>
            </a:xfrm>
            <a:solidFill>
              <a:srgbClr val="000000"/>
            </a:solidFill>
          </p:grpSpPr>
          <p:sp>
            <p:nvSpPr>
              <p:cNvPr id="3530" name="Freihandform: Form 3529">
                <a:extLst>
                  <a:ext uri="{FF2B5EF4-FFF2-40B4-BE49-F238E27FC236}">
                    <a16:creationId xmlns:a16="http://schemas.microsoft.com/office/drawing/2014/main" id="{55710711-C216-7A00-3567-243F64B2E306}"/>
                  </a:ext>
                </a:extLst>
              </p:cNvPr>
              <p:cNvSpPr/>
              <p:nvPr/>
            </p:nvSpPr>
            <p:spPr>
              <a:xfrm>
                <a:off x="3917995" y="2760823"/>
                <a:ext cx="33390" cy="39043"/>
              </a:xfrm>
              <a:custGeom>
                <a:avLst/>
                <a:gdLst>
                  <a:gd name="connsiteX0" fmla="*/ 28397 w 33390"/>
                  <a:gd name="connsiteY0" fmla="*/ 25156 h 39043"/>
                  <a:gd name="connsiteX1" fmla="*/ 33391 w 33390"/>
                  <a:gd name="connsiteY1" fmla="*/ 26418 h 39043"/>
                  <a:gd name="connsiteX2" fmla="*/ 27738 w 33390"/>
                  <a:gd name="connsiteY2" fmla="*/ 35802 h 39043"/>
                  <a:gd name="connsiteX3" fmla="*/ 17751 w 33390"/>
                  <a:gd name="connsiteY3" fmla="*/ 39043 h 39043"/>
                  <a:gd name="connsiteX4" fmla="*/ 7820 w 33390"/>
                  <a:gd name="connsiteY4" fmla="*/ 36556 h 39043"/>
                  <a:gd name="connsiteX5" fmla="*/ 1998 w 33390"/>
                  <a:gd name="connsiteY5" fmla="*/ 29358 h 39043"/>
                  <a:gd name="connsiteX6" fmla="*/ 0 w 33390"/>
                  <a:gd name="connsiteY6" fmla="*/ 19239 h 39043"/>
                  <a:gd name="connsiteX7" fmla="*/ 2261 w 33390"/>
                  <a:gd name="connsiteY7" fmla="*/ 8951 h 39043"/>
                  <a:gd name="connsiteX8" fmla="*/ 8668 w 33390"/>
                  <a:gd name="connsiteY8" fmla="*/ 2280 h 39043"/>
                  <a:gd name="connsiteX9" fmla="*/ 17826 w 33390"/>
                  <a:gd name="connsiteY9" fmla="*/ 0 h 39043"/>
                  <a:gd name="connsiteX10" fmla="*/ 27361 w 33390"/>
                  <a:gd name="connsiteY10" fmla="*/ 2883 h 39043"/>
                  <a:gd name="connsiteX11" fmla="*/ 32750 w 33390"/>
                  <a:gd name="connsiteY11" fmla="*/ 11004 h 39043"/>
                  <a:gd name="connsiteX12" fmla="*/ 27832 w 33390"/>
                  <a:gd name="connsiteY12" fmla="*/ 12173 h 39043"/>
                  <a:gd name="connsiteX13" fmla="*/ 24025 w 33390"/>
                  <a:gd name="connsiteY13" fmla="*/ 6162 h 39043"/>
                  <a:gd name="connsiteX14" fmla="*/ 17732 w 33390"/>
                  <a:gd name="connsiteY14" fmla="*/ 4277 h 39043"/>
                  <a:gd name="connsiteX15" fmla="*/ 10458 w 33390"/>
                  <a:gd name="connsiteY15" fmla="*/ 6369 h 39043"/>
                  <a:gd name="connsiteX16" fmla="*/ 6350 w 33390"/>
                  <a:gd name="connsiteY16" fmla="*/ 11965 h 39043"/>
                  <a:gd name="connsiteX17" fmla="*/ 5163 w 33390"/>
                  <a:gd name="connsiteY17" fmla="*/ 19220 h 39043"/>
                  <a:gd name="connsiteX18" fmla="*/ 6576 w 33390"/>
                  <a:gd name="connsiteY18" fmla="*/ 27624 h 39043"/>
                  <a:gd name="connsiteX19" fmla="*/ 10948 w 33390"/>
                  <a:gd name="connsiteY19" fmla="*/ 32995 h 39043"/>
                  <a:gd name="connsiteX20" fmla="*/ 17355 w 33390"/>
                  <a:gd name="connsiteY20" fmla="*/ 34766 h 39043"/>
                  <a:gd name="connsiteX21" fmla="*/ 24459 w 33390"/>
                  <a:gd name="connsiteY21" fmla="*/ 32335 h 39043"/>
                  <a:gd name="connsiteX22" fmla="*/ 28397 w 33390"/>
                  <a:gd name="connsiteY22" fmla="*/ 25156 h 3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3390" h="39043">
                    <a:moveTo>
                      <a:pt x="28397" y="25156"/>
                    </a:moveTo>
                    <a:lnTo>
                      <a:pt x="33391" y="26418"/>
                    </a:lnTo>
                    <a:cubicBezTo>
                      <a:pt x="32335" y="30526"/>
                      <a:pt x="30451" y="33654"/>
                      <a:pt x="27738" y="35802"/>
                    </a:cubicBezTo>
                    <a:cubicBezTo>
                      <a:pt x="25024" y="37951"/>
                      <a:pt x="21689" y="39043"/>
                      <a:pt x="17751" y="39043"/>
                    </a:cubicBezTo>
                    <a:cubicBezTo>
                      <a:pt x="13812" y="39043"/>
                      <a:pt x="10364" y="38214"/>
                      <a:pt x="7820" y="36556"/>
                    </a:cubicBezTo>
                    <a:cubicBezTo>
                      <a:pt x="5276" y="34898"/>
                      <a:pt x="3335" y="32505"/>
                      <a:pt x="1998" y="29358"/>
                    </a:cubicBezTo>
                    <a:cubicBezTo>
                      <a:pt x="660" y="26211"/>
                      <a:pt x="0" y="22838"/>
                      <a:pt x="0" y="19239"/>
                    </a:cubicBezTo>
                    <a:cubicBezTo>
                      <a:pt x="0" y="15301"/>
                      <a:pt x="754" y="11871"/>
                      <a:pt x="2261" y="8951"/>
                    </a:cubicBezTo>
                    <a:cubicBezTo>
                      <a:pt x="3769" y="6030"/>
                      <a:pt x="5898" y="3806"/>
                      <a:pt x="8668" y="2280"/>
                    </a:cubicBezTo>
                    <a:cubicBezTo>
                      <a:pt x="11438" y="754"/>
                      <a:pt x="14491" y="0"/>
                      <a:pt x="17826" y="0"/>
                    </a:cubicBezTo>
                    <a:cubicBezTo>
                      <a:pt x="21595" y="0"/>
                      <a:pt x="24779" y="961"/>
                      <a:pt x="27361" y="2883"/>
                    </a:cubicBezTo>
                    <a:cubicBezTo>
                      <a:pt x="29942" y="4805"/>
                      <a:pt x="31732" y="7518"/>
                      <a:pt x="32750" y="11004"/>
                    </a:cubicBezTo>
                    <a:lnTo>
                      <a:pt x="27832" y="12173"/>
                    </a:lnTo>
                    <a:cubicBezTo>
                      <a:pt x="26965" y="9422"/>
                      <a:pt x="25684" y="7424"/>
                      <a:pt x="24025" y="6162"/>
                    </a:cubicBezTo>
                    <a:cubicBezTo>
                      <a:pt x="22367" y="4899"/>
                      <a:pt x="20257" y="4277"/>
                      <a:pt x="17732" y="4277"/>
                    </a:cubicBezTo>
                    <a:cubicBezTo>
                      <a:pt x="14830" y="4277"/>
                      <a:pt x="12399" y="4975"/>
                      <a:pt x="10458" y="6369"/>
                    </a:cubicBezTo>
                    <a:cubicBezTo>
                      <a:pt x="8517" y="7763"/>
                      <a:pt x="7142" y="9629"/>
                      <a:pt x="6350" y="11965"/>
                    </a:cubicBezTo>
                    <a:cubicBezTo>
                      <a:pt x="5559" y="14302"/>
                      <a:pt x="5163" y="16733"/>
                      <a:pt x="5163" y="19220"/>
                    </a:cubicBezTo>
                    <a:cubicBezTo>
                      <a:pt x="5163" y="22424"/>
                      <a:pt x="5634" y="25231"/>
                      <a:pt x="6576" y="27624"/>
                    </a:cubicBezTo>
                    <a:cubicBezTo>
                      <a:pt x="7519" y="30018"/>
                      <a:pt x="8969" y="31808"/>
                      <a:pt x="10948" y="32995"/>
                    </a:cubicBezTo>
                    <a:cubicBezTo>
                      <a:pt x="12927" y="34182"/>
                      <a:pt x="15056" y="34766"/>
                      <a:pt x="17355" y="34766"/>
                    </a:cubicBezTo>
                    <a:cubicBezTo>
                      <a:pt x="20162" y="34766"/>
                      <a:pt x="22518" y="33956"/>
                      <a:pt x="24459" y="32335"/>
                    </a:cubicBezTo>
                    <a:cubicBezTo>
                      <a:pt x="26400" y="30715"/>
                      <a:pt x="27719" y="28322"/>
                      <a:pt x="28397" y="251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31" name="Freihandform: Form 3530">
                <a:extLst>
                  <a:ext uri="{FF2B5EF4-FFF2-40B4-BE49-F238E27FC236}">
                    <a16:creationId xmlns:a16="http://schemas.microsoft.com/office/drawing/2014/main" id="{06C91DD9-33EC-A145-8750-02E101826055}"/>
                  </a:ext>
                </a:extLst>
              </p:cNvPr>
              <p:cNvSpPr/>
              <p:nvPr/>
            </p:nvSpPr>
            <p:spPr>
              <a:xfrm>
                <a:off x="3955380" y="2771225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2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32" name="Freihandform: Form 3531">
                <a:extLst>
                  <a:ext uri="{FF2B5EF4-FFF2-40B4-BE49-F238E27FC236}">
                    <a16:creationId xmlns:a16="http://schemas.microsoft.com/office/drawing/2014/main" id="{FF3588DF-FE70-D418-D9DA-0A36EA0D67EA}"/>
                  </a:ext>
                </a:extLst>
              </p:cNvPr>
              <p:cNvSpPr/>
              <p:nvPr/>
            </p:nvSpPr>
            <p:spPr>
              <a:xfrm>
                <a:off x="3986302" y="2771244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2" y="7179"/>
                      <a:pt x="4636" y="9553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33" name="Freihandform: Form 3532">
                <a:extLst>
                  <a:ext uri="{FF2B5EF4-FFF2-40B4-BE49-F238E27FC236}">
                    <a16:creationId xmlns:a16="http://schemas.microsoft.com/office/drawing/2014/main" id="{0E2F578A-F639-F935-4156-3E480766A4F8}"/>
                  </a:ext>
                </a:extLst>
              </p:cNvPr>
              <p:cNvSpPr/>
              <p:nvPr/>
            </p:nvSpPr>
            <p:spPr>
              <a:xfrm>
                <a:off x="4014247" y="2771244"/>
                <a:ext cx="23818" cy="28604"/>
              </a:xfrm>
              <a:custGeom>
                <a:avLst/>
                <a:gdLst>
                  <a:gd name="connsiteX0" fmla="*/ 19258 w 23818"/>
                  <a:gd name="connsiteY0" fmla="*/ 17958 h 28604"/>
                  <a:gd name="connsiteX1" fmla="*/ 23818 w 23818"/>
                  <a:gd name="connsiteY1" fmla="*/ 18542 h 28604"/>
                  <a:gd name="connsiteX2" fmla="*/ 19993 w 23818"/>
                  <a:gd name="connsiteY2" fmla="*/ 25928 h 28604"/>
                  <a:gd name="connsiteX3" fmla="*/ 12437 w 23818"/>
                  <a:gd name="connsiteY3" fmla="*/ 28604 h 28604"/>
                  <a:gd name="connsiteX4" fmla="*/ 3411 w 23818"/>
                  <a:gd name="connsiteY4" fmla="*/ 24930 h 28604"/>
                  <a:gd name="connsiteX5" fmla="*/ 0 w 23818"/>
                  <a:gd name="connsiteY5" fmla="*/ 14415 h 28604"/>
                  <a:gd name="connsiteX6" fmla="*/ 1470 w 23818"/>
                  <a:gd name="connsiteY6" fmla="*/ 6652 h 28604"/>
                  <a:gd name="connsiteX7" fmla="*/ 5936 w 23818"/>
                  <a:gd name="connsiteY7" fmla="*/ 1658 h 28604"/>
                  <a:gd name="connsiteX8" fmla="*/ 12474 w 23818"/>
                  <a:gd name="connsiteY8" fmla="*/ 0 h 28604"/>
                  <a:gd name="connsiteX9" fmla="*/ 19767 w 23818"/>
                  <a:gd name="connsiteY9" fmla="*/ 2261 h 28604"/>
                  <a:gd name="connsiteX10" fmla="*/ 23403 w 23818"/>
                  <a:gd name="connsiteY10" fmla="*/ 8668 h 28604"/>
                  <a:gd name="connsiteX11" fmla="*/ 18900 w 23818"/>
                  <a:gd name="connsiteY11" fmla="*/ 9365 h 28604"/>
                  <a:gd name="connsiteX12" fmla="*/ 16620 w 23818"/>
                  <a:gd name="connsiteY12" fmla="*/ 5220 h 28604"/>
                  <a:gd name="connsiteX13" fmla="*/ 12663 w 23818"/>
                  <a:gd name="connsiteY13" fmla="*/ 3825 h 28604"/>
                  <a:gd name="connsiteX14" fmla="*/ 6972 w 23818"/>
                  <a:gd name="connsiteY14" fmla="*/ 6331 h 28604"/>
                  <a:gd name="connsiteX15" fmla="*/ 4786 w 23818"/>
                  <a:gd name="connsiteY15" fmla="*/ 14283 h 28604"/>
                  <a:gd name="connsiteX16" fmla="*/ 6897 w 23818"/>
                  <a:gd name="connsiteY16" fmla="*/ 22292 h 28604"/>
                  <a:gd name="connsiteX17" fmla="*/ 12418 w 23818"/>
                  <a:gd name="connsiteY17" fmla="*/ 24798 h 28604"/>
                  <a:gd name="connsiteX18" fmla="*/ 16978 w 23818"/>
                  <a:gd name="connsiteY18" fmla="*/ 23121 h 28604"/>
                  <a:gd name="connsiteX19" fmla="*/ 19296 w 23818"/>
                  <a:gd name="connsiteY19" fmla="*/ 17976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818" h="28604">
                    <a:moveTo>
                      <a:pt x="19258" y="17958"/>
                    </a:moveTo>
                    <a:lnTo>
                      <a:pt x="23818" y="18542"/>
                    </a:lnTo>
                    <a:cubicBezTo>
                      <a:pt x="23328" y="21689"/>
                      <a:pt x="22047" y="24138"/>
                      <a:pt x="19993" y="25928"/>
                    </a:cubicBezTo>
                    <a:cubicBezTo>
                      <a:pt x="17939" y="27700"/>
                      <a:pt x="15414" y="28604"/>
                      <a:pt x="12437" y="28604"/>
                    </a:cubicBezTo>
                    <a:cubicBezTo>
                      <a:pt x="8687" y="28604"/>
                      <a:pt x="5691" y="27379"/>
                      <a:pt x="3411" y="24930"/>
                    </a:cubicBezTo>
                    <a:cubicBezTo>
                      <a:pt x="1131" y="22480"/>
                      <a:pt x="0" y="18975"/>
                      <a:pt x="0" y="14415"/>
                    </a:cubicBezTo>
                    <a:cubicBezTo>
                      <a:pt x="0" y="11457"/>
                      <a:pt x="490" y="8875"/>
                      <a:pt x="1470" y="6652"/>
                    </a:cubicBezTo>
                    <a:cubicBezTo>
                      <a:pt x="2450" y="4428"/>
                      <a:pt x="3938" y="2770"/>
                      <a:pt x="5936" y="1658"/>
                    </a:cubicBezTo>
                    <a:cubicBezTo>
                      <a:pt x="7933" y="546"/>
                      <a:pt x="10119" y="0"/>
                      <a:pt x="12474" y="0"/>
                    </a:cubicBezTo>
                    <a:cubicBezTo>
                      <a:pt x="15452" y="0"/>
                      <a:pt x="17882" y="754"/>
                      <a:pt x="19767" y="2261"/>
                    </a:cubicBezTo>
                    <a:cubicBezTo>
                      <a:pt x="21651" y="3769"/>
                      <a:pt x="22876" y="5898"/>
                      <a:pt x="23403" y="8668"/>
                    </a:cubicBezTo>
                    <a:lnTo>
                      <a:pt x="18900" y="9365"/>
                    </a:lnTo>
                    <a:cubicBezTo>
                      <a:pt x="18466" y="7518"/>
                      <a:pt x="17713" y="6143"/>
                      <a:pt x="16620" y="5220"/>
                    </a:cubicBezTo>
                    <a:cubicBezTo>
                      <a:pt x="15527" y="4296"/>
                      <a:pt x="14208" y="3825"/>
                      <a:pt x="12663" y="3825"/>
                    </a:cubicBezTo>
                    <a:cubicBezTo>
                      <a:pt x="10326" y="3825"/>
                      <a:pt x="8423" y="4654"/>
                      <a:pt x="6972" y="6331"/>
                    </a:cubicBezTo>
                    <a:cubicBezTo>
                      <a:pt x="5521" y="8008"/>
                      <a:pt x="4786" y="10647"/>
                      <a:pt x="4786" y="14283"/>
                    </a:cubicBezTo>
                    <a:cubicBezTo>
                      <a:pt x="4786" y="17920"/>
                      <a:pt x="5483" y="20633"/>
                      <a:pt x="6897" y="22292"/>
                    </a:cubicBezTo>
                    <a:cubicBezTo>
                      <a:pt x="8310" y="23950"/>
                      <a:pt x="10138" y="24798"/>
                      <a:pt x="12418" y="24798"/>
                    </a:cubicBezTo>
                    <a:cubicBezTo>
                      <a:pt x="14246" y="24798"/>
                      <a:pt x="15753" y="24233"/>
                      <a:pt x="16978" y="23121"/>
                    </a:cubicBezTo>
                    <a:cubicBezTo>
                      <a:pt x="18203" y="22009"/>
                      <a:pt x="18975" y="20294"/>
                      <a:pt x="19296" y="1797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34" name="Freihandform: Form 3533">
                <a:extLst>
                  <a:ext uri="{FF2B5EF4-FFF2-40B4-BE49-F238E27FC236}">
                    <a16:creationId xmlns:a16="http://schemas.microsoft.com/office/drawing/2014/main" id="{5A675563-4283-1F35-F005-E9704FF7FB1C}"/>
                  </a:ext>
                </a:extLst>
              </p:cNvPr>
              <p:cNvSpPr/>
              <p:nvPr/>
            </p:nvSpPr>
            <p:spPr>
              <a:xfrm>
                <a:off x="4041928" y="2761257"/>
                <a:ext cx="22159" cy="38591"/>
              </a:xfrm>
              <a:custGeom>
                <a:avLst/>
                <a:gdLst>
                  <a:gd name="connsiteX0" fmla="*/ 18033 w 22159"/>
                  <a:gd name="connsiteY0" fmla="*/ 37969 h 38591"/>
                  <a:gd name="connsiteX1" fmla="*/ 18033 w 22159"/>
                  <a:gd name="connsiteY1" fmla="*/ 33956 h 38591"/>
                  <a:gd name="connsiteX2" fmla="*/ 9346 w 22159"/>
                  <a:gd name="connsiteY2" fmla="*/ 38591 h 38591"/>
                  <a:gd name="connsiteX3" fmla="*/ 4824 w 22159"/>
                  <a:gd name="connsiteY3" fmla="*/ 37668 h 38591"/>
                  <a:gd name="connsiteX4" fmla="*/ 1715 w 22159"/>
                  <a:gd name="connsiteY4" fmla="*/ 35331 h 38591"/>
                  <a:gd name="connsiteX5" fmla="*/ 283 w 22159"/>
                  <a:gd name="connsiteY5" fmla="*/ 31883 h 38591"/>
                  <a:gd name="connsiteX6" fmla="*/ 0 w 22159"/>
                  <a:gd name="connsiteY6" fmla="*/ 27549 h 38591"/>
                  <a:gd name="connsiteX7" fmla="*/ 0 w 22159"/>
                  <a:gd name="connsiteY7" fmla="*/ 10590 h 38591"/>
                  <a:gd name="connsiteX8" fmla="*/ 4636 w 22159"/>
                  <a:gd name="connsiteY8" fmla="*/ 10590 h 38591"/>
                  <a:gd name="connsiteX9" fmla="*/ 4636 w 22159"/>
                  <a:gd name="connsiteY9" fmla="*/ 25759 h 38591"/>
                  <a:gd name="connsiteX10" fmla="*/ 4918 w 22159"/>
                  <a:gd name="connsiteY10" fmla="*/ 30658 h 38591"/>
                  <a:gd name="connsiteX11" fmla="*/ 6765 w 22159"/>
                  <a:gd name="connsiteY11" fmla="*/ 33522 h 38591"/>
                  <a:gd name="connsiteX12" fmla="*/ 10270 w 22159"/>
                  <a:gd name="connsiteY12" fmla="*/ 34559 h 38591"/>
                  <a:gd name="connsiteX13" fmla="*/ 14189 w 22159"/>
                  <a:gd name="connsiteY13" fmla="*/ 33485 h 38591"/>
                  <a:gd name="connsiteX14" fmla="*/ 16771 w 22159"/>
                  <a:gd name="connsiteY14" fmla="*/ 30583 h 38591"/>
                  <a:gd name="connsiteX15" fmla="*/ 17524 w 22159"/>
                  <a:gd name="connsiteY15" fmla="*/ 25231 h 38591"/>
                  <a:gd name="connsiteX16" fmla="*/ 17524 w 22159"/>
                  <a:gd name="connsiteY16" fmla="*/ 10571 h 38591"/>
                  <a:gd name="connsiteX17" fmla="*/ 22160 w 22159"/>
                  <a:gd name="connsiteY17" fmla="*/ 10571 h 38591"/>
                  <a:gd name="connsiteX18" fmla="*/ 22160 w 22159"/>
                  <a:gd name="connsiteY18" fmla="*/ 37932 h 38591"/>
                  <a:gd name="connsiteX19" fmla="*/ 18014 w 22159"/>
                  <a:gd name="connsiteY19" fmla="*/ 37932 h 38591"/>
                  <a:gd name="connsiteX20" fmla="*/ 8291 w 22159"/>
                  <a:gd name="connsiteY20" fmla="*/ 7217 h 38591"/>
                  <a:gd name="connsiteX21" fmla="*/ 11721 w 22159"/>
                  <a:gd name="connsiteY21" fmla="*/ 0 h 38591"/>
                  <a:gd name="connsiteX22" fmla="*/ 17807 w 22159"/>
                  <a:gd name="connsiteY22" fmla="*/ 0 h 38591"/>
                  <a:gd name="connsiteX23" fmla="*/ 12135 w 22159"/>
                  <a:gd name="connsiteY23" fmla="*/ 7217 h 38591"/>
                  <a:gd name="connsiteX24" fmla="*/ 8291 w 22159"/>
                  <a:gd name="connsiteY24" fmla="*/ 7217 h 38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159" h="38591">
                    <a:moveTo>
                      <a:pt x="18033" y="37969"/>
                    </a:moveTo>
                    <a:lnTo>
                      <a:pt x="18033" y="33956"/>
                    </a:lnTo>
                    <a:cubicBezTo>
                      <a:pt x="15904" y="37046"/>
                      <a:pt x="13002" y="38591"/>
                      <a:pt x="9346" y="38591"/>
                    </a:cubicBezTo>
                    <a:cubicBezTo>
                      <a:pt x="7726" y="38591"/>
                      <a:pt x="6218" y="38290"/>
                      <a:pt x="4824" y="37668"/>
                    </a:cubicBezTo>
                    <a:cubicBezTo>
                      <a:pt x="3430" y="37046"/>
                      <a:pt x="2393" y="36273"/>
                      <a:pt x="1715" y="35331"/>
                    </a:cubicBezTo>
                    <a:cubicBezTo>
                      <a:pt x="1036" y="34389"/>
                      <a:pt x="565" y="33240"/>
                      <a:pt x="283" y="31883"/>
                    </a:cubicBezTo>
                    <a:cubicBezTo>
                      <a:pt x="94" y="30979"/>
                      <a:pt x="0" y="29528"/>
                      <a:pt x="0" y="27549"/>
                    </a:cubicBezTo>
                    <a:lnTo>
                      <a:pt x="0" y="10590"/>
                    </a:lnTo>
                    <a:lnTo>
                      <a:pt x="4636" y="10590"/>
                    </a:lnTo>
                    <a:lnTo>
                      <a:pt x="4636" y="25759"/>
                    </a:lnTo>
                    <a:cubicBezTo>
                      <a:pt x="4636" y="28190"/>
                      <a:pt x="4730" y="29810"/>
                      <a:pt x="4918" y="30658"/>
                    </a:cubicBezTo>
                    <a:cubicBezTo>
                      <a:pt x="5201" y="31883"/>
                      <a:pt x="5823" y="32844"/>
                      <a:pt x="6765" y="33522"/>
                    </a:cubicBezTo>
                    <a:cubicBezTo>
                      <a:pt x="7707" y="34220"/>
                      <a:pt x="8875" y="34559"/>
                      <a:pt x="10270" y="34559"/>
                    </a:cubicBezTo>
                    <a:cubicBezTo>
                      <a:pt x="11664" y="34559"/>
                      <a:pt x="12964" y="34201"/>
                      <a:pt x="14189" y="33485"/>
                    </a:cubicBezTo>
                    <a:cubicBezTo>
                      <a:pt x="15414" y="32769"/>
                      <a:pt x="16262" y="31808"/>
                      <a:pt x="16771" y="30583"/>
                    </a:cubicBezTo>
                    <a:cubicBezTo>
                      <a:pt x="17279" y="29358"/>
                      <a:pt x="17524" y="27568"/>
                      <a:pt x="17524" y="25231"/>
                    </a:cubicBezTo>
                    <a:lnTo>
                      <a:pt x="17524" y="10571"/>
                    </a:lnTo>
                    <a:lnTo>
                      <a:pt x="22160" y="10571"/>
                    </a:lnTo>
                    <a:lnTo>
                      <a:pt x="22160" y="37932"/>
                    </a:lnTo>
                    <a:lnTo>
                      <a:pt x="18014" y="37932"/>
                    </a:lnTo>
                    <a:close/>
                    <a:moveTo>
                      <a:pt x="8291" y="7217"/>
                    </a:moveTo>
                    <a:lnTo>
                      <a:pt x="11721" y="0"/>
                    </a:lnTo>
                    <a:lnTo>
                      <a:pt x="17807" y="0"/>
                    </a:lnTo>
                    <a:lnTo>
                      <a:pt x="12135" y="7217"/>
                    </a:lnTo>
                    <a:lnTo>
                      <a:pt x="8291" y="721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35" name="Freihandform: Form 3534">
                <a:extLst>
                  <a:ext uri="{FF2B5EF4-FFF2-40B4-BE49-F238E27FC236}">
                    <a16:creationId xmlns:a16="http://schemas.microsoft.com/office/drawing/2014/main" id="{CC360276-402D-88FA-EBC4-99DFE10A7022}"/>
                  </a:ext>
                </a:extLst>
              </p:cNvPr>
              <p:cNvSpPr/>
              <p:nvPr/>
            </p:nvSpPr>
            <p:spPr>
              <a:xfrm>
                <a:off x="4071361" y="2771244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2" y="7179"/>
                      <a:pt x="4636" y="9553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57" name="Grafik 21">
              <a:extLst>
                <a:ext uri="{FF2B5EF4-FFF2-40B4-BE49-F238E27FC236}">
                  <a16:creationId xmlns:a16="http://schemas.microsoft.com/office/drawing/2014/main" id="{8E53C1D6-FB8E-9037-55B7-15F145B8C506}"/>
                </a:ext>
              </a:extLst>
            </p:cNvPr>
            <p:cNvGrpSpPr/>
            <p:nvPr/>
          </p:nvGrpSpPr>
          <p:grpSpPr>
            <a:xfrm>
              <a:off x="4053498" y="2646520"/>
              <a:ext cx="204733" cy="38383"/>
              <a:chOff x="4053498" y="2646520"/>
              <a:chExt cx="204733" cy="38383"/>
            </a:xfrm>
            <a:solidFill>
              <a:srgbClr val="000000"/>
            </a:solidFill>
          </p:grpSpPr>
          <p:sp>
            <p:nvSpPr>
              <p:cNvPr id="3523" name="Freihandform: Form 3522">
                <a:extLst>
                  <a:ext uri="{FF2B5EF4-FFF2-40B4-BE49-F238E27FC236}">
                    <a16:creationId xmlns:a16="http://schemas.microsoft.com/office/drawing/2014/main" id="{EBAFB3B1-39A2-8E90-0C74-3E8B56BABC8D}"/>
                  </a:ext>
                </a:extLst>
              </p:cNvPr>
              <p:cNvSpPr/>
              <p:nvPr/>
            </p:nvSpPr>
            <p:spPr>
              <a:xfrm>
                <a:off x="4053498" y="2646520"/>
                <a:ext cx="29621" cy="37762"/>
              </a:xfrm>
              <a:custGeom>
                <a:avLst/>
                <a:gdLst>
                  <a:gd name="connsiteX0" fmla="*/ 0 w 29621"/>
                  <a:gd name="connsiteY0" fmla="*/ 37762 h 37762"/>
                  <a:gd name="connsiteX1" fmla="*/ 0 w 29621"/>
                  <a:gd name="connsiteY1" fmla="*/ 0 h 37762"/>
                  <a:gd name="connsiteX2" fmla="*/ 4994 w 29621"/>
                  <a:gd name="connsiteY2" fmla="*/ 0 h 37762"/>
                  <a:gd name="connsiteX3" fmla="*/ 4994 w 29621"/>
                  <a:gd name="connsiteY3" fmla="*/ 15508 h 37762"/>
                  <a:gd name="connsiteX4" fmla="*/ 24628 w 29621"/>
                  <a:gd name="connsiteY4" fmla="*/ 15508 h 37762"/>
                  <a:gd name="connsiteX5" fmla="*/ 24628 w 29621"/>
                  <a:gd name="connsiteY5" fmla="*/ 0 h 37762"/>
                  <a:gd name="connsiteX6" fmla="*/ 29622 w 29621"/>
                  <a:gd name="connsiteY6" fmla="*/ 0 h 37762"/>
                  <a:gd name="connsiteX7" fmla="*/ 29622 w 29621"/>
                  <a:gd name="connsiteY7" fmla="*/ 37762 h 37762"/>
                  <a:gd name="connsiteX8" fmla="*/ 24628 w 29621"/>
                  <a:gd name="connsiteY8" fmla="*/ 37762 h 37762"/>
                  <a:gd name="connsiteX9" fmla="*/ 24628 w 29621"/>
                  <a:gd name="connsiteY9" fmla="*/ 19955 h 37762"/>
                  <a:gd name="connsiteX10" fmla="*/ 4994 w 29621"/>
                  <a:gd name="connsiteY10" fmla="*/ 19955 h 37762"/>
                  <a:gd name="connsiteX11" fmla="*/ 4994 w 29621"/>
                  <a:gd name="connsiteY11" fmla="*/ 37762 h 37762"/>
                  <a:gd name="connsiteX12" fmla="*/ 0 w 29621"/>
                  <a:gd name="connsiteY12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21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994" y="0"/>
                    </a:lnTo>
                    <a:lnTo>
                      <a:pt x="4994" y="15508"/>
                    </a:lnTo>
                    <a:lnTo>
                      <a:pt x="24628" y="15508"/>
                    </a:lnTo>
                    <a:lnTo>
                      <a:pt x="24628" y="0"/>
                    </a:lnTo>
                    <a:lnTo>
                      <a:pt x="29622" y="0"/>
                    </a:lnTo>
                    <a:lnTo>
                      <a:pt x="29622" y="37762"/>
                    </a:lnTo>
                    <a:lnTo>
                      <a:pt x="24628" y="37762"/>
                    </a:lnTo>
                    <a:lnTo>
                      <a:pt x="24628" y="19955"/>
                    </a:lnTo>
                    <a:lnTo>
                      <a:pt x="4994" y="19955"/>
                    </a:lnTo>
                    <a:lnTo>
                      <a:pt x="4994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24" name="Freihandform: Form 3523">
                <a:extLst>
                  <a:ext uri="{FF2B5EF4-FFF2-40B4-BE49-F238E27FC236}">
                    <a16:creationId xmlns:a16="http://schemas.microsoft.com/office/drawing/2014/main" id="{4C352A8E-3319-3C43-9F91-A3E4FCF9CD05}"/>
                  </a:ext>
                </a:extLst>
              </p:cNvPr>
              <p:cNvSpPr/>
              <p:nvPr/>
            </p:nvSpPr>
            <p:spPr>
              <a:xfrm>
                <a:off x="4089281" y="2656280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2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25" name="Freihandform: Form 3524">
                <a:extLst>
                  <a:ext uri="{FF2B5EF4-FFF2-40B4-BE49-F238E27FC236}">
                    <a16:creationId xmlns:a16="http://schemas.microsoft.com/office/drawing/2014/main" id="{153C86D5-72CA-4792-D00D-8D28A8DD3448}"/>
                  </a:ext>
                </a:extLst>
              </p:cNvPr>
              <p:cNvSpPr/>
              <p:nvPr/>
            </p:nvSpPr>
            <p:spPr>
              <a:xfrm>
                <a:off x="4117396" y="2656921"/>
                <a:ext cx="25118" cy="27379"/>
              </a:xfrm>
              <a:custGeom>
                <a:avLst/>
                <a:gdLst>
                  <a:gd name="connsiteX0" fmla="*/ 10402 w 25118"/>
                  <a:gd name="connsiteY0" fmla="*/ 27361 h 27379"/>
                  <a:gd name="connsiteX1" fmla="*/ 0 w 25118"/>
                  <a:gd name="connsiteY1" fmla="*/ 0 h 27379"/>
                  <a:gd name="connsiteX2" fmla="*/ 4899 w 25118"/>
                  <a:gd name="connsiteY2" fmla="*/ 0 h 27379"/>
                  <a:gd name="connsiteX3" fmla="*/ 10778 w 25118"/>
                  <a:gd name="connsiteY3" fmla="*/ 16394 h 27379"/>
                  <a:gd name="connsiteX4" fmla="*/ 12531 w 25118"/>
                  <a:gd name="connsiteY4" fmla="*/ 21915 h 27379"/>
                  <a:gd name="connsiteX5" fmla="*/ 14264 w 25118"/>
                  <a:gd name="connsiteY5" fmla="*/ 16714 h 27379"/>
                  <a:gd name="connsiteX6" fmla="*/ 20351 w 25118"/>
                  <a:gd name="connsiteY6" fmla="*/ 19 h 27379"/>
                  <a:gd name="connsiteX7" fmla="*/ 25118 w 25118"/>
                  <a:gd name="connsiteY7" fmla="*/ 19 h 27379"/>
                  <a:gd name="connsiteX8" fmla="*/ 14754 w 25118"/>
                  <a:gd name="connsiteY8" fmla="*/ 27379 h 27379"/>
                  <a:gd name="connsiteX9" fmla="*/ 10420 w 25118"/>
                  <a:gd name="connsiteY9" fmla="*/ 27379 h 2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18" h="27379">
                    <a:moveTo>
                      <a:pt x="10402" y="27361"/>
                    </a:moveTo>
                    <a:lnTo>
                      <a:pt x="0" y="0"/>
                    </a:lnTo>
                    <a:lnTo>
                      <a:pt x="4899" y="0"/>
                    </a:lnTo>
                    <a:lnTo>
                      <a:pt x="10778" y="16394"/>
                    </a:lnTo>
                    <a:cubicBezTo>
                      <a:pt x="11419" y="18165"/>
                      <a:pt x="12003" y="19993"/>
                      <a:pt x="12531" y="21915"/>
                    </a:cubicBezTo>
                    <a:cubicBezTo>
                      <a:pt x="12945" y="20464"/>
                      <a:pt x="13511" y="18730"/>
                      <a:pt x="14264" y="16714"/>
                    </a:cubicBezTo>
                    <a:lnTo>
                      <a:pt x="20351" y="19"/>
                    </a:lnTo>
                    <a:lnTo>
                      <a:pt x="25118" y="19"/>
                    </a:lnTo>
                    <a:lnTo>
                      <a:pt x="14754" y="27379"/>
                    </a:lnTo>
                    <a:lnTo>
                      <a:pt x="10420" y="27379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26" name="Freihandform: Form 3525">
                <a:extLst>
                  <a:ext uri="{FF2B5EF4-FFF2-40B4-BE49-F238E27FC236}">
                    <a16:creationId xmlns:a16="http://schemas.microsoft.com/office/drawing/2014/main" id="{72DE0BAE-46F5-6752-DB4B-689404359E11}"/>
                  </a:ext>
                </a:extLst>
              </p:cNvPr>
              <p:cNvSpPr/>
              <p:nvPr/>
            </p:nvSpPr>
            <p:spPr>
              <a:xfrm>
                <a:off x="4145001" y="2656280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2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27" name="Freihandform: Form 3526">
                <a:extLst>
                  <a:ext uri="{FF2B5EF4-FFF2-40B4-BE49-F238E27FC236}">
                    <a16:creationId xmlns:a16="http://schemas.microsoft.com/office/drawing/2014/main" id="{1A52B34D-498E-97F0-B4C5-B6956D41042A}"/>
                  </a:ext>
                </a:extLst>
              </p:cNvPr>
              <p:cNvSpPr/>
              <p:nvPr/>
            </p:nvSpPr>
            <p:spPr>
              <a:xfrm>
                <a:off x="4175923" y="2656299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5 w 22235"/>
                  <a:gd name="connsiteY2" fmla="*/ 622 h 28001"/>
                  <a:gd name="connsiteX3" fmla="*/ 4165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5" y="622"/>
                    </a:lnTo>
                    <a:lnTo>
                      <a:pt x="4165" y="4504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1" y="7179"/>
                      <a:pt x="4636" y="9553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28" name="Freihandform: Form 3527">
                <a:extLst>
                  <a:ext uri="{FF2B5EF4-FFF2-40B4-BE49-F238E27FC236}">
                    <a16:creationId xmlns:a16="http://schemas.microsoft.com/office/drawing/2014/main" id="{56170F52-B90F-41A4-C0C5-7CBF43EEAB27}"/>
                  </a:ext>
                </a:extLst>
              </p:cNvPr>
              <p:cNvSpPr/>
              <p:nvPr/>
            </p:nvSpPr>
            <p:spPr>
              <a:xfrm>
                <a:off x="4205263" y="2656299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0" y="1507"/>
                      <a:pt x="9082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4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1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29" name="Freihandform: Form 3528">
                <a:extLst>
                  <a:ext uri="{FF2B5EF4-FFF2-40B4-BE49-F238E27FC236}">
                    <a16:creationId xmlns:a16="http://schemas.microsoft.com/office/drawing/2014/main" id="{9EEF07D5-C21C-62CF-519C-DC4BF5F0CB46}"/>
                  </a:ext>
                </a:extLst>
              </p:cNvPr>
              <p:cNvSpPr/>
              <p:nvPr/>
            </p:nvSpPr>
            <p:spPr>
              <a:xfrm>
                <a:off x="4233038" y="2656280"/>
                <a:ext cx="25193" cy="28622"/>
              </a:xfrm>
              <a:custGeom>
                <a:avLst/>
                <a:gdLst>
                  <a:gd name="connsiteX0" fmla="*/ 19427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7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7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7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58" name="Grafik 21">
              <a:extLst>
                <a:ext uri="{FF2B5EF4-FFF2-40B4-BE49-F238E27FC236}">
                  <a16:creationId xmlns:a16="http://schemas.microsoft.com/office/drawing/2014/main" id="{5946C0EB-BFA6-A3EE-031B-645B8CDACE40}"/>
                </a:ext>
              </a:extLst>
            </p:cNvPr>
            <p:cNvGrpSpPr/>
            <p:nvPr/>
          </p:nvGrpSpPr>
          <p:grpSpPr>
            <a:xfrm>
              <a:off x="4387516" y="2680438"/>
              <a:ext cx="210932" cy="38402"/>
              <a:chOff x="4387516" y="2680438"/>
              <a:chExt cx="210932" cy="38402"/>
            </a:xfrm>
            <a:solidFill>
              <a:srgbClr val="000000"/>
            </a:solidFill>
          </p:grpSpPr>
          <p:sp>
            <p:nvSpPr>
              <p:cNvPr id="3515" name="Freihandform: Form 3514">
                <a:extLst>
                  <a:ext uri="{FF2B5EF4-FFF2-40B4-BE49-F238E27FC236}">
                    <a16:creationId xmlns:a16="http://schemas.microsoft.com/office/drawing/2014/main" id="{829B8968-73F5-C80E-5C51-4460A4AF95C7}"/>
                  </a:ext>
                </a:extLst>
              </p:cNvPr>
              <p:cNvSpPr/>
              <p:nvPr/>
            </p:nvSpPr>
            <p:spPr>
              <a:xfrm>
                <a:off x="4387516" y="2680438"/>
                <a:ext cx="34539" cy="37762"/>
              </a:xfrm>
              <a:custGeom>
                <a:avLst/>
                <a:gdLst>
                  <a:gd name="connsiteX0" fmla="*/ 14641 w 34539"/>
                  <a:gd name="connsiteY0" fmla="*/ 37762 h 37762"/>
                  <a:gd name="connsiteX1" fmla="*/ 0 w 34539"/>
                  <a:gd name="connsiteY1" fmla="*/ 0 h 37762"/>
                  <a:gd name="connsiteX2" fmla="*/ 5408 w 34539"/>
                  <a:gd name="connsiteY2" fmla="*/ 0 h 37762"/>
                  <a:gd name="connsiteX3" fmla="*/ 15225 w 34539"/>
                  <a:gd name="connsiteY3" fmla="*/ 27436 h 37762"/>
                  <a:gd name="connsiteX4" fmla="*/ 17204 w 34539"/>
                  <a:gd name="connsiteY4" fmla="*/ 33617 h 37762"/>
                  <a:gd name="connsiteX5" fmla="*/ 19239 w 34539"/>
                  <a:gd name="connsiteY5" fmla="*/ 27436 h 37762"/>
                  <a:gd name="connsiteX6" fmla="*/ 29433 w 34539"/>
                  <a:gd name="connsiteY6" fmla="*/ 0 h 37762"/>
                  <a:gd name="connsiteX7" fmla="*/ 34540 w 34539"/>
                  <a:gd name="connsiteY7" fmla="*/ 0 h 37762"/>
                  <a:gd name="connsiteX8" fmla="*/ 19748 w 34539"/>
                  <a:gd name="connsiteY8" fmla="*/ 37762 h 37762"/>
                  <a:gd name="connsiteX9" fmla="*/ 14622 w 34539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39" h="37762">
                    <a:moveTo>
                      <a:pt x="14641" y="37762"/>
                    </a:moveTo>
                    <a:lnTo>
                      <a:pt x="0" y="0"/>
                    </a:lnTo>
                    <a:lnTo>
                      <a:pt x="5408" y="0"/>
                    </a:lnTo>
                    <a:lnTo>
                      <a:pt x="15225" y="27436"/>
                    </a:lnTo>
                    <a:cubicBezTo>
                      <a:pt x="16017" y="29641"/>
                      <a:pt x="16676" y="31695"/>
                      <a:pt x="17204" y="33617"/>
                    </a:cubicBezTo>
                    <a:cubicBezTo>
                      <a:pt x="17788" y="31563"/>
                      <a:pt x="18466" y="29490"/>
                      <a:pt x="19239" y="27436"/>
                    </a:cubicBezTo>
                    <a:lnTo>
                      <a:pt x="29433" y="0"/>
                    </a:lnTo>
                    <a:lnTo>
                      <a:pt x="34540" y="0"/>
                    </a:lnTo>
                    <a:lnTo>
                      <a:pt x="19748" y="37762"/>
                    </a:lnTo>
                    <a:lnTo>
                      <a:pt x="14622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16" name="Freihandform: Form 3515">
                <a:extLst>
                  <a:ext uri="{FF2B5EF4-FFF2-40B4-BE49-F238E27FC236}">
                    <a16:creationId xmlns:a16="http://schemas.microsoft.com/office/drawing/2014/main" id="{073EDD0A-F525-1333-8431-705F89B71C21}"/>
                  </a:ext>
                </a:extLst>
              </p:cNvPr>
              <p:cNvSpPr/>
              <p:nvPr/>
            </p:nvSpPr>
            <p:spPr>
              <a:xfrm>
                <a:off x="4420473" y="2690199"/>
                <a:ext cx="25193" cy="28622"/>
              </a:xfrm>
              <a:custGeom>
                <a:avLst/>
                <a:gdLst>
                  <a:gd name="connsiteX0" fmla="*/ 19427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1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7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6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7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7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17" name="Freihandform: Form 3516">
                <a:extLst>
                  <a:ext uri="{FF2B5EF4-FFF2-40B4-BE49-F238E27FC236}">
                    <a16:creationId xmlns:a16="http://schemas.microsoft.com/office/drawing/2014/main" id="{38EA75EC-1CE3-16B3-2395-C832CCB7DABD}"/>
                  </a:ext>
                </a:extLst>
              </p:cNvPr>
              <p:cNvSpPr/>
              <p:nvPr/>
            </p:nvSpPr>
            <p:spPr>
              <a:xfrm>
                <a:off x="4451338" y="2690217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8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8"/>
                    </a:cubicBezTo>
                    <a:lnTo>
                      <a:pt x="13266" y="5785"/>
                    </a:lnTo>
                    <a:cubicBezTo>
                      <a:pt x="12135" y="5106"/>
                      <a:pt x="11004" y="4786"/>
                      <a:pt x="9874" y="4786"/>
                    </a:cubicBezTo>
                    <a:cubicBezTo>
                      <a:pt x="8856" y="4786"/>
                      <a:pt x="7952" y="5088"/>
                      <a:pt x="7142" y="5710"/>
                    </a:cubicBezTo>
                    <a:cubicBezTo>
                      <a:pt x="6331" y="6312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18" name="Freihandform: Form 3517">
                <a:extLst>
                  <a:ext uri="{FF2B5EF4-FFF2-40B4-BE49-F238E27FC236}">
                    <a16:creationId xmlns:a16="http://schemas.microsoft.com/office/drawing/2014/main" id="{7A5F38BA-A5AD-1D0A-D009-970784CF46A3}"/>
                  </a:ext>
                </a:extLst>
              </p:cNvPr>
              <p:cNvSpPr/>
              <p:nvPr/>
            </p:nvSpPr>
            <p:spPr>
              <a:xfrm>
                <a:off x="4467374" y="2690199"/>
                <a:ext cx="25193" cy="28622"/>
              </a:xfrm>
              <a:custGeom>
                <a:avLst/>
                <a:gdLst>
                  <a:gd name="connsiteX0" fmla="*/ 19427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7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7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7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19" name="Freihandform: Form 3518">
                <a:extLst>
                  <a:ext uri="{FF2B5EF4-FFF2-40B4-BE49-F238E27FC236}">
                    <a16:creationId xmlns:a16="http://schemas.microsoft.com/office/drawing/2014/main" id="{34C7B089-F36D-425A-2D8F-25C4291FC192}"/>
                  </a:ext>
                </a:extLst>
              </p:cNvPr>
              <p:cNvSpPr/>
              <p:nvPr/>
            </p:nvSpPr>
            <p:spPr>
              <a:xfrm>
                <a:off x="4496619" y="2680456"/>
                <a:ext cx="23723" cy="38365"/>
              </a:xfrm>
              <a:custGeom>
                <a:avLst/>
                <a:gdLst>
                  <a:gd name="connsiteX0" fmla="*/ 19427 w 23723"/>
                  <a:gd name="connsiteY0" fmla="*/ 37743 h 38365"/>
                  <a:gd name="connsiteX1" fmla="*/ 19427 w 23723"/>
                  <a:gd name="connsiteY1" fmla="*/ 34295 h 38365"/>
                  <a:gd name="connsiteX2" fmla="*/ 11777 w 23723"/>
                  <a:gd name="connsiteY2" fmla="*/ 38365 h 38365"/>
                  <a:gd name="connsiteX3" fmla="*/ 5766 w 23723"/>
                  <a:gd name="connsiteY3" fmla="*/ 36556 h 38365"/>
                  <a:gd name="connsiteX4" fmla="*/ 1507 w 23723"/>
                  <a:gd name="connsiteY4" fmla="*/ 31525 h 38365"/>
                  <a:gd name="connsiteX5" fmla="*/ 0 w 23723"/>
                  <a:gd name="connsiteY5" fmla="*/ 24101 h 38365"/>
                  <a:gd name="connsiteX6" fmla="*/ 1357 w 23723"/>
                  <a:gd name="connsiteY6" fmla="*/ 16676 h 38365"/>
                  <a:gd name="connsiteX7" fmla="*/ 5446 w 23723"/>
                  <a:gd name="connsiteY7" fmla="*/ 11570 h 38365"/>
                  <a:gd name="connsiteX8" fmla="*/ 11551 w 23723"/>
                  <a:gd name="connsiteY8" fmla="*/ 9799 h 38365"/>
                  <a:gd name="connsiteX9" fmla="*/ 15960 w 23723"/>
                  <a:gd name="connsiteY9" fmla="*/ 10835 h 38365"/>
                  <a:gd name="connsiteX10" fmla="*/ 19107 w 23723"/>
                  <a:gd name="connsiteY10" fmla="*/ 13549 h 38365"/>
                  <a:gd name="connsiteX11" fmla="*/ 19107 w 23723"/>
                  <a:gd name="connsiteY11" fmla="*/ 0 h 38365"/>
                  <a:gd name="connsiteX12" fmla="*/ 23724 w 23723"/>
                  <a:gd name="connsiteY12" fmla="*/ 0 h 38365"/>
                  <a:gd name="connsiteX13" fmla="*/ 23724 w 23723"/>
                  <a:gd name="connsiteY13" fmla="*/ 37762 h 38365"/>
                  <a:gd name="connsiteX14" fmla="*/ 19427 w 23723"/>
                  <a:gd name="connsiteY14" fmla="*/ 37762 h 38365"/>
                  <a:gd name="connsiteX15" fmla="*/ 4767 w 23723"/>
                  <a:gd name="connsiteY15" fmla="*/ 24082 h 38365"/>
                  <a:gd name="connsiteX16" fmla="*/ 6991 w 23723"/>
                  <a:gd name="connsiteY16" fmla="*/ 31940 h 38365"/>
                  <a:gd name="connsiteX17" fmla="*/ 12229 w 23723"/>
                  <a:gd name="connsiteY17" fmla="*/ 34540 h 38365"/>
                  <a:gd name="connsiteX18" fmla="*/ 17392 w 23723"/>
                  <a:gd name="connsiteY18" fmla="*/ 32053 h 38365"/>
                  <a:gd name="connsiteX19" fmla="*/ 19522 w 23723"/>
                  <a:gd name="connsiteY19" fmla="*/ 24459 h 38365"/>
                  <a:gd name="connsiteX20" fmla="*/ 17355 w 23723"/>
                  <a:gd name="connsiteY20" fmla="*/ 16205 h 38365"/>
                  <a:gd name="connsiteX21" fmla="*/ 12022 w 23723"/>
                  <a:gd name="connsiteY21" fmla="*/ 13586 h 38365"/>
                  <a:gd name="connsiteX22" fmla="*/ 6859 w 23723"/>
                  <a:gd name="connsiteY22" fmla="*/ 16111 h 38365"/>
                  <a:gd name="connsiteX23" fmla="*/ 4786 w 23723"/>
                  <a:gd name="connsiteY23" fmla="*/ 24063 h 38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723" h="38365">
                    <a:moveTo>
                      <a:pt x="19427" y="37743"/>
                    </a:moveTo>
                    <a:lnTo>
                      <a:pt x="19427" y="34295"/>
                    </a:lnTo>
                    <a:cubicBezTo>
                      <a:pt x="17694" y="37008"/>
                      <a:pt x="15150" y="38365"/>
                      <a:pt x="11777" y="38365"/>
                    </a:cubicBezTo>
                    <a:cubicBezTo>
                      <a:pt x="9591" y="38365"/>
                      <a:pt x="7594" y="37762"/>
                      <a:pt x="5766" y="36556"/>
                    </a:cubicBezTo>
                    <a:cubicBezTo>
                      <a:pt x="3938" y="35350"/>
                      <a:pt x="2525" y="33673"/>
                      <a:pt x="1507" y="31525"/>
                    </a:cubicBezTo>
                    <a:cubicBezTo>
                      <a:pt x="490" y="29377"/>
                      <a:pt x="0" y="26890"/>
                      <a:pt x="0" y="24101"/>
                    </a:cubicBezTo>
                    <a:cubicBezTo>
                      <a:pt x="0" y="21312"/>
                      <a:pt x="452" y="18900"/>
                      <a:pt x="1357" y="16676"/>
                    </a:cubicBezTo>
                    <a:cubicBezTo>
                      <a:pt x="2261" y="14453"/>
                      <a:pt x="3637" y="12757"/>
                      <a:pt x="5446" y="11570"/>
                    </a:cubicBezTo>
                    <a:cubicBezTo>
                      <a:pt x="7274" y="10383"/>
                      <a:pt x="9309" y="9799"/>
                      <a:pt x="11551" y="9799"/>
                    </a:cubicBezTo>
                    <a:cubicBezTo>
                      <a:pt x="13209" y="9799"/>
                      <a:pt x="14660" y="10138"/>
                      <a:pt x="15960" y="10835"/>
                    </a:cubicBezTo>
                    <a:cubicBezTo>
                      <a:pt x="17260" y="11532"/>
                      <a:pt x="18297" y="12437"/>
                      <a:pt x="19107" y="13549"/>
                    </a:cubicBezTo>
                    <a:lnTo>
                      <a:pt x="19107" y="0"/>
                    </a:lnTo>
                    <a:lnTo>
                      <a:pt x="23724" y="0"/>
                    </a:lnTo>
                    <a:lnTo>
                      <a:pt x="23724" y="37762"/>
                    </a:lnTo>
                    <a:lnTo>
                      <a:pt x="19427" y="37762"/>
                    </a:lnTo>
                    <a:close/>
                    <a:moveTo>
                      <a:pt x="4767" y="24082"/>
                    </a:moveTo>
                    <a:cubicBezTo>
                      <a:pt x="4767" y="27587"/>
                      <a:pt x="5502" y="30206"/>
                      <a:pt x="6991" y="31940"/>
                    </a:cubicBezTo>
                    <a:cubicBezTo>
                      <a:pt x="8461" y="33673"/>
                      <a:pt x="10213" y="34540"/>
                      <a:pt x="12229" y="34540"/>
                    </a:cubicBezTo>
                    <a:cubicBezTo>
                      <a:pt x="14245" y="34540"/>
                      <a:pt x="15979" y="33711"/>
                      <a:pt x="17392" y="32053"/>
                    </a:cubicBezTo>
                    <a:cubicBezTo>
                      <a:pt x="18806" y="30394"/>
                      <a:pt x="19522" y="27869"/>
                      <a:pt x="19522" y="24459"/>
                    </a:cubicBezTo>
                    <a:cubicBezTo>
                      <a:pt x="19522" y="20709"/>
                      <a:pt x="18806" y="17958"/>
                      <a:pt x="17355" y="16205"/>
                    </a:cubicBezTo>
                    <a:cubicBezTo>
                      <a:pt x="15904" y="14453"/>
                      <a:pt x="14133" y="13586"/>
                      <a:pt x="12022" y="13586"/>
                    </a:cubicBezTo>
                    <a:cubicBezTo>
                      <a:pt x="9912" y="13586"/>
                      <a:pt x="8235" y="14434"/>
                      <a:pt x="6859" y="16111"/>
                    </a:cubicBezTo>
                    <a:cubicBezTo>
                      <a:pt x="5483" y="17788"/>
                      <a:pt x="4786" y="20445"/>
                      <a:pt x="4786" y="2406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20" name="Freihandform: Form 3519">
                <a:extLst>
                  <a:ext uri="{FF2B5EF4-FFF2-40B4-BE49-F238E27FC236}">
                    <a16:creationId xmlns:a16="http://schemas.microsoft.com/office/drawing/2014/main" id="{550EA3CD-E9F6-4A9B-5F9D-434F87E6C36F}"/>
                  </a:ext>
                </a:extLst>
              </p:cNvPr>
              <p:cNvSpPr/>
              <p:nvPr/>
            </p:nvSpPr>
            <p:spPr>
              <a:xfrm>
                <a:off x="4526071" y="2690217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0 w 25231"/>
                  <a:gd name="connsiteY1" fmla="*/ 19748 h 28585"/>
                  <a:gd name="connsiteX2" fmla="*/ 20878 w 25231"/>
                  <a:gd name="connsiteY2" fmla="*/ 26268 h 28585"/>
                  <a:gd name="connsiteX3" fmla="*/ 13039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5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0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39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5" y="1262"/>
                      <a:pt x="9007" y="0"/>
                      <a:pt x="12776" y="0"/>
                    </a:cubicBezTo>
                    <a:cubicBezTo>
                      <a:pt x="16544" y="0"/>
                      <a:pt x="19427" y="1244"/>
                      <a:pt x="21745" y="3731"/>
                    </a:cubicBezTo>
                    <a:cubicBezTo>
                      <a:pt x="24063" y="6218"/>
                      <a:pt x="25231" y="9723"/>
                      <a:pt x="25231" y="14245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59" y="7631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19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21" name="Freihandform: Form 3520">
                <a:extLst>
                  <a:ext uri="{FF2B5EF4-FFF2-40B4-BE49-F238E27FC236}">
                    <a16:creationId xmlns:a16="http://schemas.microsoft.com/office/drawing/2014/main" id="{C796337E-B96C-4F99-40A4-C6558F5B7AA2}"/>
                  </a:ext>
                </a:extLst>
              </p:cNvPr>
              <p:cNvSpPr/>
              <p:nvPr/>
            </p:nvSpPr>
            <p:spPr>
              <a:xfrm>
                <a:off x="4556936" y="2690217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8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1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19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8"/>
                    </a:cubicBezTo>
                    <a:lnTo>
                      <a:pt x="13266" y="5785"/>
                    </a:lnTo>
                    <a:cubicBezTo>
                      <a:pt x="12135" y="5106"/>
                      <a:pt x="11004" y="4786"/>
                      <a:pt x="9874" y="4786"/>
                    </a:cubicBezTo>
                    <a:cubicBezTo>
                      <a:pt x="8856" y="4786"/>
                      <a:pt x="7952" y="5088"/>
                      <a:pt x="7141" y="5710"/>
                    </a:cubicBezTo>
                    <a:cubicBezTo>
                      <a:pt x="6331" y="6312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22" name="Freihandform: Form 3521">
                <a:extLst>
                  <a:ext uri="{FF2B5EF4-FFF2-40B4-BE49-F238E27FC236}">
                    <a16:creationId xmlns:a16="http://schemas.microsoft.com/office/drawing/2014/main" id="{6A05006D-0A77-E95E-DFA7-46429461B275}"/>
                  </a:ext>
                </a:extLst>
              </p:cNvPr>
              <p:cNvSpPr/>
              <p:nvPr/>
            </p:nvSpPr>
            <p:spPr>
              <a:xfrm>
                <a:off x="4572802" y="2690236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6"/>
                      <a:pt x="19446" y="26927"/>
                    </a:cubicBezTo>
                    <a:cubicBezTo>
                      <a:pt x="17430" y="28039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893"/>
                      <a:pt x="10534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1"/>
                      <a:pt x="20897" y="14151"/>
                    </a:cubicBezTo>
                    <a:cubicBezTo>
                      <a:pt x="20897" y="10759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959" name="Grafik 21">
              <a:extLst>
                <a:ext uri="{FF2B5EF4-FFF2-40B4-BE49-F238E27FC236}">
                  <a16:creationId xmlns:a16="http://schemas.microsoft.com/office/drawing/2014/main" id="{B84881AA-ECDF-746C-ADC8-C42872C5CF41}"/>
                </a:ext>
              </a:extLst>
            </p:cNvPr>
            <p:cNvGrpSpPr/>
            <p:nvPr/>
          </p:nvGrpSpPr>
          <p:grpSpPr>
            <a:xfrm>
              <a:off x="4670468" y="2742621"/>
              <a:ext cx="149408" cy="38402"/>
              <a:chOff x="4670468" y="2742621"/>
              <a:chExt cx="149408" cy="38402"/>
            </a:xfrm>
            <a:solidFill>
              <a:srgbClr val="000000"/>
            </a:solidFill>
          </p:grpSpPr>
          <p:sp>
            <p:nvSpPr>
              <p:cNvPr id="3509" name="Freihandform: Form 3508">
                <a:extLst>
                  <a:ext uri="{FF2B5EF4-FFF2-40B4-BE49-F238E27FC236}">
                    <a16:creationId xmlns:a16="http://schemas.microsoft.com/office/drawing/2014/main" id="{E7A2F500-9D79-A969-0323-7422DCD7F4C2}"/>
                  </a:ext>
                </a:extLst>
              </p:cNvPr>
              <p:cNvSpPr/>
              <p:nvPr/>
            </p:nvSpPr>
            <p:spPr>
              <a:xfrm>
                <a:off x="4670468" y="2742621"/>
                <a:ext cx="28830" cy="37762"/>
              </a:xfrm>
              <a:custGeom>
                <a:avLst/>
                <a:gdLst>
                  <a:gd name="connsiteX0" fmla="*/ 0 w 28830"/>
                  <a:gd name="connsiteY0" fmla="*/ 37762 h 37762"/>
                  <a:gd name="connsiteX1" fmla="*/ 0 w 28830"/>
                  <a:gd name="connsiteY1" fmla="*/ 0 h 37762"/>
                  <a:gd name="connsiteX2" fmla="*/ 14245 w 28830"/>
                  <a:gd name="connsiteY2" fmla="*/ 0 h 37762"/>
                  <a:gd name="connsiteX3" fmla="*/ 19993 w 28830"/>
                  <a:gd name="connsiteY3" fmla="*/ 358 h 37762"/>
                  <a:gd name="connsiteX4" fmla="*/ 24647 w 28830"/>
                  <a:gd name="connsiteY4" fmla="*/ 2129 h 37762"/>
                  <a:gd name="connsiteX5" fmla="*/ 27681 w 28830"/>
                  <a:gd name="connsiteY5" fmla="*/ 5766 h 37762"/>
                  <a:gd name="connsiteX6" fmla="*/ 28830 w 28830"/>
                  <a:gd name="connsiteY6" fmla="*/ 10910 h 37762"/>
                  <a:gd name="connsiteX7" fmla="*/ 25759 w 28830"/>
                  <a:gd name="connsiteY7" fmla="*/ 19069 h 37762"/>
                  <a:gd name="connsiteX8" fmla="*/ 14679 w 28830"/>
                  <a:gd name="connsiteY8" fmla="*/ 22405 h 37762"/>
                  <a:gd name="connsiteX9" fmla="*/ 4993 w 28830"/>
                  <a:gd name="connsiteY9" fmla="*/ 22405 h 37762"/>
                  <a:gd name="connsiteX10" fmla="*/ 4993 w 28830"/>
                  <a:gd name="connsiteY10" fmla="*/ 37762 h 37762"/>
                  <a:gd name="connsiteX11" fmla="*/ 0 w 28830"/>
                  <a:gd name="connsiteY11" fmla="*/ 37762 h 37762"/>
                  <a:gd name="connsiteX12" fmla="*/ 4993 w 28830"/>
                  <a:gd name="connsiteY12" fmla="*/ 17958 h 37762"/>
                  <a:gd name="connsiteX13" fmla="*/ 14754 w 28830"/>
                  <a:gd name="connsiteY13" fmla="*/ 17958 h 37762"/>
                  <a:gd name="connsiteX14" fmla="*/ 21632 w 28830"/>
                  <a:gd name="connsiteY14" fmla="*/ 16149 h 37762"/>
                  <a:gd name="connsiteX15" fmla="*/ 23667 w 28830"/>
                  <a:gd name="connsiteY15" fmla="*/ 11080 h 37762"/>
                  <a:gd name="connsiteX16" fmla="*/ 22461 w 28830"/>
                  <a:gd name="connsiteY16" fmla="*/ 7029 h 37762"/>
                  <a:gd name="connsiteX17" fmla="*/ 19314 w 28830"/>
                  <a:gd name="connsiteY17" fmla="*/ 4805 h 37762"/>
                  <a:gd name="connsiteX18" fmla="*/ 14660 w 28830"/>
                  <a:gd name="connsiteY18" fmla="*/ 4466 h 37762"/>
                  <a:gd name="connsiteX19" fmla="*/ 4993 w 28830"/>
                  <a:gd name="connsiteY19" fmla="*/ 4466 h 37762"/>
                  <a:gd name="connsiteX20" fmla="*/ 4993 w 28830"/>
                  <a:gd name="connsiteY20" fmla="*/ 17958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8830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14245" y="0"/>
                    </a:lnTo>
                    <a:cubicBezTo>
                      <a:pt x="16752" y="0"/>
                      <a:pt x="18674" y="113"/>
                      <a:pt x="19993" y="358"/>
                    </a:cubicBezTo>
                    <a:cubicBezTo>
                      <a:pt x="21839" y="660"/>
                      <a:pt x="23403" y="1263"/>
                      <a:pt x="24647" y="2129"/>
                    </a:cubicBezTo>
                    <a:cubicBezTo>
                      <a:pt x="25910" y="2996"/>
                      <a:pt x="26908" y="4221"/>
                      <a:pt x="27681" y="5766"/>
                    </a:cubicBezTo>
                    <a:cubicBezTo>
                      <a:pt x="28453" y="7330"/>
                      <a:pt x="28830" y="9045"/>
                      <a:pt x="28830" y="10910"/>
                    </a:cubicBezTo>
                    <a:cubicBezTo>
                      <a:pt x="28830" y="14114"/>
                      <a:pt x="27813" y="16846"/>
                      <a:pt x="25759" y="19069"/>
                    </a:cubicBezTo>
                    <a:cubicBezTo>
                      <a:pt x="23724" y="21293"/>
                      <a:pt x="20031" y="22405"/>
                      <a:pt x="14679" y="22405"/>
                    </a:cubicBezTo>
                    <a:lnTo>
                      <a:pt x="4993" y="22405"/>
                    </a:lnTo>
                    <a:lnTo>
                      <a:pt x="4993" y="37762"/>
                    </a:lnTo>
                    <a:lnTo>
                      <a:pt x="0" y="37762"/>
                    </a:lnTo>
                    <a:close/>
                    <a:moveTo>
                      <a:pt x="4993" y="17958"/>
                    </a:moveTo>
                    <a:lnTo>
                      <a:pt x="14754" y="17958"/>
                    </a:lnTo>
                    <a:cubicBezTo>
                      <a:pt x="17976" y="17958"/>
                      <a:pt x="20275" y="17355"/>
                      <a:pt x="21632" y="16149"/>
                    </a:cubicBezTo>
                    <a:cubicBezTo>
                      <a:pt x="22989" y="14943"/>
                      <a:pt x="23667" y="13247"/>
                      <a:pt x="23667" y="11080"/>
                    </a:cubicBezTo>
                    <a:cubicBezTo>
                      <a:pt x="23667" y="9497"/>
                      <a:pt x="23272" y="8140"/>
                      <a:pt x="22461" y="7029"/>
                    </a:cubicBezTo>
                    <a:cubicBezTo>
                      <a:pt x="21651" y="5917"/>
                      <a:pt x="20615" y="5163"/>
                      <a:pt x="19314" y="4805"/>
                    </a:cubicBezTo>
                    <a:cubicBezTo>
                      <a:pt x="18466" y="4579"/>
                      <a:pt x="16921" y="4466"/>
                      <a:pt x="14660" y="4466"/>
                    </a:cubicBezTo>
                    <a:lnTo>
                      <a:pt x="4993" y="4466"/>
                    </a:lnTo>
                    <a:lnTo>
                      <a:pt x="4993" y="1795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10" name="Freihandform: Form 3509">
                <a:extLst>
                  <a:ext uri="{FF2B5EF4-FFF2-40B4-BE49-F238E27FC236}">
                    <a16:creationId xmlns:a16="http://schemas.microsoft.com/office/drawing/2014/main" id="{5BA1DA6E-E03A-ED9D-57FB-DA35CF96E81E}"/>
                  </a:ext>
                </a:extLst>
              </p:cNvPr>
              <p:cNvSpPr/>
              <p:nvPr/>
            </p:nvSpPr>
            <p:spPr>
              <a:xfrm>
                <a:off x="4704970" y="2752985"/>
                <a:ext cx="22159" cy="28020"/>
              </a:xfrm>
              <a:custGeom>
                <a:avLst/>
                <a:gdLst>
                  <a:gd name="connsiteX0" fmla="*/ 18033 w 22159"/>
                  <a:gd name="connsiteY0" fmla="*/ 27398 h 28020"/>
                  <a:gd name="connsiteX1" fmla="*/ 18033 w 22159"/>
                  <a:gd name="connsiteY1" fmla="*/ 23385 h 28020"/>
                  <a:gd name="connsiteX2" fmla="*/ 9346 w 22159"/>
                  <a:gd name="connsiteY2" fmla="*/ 28020 h 28020"/>
                  <a:gd name="connsiteX3" fmla="*/ 4824 w 22159"/>
                  <a:gd name="connsiteY3" fmla="*/ 27097 h 28020"/>
                  <a:gd name="connsiteX4" fmla="*/ 1715 w 22159"/>
                  <a:gd name="connsiteY4" fmla="*/ 24760 h 28020"/>
                  <a:gd name="connsiteX5" fmla="*/ 283 w 22159"/>
                  <a:gd name="connsiteY5" fmla="*/ 21312 h 28020"/>
                  <a:gd name="connsiteX6" fmla="*/ 0 w 22159"/>
                  <a:gd name="connsiteY6" fmla="*/ 16978 h 28020"/>
                  <a:gd name="connsiteX7" fmla="*/ 0 w 22159"/>
                  <a:gd name="connsiteY7" fmla="*/ 19 h 28020"/>
                  <a:gd name="connsiteX8" fmla="*/ 4635 w 22159"/>
                  <a:gd name="connsiteY8" fmla="*/ 19 h 28020"/>
                  <a:gd name="connsiteX9" fmla="*/ 4635 w 22159"/>
                  <a:gd name="connsiteY9" fmla="*/ 15188 h 28020"/>
                  <a:gd name="connsiteX10" fmla="*/ 4918 w 22159"/>
                  <a:gd name="connsiteY10" fmla="*/ 20087 h 28020"/>
                  <a:gd name="connsiteX11" fmla="*/ 6765 w 22159"/>
                  <a:gd name="connsiteY11" fmla="*/ 22951 h 28020"/>
                  <a:gd name="connsiteX12" fmla="*/ 10270 w 22159"/>
                  <a:gd name="connsiteY12" fmla="*/ 23988 h 28020"/>
                  <a:gd name="connsiteX13" fmla="*/ 14189 w 22159"/>
                  <a:gd name="connsiteY13" fmla="*/ 22914 h 28020"/>
                  <a:gd name="connsiteX14" fmla="*/ 16771 w 22159"/>
                  <a:gd name="connsiteY14" fmla="*/ 20012 h 28020"/>
                  <a:gd name="connsiteX15" fmla="*/ 17524 w 22159"/>
                  <a:gd name="connsiteY15" fmla="*/ 14660 h 28020"/>
                  <a:gd name="connsiteX16" fmla="*/ 17524 w 22159"/>
                  <a:gd name="connsiteY16" fmla="*/ 0 h 28020"/>
                  <a:gd name="connsiteX17" fmla="*/ 22160 w 22159"/>
                  <a:gd name="connsiteY17" fmla="*/ 0 h 28020"/>
                  <a:gd name="connsiteX18" fmla="*/ 22160 w 22159"/>
                  <a:gd name="connsiteY18" fmla="*/ 27361 h 28020"/>
                  <a:gd name="connsiteX19" fmla="*/ 18014 w 22159"/>
                  <a:gd name="connsiteY19" fmla="*/ 27361 h 2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159" h="28020">
                    <a:moveTo>
                      <a:pt x="18033" y="27398"/>
                    </a:moveTo>
                    <a:lnTo>
                      <a:pt x="18033" y="23385"/>
                    </a:lnTo>
                    <a:cubicBezTo>
                      <a:pt x="15904" y="26475"/>
                      <a:pt x="13002" y="28020"/>
                      <a:pt x="9346" y="28020"/>
                    </a:cubicBezTo>
                    <a:cubicBezTo>
                      <a:pt x="7726" y="28020"/>
                      <a:pt x="6218" y="27719"/>
                      <a:pt x="4824" y="27097"/>
                    </a:cubicBezTo>
                    <a:cubicBezTo>
                      <a:pt x="3430" y="26475"/>
                      <a:pt x="2393" y="25702"/>
                      <a:pt x="1715" y="24760"/>
                    </a:cubicBezTo>
                    <a:cubicBezTo>
                      <a:pt x="1036" y="23818"/>
                      <a:pt x="565" y="22669"/>
                      <a:pt x="283" y="21312"/>
                    </a:cubicBezTo>
                    <a:cubicBezTo>
                      <a:pt x="94" y="20408"/>
                      <a:pt x="0" y="18957"/>
                      <a:pt x="0" y="16978"/>
                    </a:cubicBezTo>
                    <a:lnTo>
                      <a:pt x="0" y="19"/>
                    </a:lnTo>
                    <a:lnTo>
                      <a:pt x="4635" y="19"/>
                    </a:lnTo>
                    <a:lnTo>
                      <a:pt x="4635" y="15188"/>
                    </a:lnTo>
                    <a:cubicBezTo>
                      <a:pt x="4635" y="17619"/>
                      <a:pt x="4730" y="19239"/>
                      <a:pt x="4918" y="20087"/>
                    </a:cubicBezTo>
                    <a:cubicBezTo>
                      <a:pt x="5201" y="21312"/>
                      <a:pt x="5823" y="22273"/>
                      <a:pt x="6765" y="22951"/>
                    </a:cubicBezTo>
                    <a:cubicBezTo>
                      <a:pt x="7707" y="23649"/>
                      <a:pt x="8875" y="23988"/>
                      <a:pt x="10270" y="23988"/>
                    </a:cubicBezTo>
                    <a:cubicBezTo>
                      <a:pt x="11664" y="23988"/>
                      <a:pt x="12964" y="23630"/>
                      <a:pt x="14189" y="22914"/>
                    </a:cubicBezTo>
                    <a:cubicBezTo>
                      <a:pt x="15414" y="22198"/>
                      <a:pt x="16262" y="21237"/>
                      <a:pt x="16771" y="20012"/>
                    </a:cubicBezTo>
                    <a:cubicBezTo>
                      <a:pt x="17279" y="18787"/>
                      <a:pt x="17524" y="16997"/>
                      <a:pt x="17524" y="14660"/>
                    </a:cubicBezTo>
                    <a:lnTo>
                      <a:pt x="17524" y="0"/>
                    </a:lnTo>
                    <a:lnTo>
                      <a:pt x="22160" y="0"/>
                    </a:lnTo>
                    <a:lnTo>
                      <a:pt x="22160" y="27361"/>
                    </a:lnTo>
                    <a:lnTo>
                      <a:pt x="18014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11" name="Freihandform: Form 3510">
                <a:extLst>
                  <a:ext uri="{FF2B5EF4-FFF2-40B4-BE49-F238E27FC236}">
                    <a16:creationId xmlns:a16="http://schemas.microsoft.com/office/drawing/2014/main" id="{04E3F2A9-409C-5AEA-D1B8-071DD17E0799}"/>
                  </a:ext>
                </a:extLst>
              </p:cNvPr>
              <p:cNvSpPr/>
              <p:nvPr/>
            </p:nvSpPr>
            <p:spPr>
              <a:xfrm>
                <a:off x="4732839" y="2752401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0 w 25231"/>
                  <a:gd name="connsiteY1" fmla="*/ 19748 h 28585"/>
                  <a:gd name="connsiteX2" fmla="*/ 20878 w 25231"/>
                  <a:gd name="connsiteY2" fmla="*/ 26268 h 28585"/>
                  <a:gd name="connsiteX3" fmla="*/ 13039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5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0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39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5" y="0"/>
                      <a:pt x="19427" y="1244"/>
                      <a:pt x="21745" y="3731"/>
                    </a:cubicBezTo>
                    <a:cubicBezTo>
                      <a:pt x="24063" y="6218"/>
                      <a:pt x="25231" y="9723"/>
                      <a:pt x="25231" y="14245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59" y="7631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12" name="Freihandform: Form 3511">
                <a:extLst>
                  <a:ext uri="{FF2B5EF4-FFF2-40B4-BE49-F238E27FC236}">
                    <a16:creationId xmlns:a16="http://schemas.microsoft.com/office/drawing/2014/main" id="{BDF0E870-C679-723A-8EA3-2ECF52254402}"/>
                  </a:ext>
                </a:extLst>
              </p:cNvPr>
              <p:cNvSpPr/>
              <p:nvPr/>
            </p:nvSpPr>
            <p:spPr>
              <a:xfrm>
                <a:off x="4763705" y="2752401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8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1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8"/>
                    </a:cubicBezTo>
                    <a:lnTo>
                      <a:pt x="13266" y="5785"/>
                    </a:lnTo>
                    <a:cubicBezTo>
                      <a:pt x="12135" y="5106"/>
                      <a:pt x="11004" y="4786"/>
                      <a:pt x="9874" y="4786"/>
                    </a:cubicBezTo>
                    <a:cubicBezTo>
                      <a:pt x="8856" y="4786"/>
                      <a:pt x="7952" y="5088"/>
                      <a:pt x="7141" y="5710"/>
                    </a:cubicBezTo>
                    <a:cubicBezTo>
                      <a:pt x="6331" y="6312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13" name="Freihandform: Form 3512">
                <a:extLst>
                  <a:ext uri="{FF2B5EF4-FFF2-40B4-BE49-F238E27FC236}">
                    <a16:creationId xmlns:a16="http://schemas.microsoft.com/office/drawing/2014/main" id="{9ADD4AAC-6244-F6C7-FBAF-67D3DFA1ED25}"/>
                  </a:ext>
                </a:extLst>
              </p:cNvPr>
              <p:cNvSpPr/>
              <p:nvPr/>
            </p:nvSpPr>
            <p:spPr>
              <a:xfrm>
                <a:off x="4778779" y="2743469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1 h 37272"/>
                  <a:gd name="connsiteX7" fmla="*/ 0 w 13341"/>
                  <a:gd name="connsiteY7" fmla="*/ 13171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3 h 37272"/>
                  <a:gd name="connsiteX13" fmla="*/ 12663 w 13341"/>
                  <a:gd name="connsiteY13" fmla="*/ 9553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4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0" y="33522"/>
                      <a:pt x="3392" y="31694"/>
                      <a:pt x="3392" y="28906"/>
                    </a:cubicBezTo>
                    <a:lnTo>
                      <a:pt x="3392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3"/>
                    </a:lnTo>
                    <a:lnTo>
                      <a:pt x="12663" y="9553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4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14" name="Freihandform: Form 3513">
                <a:extLst>
                  <a:ext uri="{FF2B5EF4-FFF2-40B4-BE49-F238E27FC236}">
                    <a16:creationId xmlns:a16="http://schemas.microsoft.com/office/drawing/2014/main" id="{51D85F52-E075-99B0-83EF-D7DB56DA4D5A}"/>
                  </a:ext>
                </a:extLst>
              </p:cNvPr>
              <p:cNvSpPr/>
              <p:nvPr/>
            </p:nvSpPr>
            <p:spPr>
              <a:xfrm>
                <a:off x="4794231" y="2752419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6"/>
                      <a:pt x="19446" y="26927"/>
                    </a:cubicBezTo>
                    <a:cubicBezTo>
                      <a:pt x="17430" y="28039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1"/>
                      <a:pt x="20897" y="14151"/>
                    </a:cubicBezTo>
                    <a:cubicBezTo>
                      <a:pt x="20897" y="10759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52" name="Grafik 21">
              <a:extLst>
                <a:ext uri="{FF2B5EF4-FFF2-40B4-BE49-F238E27FC236}">
                  <a16:creationId xmlns:a16="http://schemas.microsoft.com/office/drawing/2014/main" id="{1A8F7A51-9C61-7C67-C9E0-2D0C184AAA10}"/>
                </a:ext>
              </a:extLst>
            </p:cNvPr>
            <p:cNvGrpSpPr/>
            <p:nvPr/>
          </p:nvGrpSpPr>
          <p:grpSpPr>
            <a:xfrm>
              <a:off x="4837797" y="2742621"/>
              <a:ext cx="113945" cy="38383"/>
              <a:chOff x="4837797" y="2742621"/>
              <a:chExt cx="113945" cy="38383"/>
            </a:xfrm>
            <a:solidFill>
              <a:srgbClr val="000000"/>
            </a:solidFill>
          </p:grpSpPr>
          <p:sp>
            <p:nvSpPr>
              <p:cNvPr id="3504" name="Freihandform: Form 3503">
                <a:extLst>
                  <a:ext uri="{FF2B5EF4-FFF2-40B4-BE49-F238E27FC236}">
                    <a16:creationId xmlns:a16="http://schemas.microsoft.com/office/drawing/2014/main" id="{A25F6E58-DFF3-7ABB-D8D3-53450A16C1EB}"/>
                  </a:ext>
                </a:extLst>
              </p:cNvPr>
              <p:cNvSpPr/>
              <p:nvPr/>
            </p:nvSpPr>
            <p:spPr>
              <a:xfrm>
                <a:off x="4837797" y="2742621"/>
                <a:ext cx="28830" cy="37762"/>
              </a:xfrm>
              <a:custGeom>
                <a:avLst/>
                <a:gdLst>
                  <a:gd name="connsiteX0" fmla="*/ 0 w 28830"/>
                  <a:gd name="connsiteY0" fmla="*/ 37762 h 37762"/>
                  <a:gd name="connsiteX1" fmla="*/ 0 w 28830"/>
                  <a:gd name="connsiteY1" fmla="*/ 0 h 37762"/>
                  <a:gd name="connsiteX2" fmla="*/ 14246 w 28830"/>
                  <a:gd name="connsiteY2" fmla="*/ 0 h 37762"/>
                  <a:gd name="connsiteX3" fmla="*/ 19993 w 28830"/>
                  <a:gd name="connsiteY3" fmla="*/ 358 h 37762"/>
                  <a:gd name="connsiteX4" fmla="*/ 24647 w 28830"/>
                  <a:gd name="connsiteY4" fmla="*/ 2129 h 37762"/>
                  <a:gd name="connsiteX5" fmla="*/ 27681 w 28830"/>
                  <a:gd name="connsiteY5" fmla="*/ 5766 h 37762"/>
                  <a:gd name="connsiteX6" fmla="*/ 28830 w 28830"/>
                  <a:gd name="connsiteY6" fmla="*/ 10910 h 37762"/>
                  <a:gd name="connsiteX7" fmla="*/ 25759 w 28830"/>
                  <a:gd name="connsiteY7" fmla="*/ 19069 h 37762"/>
                  <a:gd name="connsiteX8" fmla="*/ 14679 w 28830"/>
                  <a:gd name="connsiteY8" fmla="*/ 22405 h 37762"/>
                  <a:gd name="connsiteX9" fmla="*/ 4994 w 28830"/>
                  <a:gd name="connsiteY9" fmla="*/ 22405 h 37762"/>
                  <a:gd name="connsiteX10" fmla="*/ 4994 w 28830"/>
                  <a:gd name="connsiteY10" fmla="*/ 37762 h 37762"/>
                  <a:gd name="connsiteX11" fmla="*/ 0 w 28830"/>
                  <a:gd name="connsiteY11" fmla="*/ 37762 h 37762"/>
                  <a:gd name="connsiteX12" fmla="*/ 4994 w 28830"/>
                  <a:gd name="connsiteY12" fmla="*/ 17958 h 37762"/>
                  <a:gd name="connsiteX13" fmla="*/ 14755 w 28830"/>
                  <a:gd name="connsiteY13" fmla="*/ 17958 h 37762"/>
                  <a:gd name="connsiteX14" fmla="*/ 21632 w 28830"/>
                  <a:gd name="connsiteY14" fmla="*/ 16149 h 37762"/>
                  <a:gd name="connsiteX15" fmla="*/ 23667 w 28830"/>
                  <a:gd name="connsiteY15" fmla="*/ 11080 h 37762"/>
                  <a:gd name="connsiteX16" fmla="*/ 22461 w 28830"/>
                  <a:gd name="connsiteY16" fmla="*/ 7029 h 37762"/>
                  <a:gd name="connsiteX17" fmla="*/ 19314 w 28830"/>
                  <a:gd name="connsiteY17" fmla="*/ 4805 h 37762"/>
                  <a:gd name="connsiteX18" fmla="*/ 14660 w 28830"/>
                  <a:gd name="connsiteY18" fmla="*/ 4466 h 37762"/>
                  <a:gd name="connsiteX19" fmla="*/ 4994 w 28830"/>
                  <a:gd name="connsiteY19" fmla="*/ 4466 h 37762"/>
                  <a:gd name="connsiteX20" fmla="*/ 4994 w 28830"/>
                  <a:gd name="connsiteY20" fmla="*/ 17958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8830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14246" y="0"/>
                    </a:lnTo>
                    <a:cubicBezTo>
                      <a:pt x="16752" y="0"/>
                      <a:pt x="18674" y="113"/>
                      <a:pt x="19993" y="358"/>
                    </a:cubicBezTo>
                    <a:cubicBezTo>
                      <a:pt x="21839" y="660"/>
                      <a:pt x="23404" y="1263"/>
                      <a:pt x="24647" y="2129"/>
                    </a:cubicBezTo>
                    <a:cubicBezTo>
                      <a:pt x="25910" y="2996"/>
                      <a:pt x="26908" y="4221"/>
                      <a:pt x="27681" y="5766"/>
                    </a:cubicBezTo>
                    <a:cubicBezTo>
                      <a:pt x="28453" y="7330"/>
                      <a:pt x="28830" y="9045"/>
                      <a:pt x="28830" y="10910"/>
                    </a:cubicBezTo>
                    <a:cubicBezTo>
                      <a:pt x="28830" y="14114"/>
                      <a:pt x="27813" y="16846"/>
                      <a:pt x="25759" y="19069"/>
                    </a:cubicBezTo>
                    <a:cubicBezTo>
                      <a:pt x="23724" y="21293"/>
                      <a:pt x="20031" y="22405"/>
                      <a:pt x="14679" y="22405"/>
                    </a:cubicBezTo>
                    <a:lnTo>
                      <a:pt x="4994" y="22405"/>
                    </a:lnTo>
                    <a:lnTo>
                      <a:pt x="4994" y="37762"/>
                    </a:lnTo>
                    <a:lnTo>
                      <a:pt x="0" y="37762"/>
                    </a:lnTo>
                    <a:close/>
                    <a:moveTo>
                      <a:pt x="4994" y="17958"/>
                    </a:moveTo>
                    <a:lnTo>
                      <a:pt x="14755" y="17958"/>
                    </a:lnTo>
                    <a:cubicBezTo>
                      <a:pt x="17977" y="17958"/>
                      <a:pt x="20275" y="17355"/>
                      <a:pt x="21632" y="16149"/>
                    </a:cubicBezTo>
                    <a:cubicBezTo>
                      <a:pt x="22989" y="14943"/>
                      <a:pt x="23667" y="13247"/>
                      <a:pt x="23667" y="11080"/>
                    </a:cubicBezTo>
                    <a:cubicBezTo>
                      <a:pt x="23667" y="9497"/>
                      <a:pt x="23272" y="8140"/>
                      <a:pt x="22461" y="7029"/>
                    </a:cubicBezTo>
                    <a:cubicBezTo>
                      <a:pt x="21651" y="5917"/>
                      <a:pt x="20615" y="5163"/>
                      <a:pt x="19314" y="4805"/>
                    </a:cubicBezTo>
                    <a:cubicBezTo>
                      <a:pt x="18467" y="4579"/>
                      <a:pt x="16921" y="4466"/>
                      <a:pt x="14660" y="4466"/>
                    </a:cubicBezTo>
                    <a:lnTo>
                      <a:pt x="4994" y="4466"/>
                    </a:lnTo>
                    <a:lnTo>
                      <a:pt x="4994" y="1795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05" name="Freihandform: Form 3504">
                <a:extLst>
                  <a:ext uri="{FF2B5EF4-FFF2-40B4-BE49-F238E27FC236}">
                    <a16:creationId xmlns:a16="http://schemas.microsoft.com/office/drawing/2014/main" id="{CA89632E-4C8E-0066-3FE7-934AF875C2D5}"/>
                  </a:ext>
                </a:extLst>
              </p:cNvPr>
              <p:cNvSpPr/>
              <p:nvPr/>
            </p:nvSpPr>
            <p:spPr>
              <a:xfrm>
                <a:off x="4872299" y="2742621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06" name="Freihandform: Form 3505">
                <a:extLst>
                  <a:ext uri="{FF2B5EF4-FFF2-40B4-BE49-F238E27FC236}">
                    <a16:creationId xmlns:a16="http://schemas.microsoft.com/office/drawing/2014/main" id="{87B0FA4A-068A-839A-BF8B-765571488BFC}"/>
                  </a:ext>
                </a:extLst>
              </p:cNvPr>
              <p:cNvSpPr/>
              <p:nvPr/>
            </p:nvSpPr>
            <p:spPr>
              <a:xfrm>
                <a:off x="4882550" y="2752382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1 w 25193"/>
                  <a:gd name="connsiteY11" fmla="*/ 5408 h 28622"/>
                  <a:gd name="connsiteX12" fmla="*/ 12474 w 25193"/>
                  <a:gd name="connsiteY12" fmla="*/ 3844 h 28622"/>
                  <a:gd name="connsiteX13" fmla="*/ 7651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6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6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1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6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07" name="Freihandform: Form 3506">
                <a:extLst>
                  <a:ext uri="{FF2B5EF4-FFF2-40B4-BE49-F238E27FC236}">
                    <a16:creationId xmlns:a16="http://schemas.microsoft.com/office/drawing/2014/main" id="{115AF10D-CC4D-D9ED-0F50-F6E4087D7C74}"/>
                  </a:ext>
                </a:extLst>
              </p:cNvPr>
              <p:cNvSpPr/>
              <p:nvPr/>
            </p:nvSpPr>
            <p:spPr>
              <a:xfrm>
                <a:off x="4910928" y="2743469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1 h 37272"/>
                  <a:gd name="connsiteX7" fmla="*/ 0 w 13341"/>
                  <a:gd name="connsiteY7" fmla="*/ 13171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3 h 37272"/>
                  <a:gd name="connsiteX13" fmla="*/ 12663 w 13341"/>
                  <a:gd name="connsiteY13" fmla="*/ 9553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4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0" y="33522"/>
                      <a:pt x="3392" y="31694"/>
                      <a:pt x="3392" y="28906"/>
                    </a:cubicBezTo>
                    <a:lnTo>
                      <a:pt x="3392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3"/>
                    </a:lnTo>
                    <a:lnTo>
                      <a:pt x="12663" y="9553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4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08" name="Freihandform: Form 3507">
                <a:extLst>
                  <a:ext uri="{FF2B5EF4-FFF2-40B4-BE49-F238E27FC236}">
                    <a16:creationId xmlns:a16="http://schemas.microsoft.com/office/drawing/2014/main" id="{E8DD2DA3-15DB-8CFB-8C53-F6CC9ACF7348}"/>
                  </a:ext>
                </a:extLst>
              </p:cNvPr>
              <p:cNvSpPr/>
              <p:nvPr/>
            </p:nvSpPr>
            <p:spPr>
              <a:xfrm>
                <a:off x="4926549" y="2752382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9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1 w 25193"/>
                  <a:gd name="connsiteY11" fmla="*/ 5408 h 28622"/>
                  <a:gd name="connsiteX12" fmla="*/ 12474 w 25193"/>
                  <a:gd name="connsiteY12" fmla="*/ 3844 h 28622"/>
                  <a:gd name="connsiteX13" fmla="*/ 7651 w 25193"/>
                  <a:gd name="connsiteY13" fmla="*/ 4994 h 28622"/>
                  <a:gd name="connsiteX14" fmla="*/ 5352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6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6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9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1" y="4994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53" name="Grafik 21">
              <a:extLst>
                <a:ext uri="{FF2B5EF4-FFF2-40B4-BE49-F238E27FC236}">
                  <a16:creationId xmlns:a16="http://schemas.microsoft.com/office/drawing/2014/main" id="{C0396A8A-7EC7-DC83-D618-003377DE9FBC}"/>
                </a:ext>
              </a:extLst>
            </p:cNvPr>
            <p:cNvGrpSpPr/>
            <p:nvPr/>
          </p:nvGrpSpPr>
          <p:grpSpPr>
            <a:xfrm>
              <a:off x="5889822" y="2622023"/>
              <a:ext cx="79179" cy="38402"/>
              <a:chOff x="5889822" y="2622023"/>
              <a:chExt cx="79179" cy="38402"/>
            </a:xfrm>
            <a:solidFill>
              <a:srgbClr val="000000"/>
            </a:solidFill>
          </p:grpSpPr>
          <p:sp>
            <p:nvSpPr>
              <p:cNvPr id="3501" name="Freihandform: Form 3500">
                <a:extLst>
                  <a:ext uri="{FF2B5EF4-FFF2-40B4-BE49-F238E27FC236}">
                    <a16:creationId xmlns:a16="http://schemas.microsoft.com/office/drawing/2014/main" id="{C5BFC149-DCE9-15A5-C7B0-26C775DD1D7B}"/>
                  </a:ext>
                </a:extLst>
              </p:cNvPr>
              <p:cNvSpPr/>
              <p:nvPr/>
            </p:nvSpPr>
            <p:spPr>
              <a:xfrm>
                <a:off x="5889822" y="2622023"/>
                <a:ext cx="23591" cy="37781"/>
              </a:xfrm>
              <a:custGeom>
                <a:avLst/>
                <a:gdLst>
                  <a:gd name="connsiteX0" fmla="*/ 0 w 23591"/>
                  <a:gd name="connsiteY0" fmla="*/ 37762 h 37781"/>
                  <a:gd name="connsiteX1" fmla="*/ 0 w 23591"/>
                  <a:gd name="connsiteY1" fmla="*/ 0 h 37781"/>
                  <a:gd name="connsiteX2" fmla="*/ 4994 w 23591"/>
                  <a:gd name="connsiteY2" fmla="*/ 0 h 37781"/>
                  <a:gd name="connsiteX3" fmla="*/ 4994 w 23591"/>
                  <a:gd name="connsiteY3" fmla="*/ 33315 h 37781"/>
                  <a:gd name="connsiteX4" fmla="*/ 23592 w 23591"/>
                  <a:gd name="connsiteY4" fmla="*/ 33315 h 37781"/>
                  <a:gd name="connsiteX5" fmla="*/ 23592 w 23591"/>
                  <a:gd name="connsiteY5" fmla="*/ 37781 h 37781"/>
                  <a:gd name="connsiteX6" fmla="*/ 0 w 23591"/>
                  <a:gd name="connsiteY6" fmla="*/ 37781 h 37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91" h="37781">
                    <a:moveTo>
                      <a:pt x="0" y="37762"/>
                    </a:moveTo>
                    <a:lnTo>
                      <a:pt x="0" y="0"/>
                    </a:lnTo>
                    <a:lnTo>
                      <a:pt x="4994" y="0"/>
                    </a:lnTo>
                    <a:lnTo>
                      <a:pt x="4994" y="33315"/>
                    </a:lnTo>
                    <a:lnTo>
                      <a:pt x="23592" y="33315"/>
                    </a:lnTo>
                    <a:lnTo>
                      <a:pt x="23592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02" name="Freihandform: Form 3501">
                <a:extLst>
                  <a:ext uri="{FF2B5EF4-FFF2-40B4-BE49-F238E27FC236}">
                    <a16:creationId xmlns:a16="http://schemas.microsoft.com/office/drawing/2014/main" id="{51864049-02D6-7A0B-7040-8E1B0EDDE3E1}"/>
                  </a:ext>
                </a:extLst>
              </p:cNvPr>
              <p:cNvSpPr/>
              <p:nvPr/>
            </p:nvSpPr>
            <p:spPr>
              <a:xfrm>
                <a:off x="5917202" y="2631784"/>
                <a:ext cx="25193" cy="28622"/>
              </a:xfrm>
              <a:custGeom>
                <a:avLst/>
                <a:gdLst>
                  <a:gd name="connsiteX0" fmla="*/ 19427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7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7" y="24628"/>
                    </a:moveTo>
                    <a:cubicBezTo>
                      <a:pt x="17713" y="26079"/>
                      <a:pt x="16054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7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94" y="1376"/>
                      <a:pt x="21349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80" y="27002"/>
                      <a:pt x="19559" y="25872"/>
                      <a:pt x="19427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03" name="Freihandform: Form 3502">
                <a:extLst>
                  <a:ext uri="{FF2B5EF4-FFF2-40B4-BE49-F238E27FC236}">
                    <a16:creationId xmlns:a16="http://schemas.microsoft.com/office/drawing/2014/main" id="{1B8C2552-7485-196E-98FE-224FE0D9150B}"/>
                  </a:ext>
                </a:extLst>
              </p:cNvPr>
              <p:cNvSpPr/>
              <p:nvPr/>
            </p:nvSpPr>
            <p:spPr>
              <a:xfrm>
                <a:off x="5946277" y="2631841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3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3 w 22725"/>
                  <a:gd name="connsiteY10" fmla="*/ 7876 h 28585"/>
                  <a:gd name="connsiteX11" fmla="*/ 1621 w 22725"/>
                  <a:gd name="connsiteY11" fmla="*/ 4485 h 28585"/>
                  <a:gd name="connsiteX12" fmla="*/ 3901 w 22725"/>
                  <a:gd name="connsiteY12" fmla="*/ 1903 h 28585"/>
                  <a:gd name="connsiteX13" fmla="*/ 6859 w 22725"/>
                  <a:gd name="connsiteY13" fmla="*/ 546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29 h 28585"/>
                  <a:gd name="connsiteX17" fmla="*/ 21708 w 22725"/>
                  <a:gd name="connsiteY17" fmla="*/ 7669 h 28585"/>
                  <a:gd name="connsiteX18" fmla="*/ 17166 w 22725"/>
                  <a:gd name="connsiteY18" fmla="*/ 8291 h 28585"/>
                  <a:gd name="connsiteX19" fmla="*/ 15376 w 22725"/>
                  <a:gd name="connsiteY19" fmla="*/ 4993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1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29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8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0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0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8" y="16997"/>
                      <a:pt x="11853" y="16375"/>
                    </a:cubicBezTo>
                    <a:cubicBezTo>
                      <a:pt x="8461" y="15508"/>
                      <a:pt x="6105" y="14773"/>
                      <a:pt x="4786" y="14151"/>
                    </a:cubicBezTo>
                    <a:cubicBezTo>
                      <a:pt x="3467" y="13529"/>
                      <a:pt x="2469" y="12663"/>
                      <a:pt x="1790" y="11551"/>
                    </a:cubicBezTo>
                    <a:cubicBezTo>
                      <a:pt x="1112" y="10439"/>
                      <a:pt x="773" y="9214"/>
                      <a:pt x="773" y="7876"/>
                    </a:cubicBezTo>
                    <a:cubicBezTo>
                      <a:pt x="773" y="6652"/>
                      <a:pt x="1055" y="5521"/>
                      <a:pt x="1621" y="4485"/>
                    </a:cubicBezTo>
                    <a:cubicBezTo>
                      <a:pt x="2167" y="3448"/>
                      <a:pt x="2940" y="2582"/>
                      <a:pt x="3901" y="1903"/>
                    </a:cubicBezTo>
                    <a:cubicBezTo>
                      <a:pt x="4617" y="1376"/>
                      <a:pt x="5596" y="923"/>
                      <a:pt x="6859" y="546"/>
                    </a:cubicBezTo>
                    <a:cubicBezTo>
                      <a:pt x="8103" y="170"/>
                      <a:pt x="9441" y="0"/>
                      <a:pt x="10854" y="0"/>
                    </a:cubicBezTo>
                    <a:cubicBezTo>
                      <a:pt x="13002" y="0"/>
                      <a:pt x="14886" y="301"/>
                      <a:pt x="16507" y="923"/>
                    </a:cubicBezTo>
                    <a:cubicBezTo>
                      <a:pt x="18127" y="1545"/>
                      <a:pt x="19333" y="2374"/>
                      <a:pt x="20106" y="3429"/>
                    </a:cubicBezTo>
                    <a:cubicBezTo>
                      <a:pt x="20878" y="4485"/>
                      <a:pt x="21406" y="5898"/>
                      <a:pt x="21708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3"/>
                    </a:cubicBezTo>
                    <a:cubicBezTo>
                      <a:pt x="14378" y="4202"/>
                      <a:pt x="12983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1" y="8951"/>
                    </a:cubicBezTo>
                    <a:cubicBezTo>
                      <a:pt x="6218" y="9441"/>
                      <a:pt x="6821" y="9855"/>
                      <a:pt x="7613" y="10194"/>
                    </a:cubicBezTo>
                    <a:cubicBezTo>
                      <a:pt x="8084" y="10364"/>
                      <a:pt x="9441" y="10759"/>
                      <a:pt x="11702" y="11381"/>
                    </a:cubicBezTo>
                    <a:cubicBezTo>
                      <a:pt x="14981" y="12248"/>
                      <a:pt x="17279" y="12983"/>
                      <a:pt x="18561" y="13529"/>
                    </a:cubicBezTo>
                    <a:cubicBezTo>
                      <a:pt x="19861" y="14095"/>
                      <a:pt x="20878" y="14905"/>
                      <a:pt x="21613" y="15960"/>
                    </a:cubicBezTo>
                    <a:cubicBezTo>
                      <a:pt x="22348" y="17034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8"/>
                      <a:pt x="13850" y="28585"/>
                      <a:pt x="11702" y="28585"/>
                    </a:cubicBezTo>
                    <a:cubicBezTo>
                      <a:pt x="8140" y="28585"/>
                      <a:pt x="5446" y="27850"/>
                      <a:pt x="3580" y="26362"/>
                    </a:cubicBezTo>
                    <a:cubicBezTo>
                      <a:pt x="1715" y="24892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54" name="Grafik 21">
              <a:extLst>
                <a:ext uri="{FF2B5EF4-FFF2-40B4-BE49-F238E27FC236}">
                  <a16:creationId xmlns:a16="http://schemas.microsoft.com/office/drawing/2014/main" id="{01B2A9A8-849B-8E1C-8DAD-FE18D472C16B}"/>
                </a:ext>
              </a:extLst>
            </p:cNvPr>
            <p:cNvGrpSpPr/>
            <p:nvPr/>
          </p:nvGrpSpPr>
          <p:grpSpPr>
            <a:xfrm>
              <a:off x="5988260" y="2622023"/>
              <a:ext cx="169816" cy="38402"/>
              <a:chOff x="5988260" y="2622023"/>
              <a:chExt cx="169816" cy="38402"/>
            </a:xfrm>
            <a:solidFill>
              <a:srgbClr val="000000"/>
            </a:solidFill>
          </p:grpSpPr>
          <p:sp>
            <p:nvSpPr>
              <p:cNvPr id="3495" name="Freihandform: Form 3494">
                <a:extLst>
                  <a:ext uri="{FF2B5EF4-FFF2-40B4-BE49-F238E27FC236}">
                    <a16:creationId xmlns:a16="http://schemas.microsoft.com/office/drawing/2014/main" id="{45A1BD8D-7C4A-3C1D-B173-6C4DEC4FF3EC}"/>
                  </a:ext>
                </a:extLst>
              </p:cNvPr>
              <p:cNvSpPr/>
              <p:nvPr/>
            </p:nvSpPr>
            <p:spPr>
              <a:xfrm>
                <a:off x="5988260" y="2622023"/>
                <a:ext cx="28830" cy="37762"/>
              </a:xfrm>
              <a:custGeom>
                <a:avLst/>
                <a:gdLst>
                  <a:gd name="connsiteX0" fmla="*/ 0 w 28830"/>
                  <a:gd name="connsiteY0" fmla="*/ 37762 h 37762"/>
                  <a:gd name="connsiteX1" fmla="*/ 0 w 28830"/>
                  <a:gd name="connsiteY1" fmla="*/ 0 h 37762"/>
                  <a:gd name="connsiteX2" fmla="*/ 14245 w 28830"/>
                  <a:gd name="connsiteY2" fmla="*/ 0 h 37762"/>
                  <a:gd name="connsiteX3" fmla="*/ 19993 w 28830"/>
                  <a:gd name="connsiteY3" fmla="*/ 358 h 37762"/>
                  <a:gd name="connsiteX4" fmla="*/ 24647 w 28830"/>
                  <a:gd name="connsiteY4" fmla="*/ 2129 h 37762"/>
                  <a:gd name="connsiteX5" fmla="*/ 27681 w 28830"/>
                  <a:gd name="connsiteY5" fmla="*/ 5766 h 37762"/>
                  <a:gd name="connsiteX6" fmla="*/ 28830 w 28830"/>
                  <a:gd name="connsiteY6" fmla="*/ 10910 h 37762"/>
                  <a:gd name="connsiteX7" fmla="*/ 25759 w 28830"/>
                  <a:gd name="connsiteY7" fmla="*/ 19069 h 37762"/>
                  <a:gd name="connsiteX8" fmla="*/ 14679 w 28830"/>
                  <a:gd name="connsiteY8" fmla="*/ 22405 h 37762"/>
                  <a:gd name="connsiteX9" fmla="*/ 4994 w 28830"/>
                  <a:gd name="connsiteY9" fmla="*/ 22405 h 37762"/>
                  <a:gd name="connsiteX10" fmla="*/ 4994 w 28830"/>
                  <a:gd name="connsiteY10" fmla="*/ 37762 h 37762"/>
                  <a:gd name="connsiteX11" fmla="*/ 0 w 28830"/>
                  <a:gd name="connsiteY11" fmla="*/ 37762 h 37762"/>
                  <a:gd name="connsiteX12" fmla="*/ 4994 w 28830"/>
                  <a:gd name="connsiteY12" fmla="*/ 17958 h 37762"/>
                  <a:gd name="connsiteX13" fmla="*/ 14754 w 28830"/>
                  <a:gd name="connsiteY13" fmla="*/ 17958 h 37762"/>
                  <a:gd name="connsiteX14" fmla="*/ 21632 w 28830"/>
                  <a:gd name="connsiteY14" fmla="*/ 16149 h 37762"/>
                  <a:gd name="connsiteX15" fmla="*/ 23667 w 28830"/>
                  <a:gd name="connsiteY15" fmla="*/ 11080 h 37762"/>
                  <a:gd name="connsiteX16" fmla="*/ 22461 w 28830"/>
                  <a:gd name="connsiteY16" fmla="*/ 7029 h 37762"/>
                  <a:gd name="connsiteX17" fmla="*/ 19314 w 28830"/>
                  <a:gd name="connsiteY17" fmla="*/ 4805 h 37762"/>
                  <a:gd name="connsiteX18" fmla="*/ 14660 w 28830"/>
                  <a:gd name="connsiteY18" fmla="*/ 4466 h 37762"/>
                  <a:gd name="connsiteX19" fmla="*/ 4994 w 28830"/>
                  <a:gd name="connsiteY19" fmla="*/ 4466 h 37762"/>
                  <a:gd name="connsiteX20" fmla="*/ 4994 w 28830"/>
                  <a:gd name="connsiteY20" fmla="*/ 17958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8830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14245" y="0"/>
                    </a:lnTo>
                    <a:cubicBezTo>
                      <a:pt x="16752" y="0"/>
                      <a:pt x="18674" y="113"/>
                      <a:pt x="19993" y="358"/>
                    </a:cubicBezTo>
                    <a:cubicBezTo>
                      <a:pt x="21839" y="660"/>
                      <a:pt x="23404" y="1263"/>
                      <a:pt x="24647" y="2129"/>
                    </a:cubicBezTo>
                    <a:cubicBezTo>
                      <a:pt x="25891" y="2996"/>
                      <a:pt x="26908" y="4221"/>
                      <a:pt x="27681" y="5766"/>
                    </a:cubicBezTo>
                    <a:cubicBezTo>
                      <a:pt x="28453" y="7330"/>
                      <a:pt x="28830" y="9045"/>
                      <a:pt x="28830" y="10910"/>
                    </a:cubicBezTo>
                    <a:cubicBezTo>
                      <a:pt x="28830" y="14114"/>
                      <a:pt x="27813" y="16846"/>
                      <a:pt x="25759" y="19069"/>
                    </a:cubicBezTo>
                    <a:cubicBezTo>
                      <a:pt x="23705" y="21293"/>
                      <a:pt x="20031" y="22405"/>
                      <a:pt x="14679" y="22405"/>
                    </a:cubicBezTo>
                    <a:lnTo>
                      <a:pt x="4994" y="22405"/>
                    </a:lnTo>
                    <a:lnTo>
                      <a:pt x="4994" y="37762"/>
                    </a:lnTo>
                    <a:lnTo>
                      <a:pt x="0" y="37762"/>
                    </a:lnTo>
                    <a:close/>
                    <a:moveTo>
                      <a:pt x="4994" y="17958"/>
                    </a:moveTo>
                    <a:lnTo>
                      <a:pt x="14754" y="17958"/>
                    </a:lnTo>
                    <a:cubicBezTo>
                      <a:pt x="17977" y="17958"/>
                      <a:pt x="20275" y="17355"/>
                      <a:pt x="21632" y="16149"/>
                    </a:cubicBezTo>
                    <a:cubicBezTo>
                      <a:pt x="22989" y="14943"/>
                      <a:pt x="23667" y="13247"/>
                      <a:pt x="23667" y="11080"/>
                    </a:cubicBezTo>
                    <a:cubicBezTo>
                      <a:pt x="23667" y="9497"/>
                      <a:pt x="23272" y="8140"/>
                      <a:pt x="22461" y="7029"/>
                    </a:cubicBezTo>
                    <a:cubicBezTo>
                      <a:pt x="21651" y="5917"/>
                      <a:pt x="20615" y="5163"/>
                      <a:pt x="19314" y="4805"/>
                    </a:cubicBezTo>
                    <a:cubicBezTo>
                      <a:pt x="18466" y="4579"/>
                      <a:pt x="16921" y="4466"/>
                      <a:pt x="14660" y="4466"/>
                    </a:cubicBezTo>
                    <a:lnTo>
                      <a:pt x="4994" y="4466"/>
                    </a:lnTo>
                    <a:lnTo>
                      <a:pt x="4994" y="1795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96" name="Freihandform: Form 3495">
                <a:extLst>
                  <a:ext uri="{FF2B5EF4-FFF2-40B4-BE49-F238E27FC236}">
                    <a16:creationId xmlns:a16="http://schemas.microsoft.com/office/drawing/2014/main" id="{87C9C6B7-73BF-5603-089F-0A5D1DAD8367}"/>
                  </a:ext>
                </a:extLst>
              </p:cNvPr>
              <p:cNvSpPr/>
              <p:nvPr/>
            </p:nvSpPr>
            <p:spPr>
              <a:xfrm>
                <a:off x="6021293" y="2631784"/>
                <a:ext cx="25174" cy="28622"/>
              </a:xfrm>
              <a:custGeom>
                <a:avLst/>
                <a:gdLst>
                  <a:gd name="connsiteX0" fmla="*/ 19427 w 25174"/>
                  <a:gd name="connsiteY0" fmla="*/ 24628 h 28622"/>
                  <a:gd name="connsiteX1" fmla="*/ 14472 w 25174"/>
                  <a:gd name="connsiteY1" fmla="*/ 27719 h 28622"/>
                  <a:gd name="connsiteX2" fmla="*/ 9365 w 25174"/>
                  <a:gd name="connsiteY2" fmla="*/ 28623 h 28622"/>
                  <a:gd name="connsiteX3" fmla="*/ 2431 w 25174"/>
                  <a:gd name="connsiteY3" fmla="*/ 26418 h 28622"/>
                  <a:gd name="connsiteX4" fmla="*/ 0 w 25174"/>
                  <a:gd name="connsiteY4" fmla="*/ 20784 h 28622"/>
                  <a:gd name="connsiteX5" fmla="*/ 904 w 25174"/>
                  <a:gd name="connsiteY5" fmla="*/ 17110 h 28622"/>
                  <a:gd name="connsiteX6" fmla="*/ 3298 w 25174"/>
                  <a:gd name="connsiteY6" fmla="*/ 14434 h 28622"/>
                  <a:gd name="connsiteX7" fmla="*/ 6633 w 25174"/>
                  <a:gd name="connsiteY7" fmla="*/ 12908 h 28622"/>
                  <a:gd name="connsiteX8" fmla="*/ 10759 w 25174"/>
                  <a:gd name="connsiteY8" fmla="*/ 12210 h 28622"/>
                  <a:gd name="connsiteX9" fmla="*/ 19032 w 25174"/>
                  <a:gd name="connsiteY9" fmla="*/ 10609 h 28622"/>
                  <a:gd name="connsiteX10" fmla="*/ 19051 w 25174"/>
                  <a:gd name="connsiteY10" fmla="*/ 9403 h 28622"/>
                  <a:gd name="connsiteX11" fmla="*/ 17731 w 25174"/>
                  <a:gd name="connsiteY11" fmla="*/ 5408 h 28622"/>
                  <a:gd name="connsiteX12" fmla="*/ 12455 w 25174"/>
                  <a:gd name="connsiteY12" fmla="*/ 3844 h 28622"/>
                  <a:gd name="connsiteX13" fmla="*/ 7631 w 25174"/>
                  <a:gd name="connsiteY13" fmla="*/ 4994 h 28622"/>
                  <a:gd name="connsiteX14" fmla="*/ 5333 w 25174"/>
                  <a:gd name="connsiteY14" fmla="*/ 9045 h 28622"/>
                  <a:gd name="connsiteX15" fmla="*/ 791 w 25174"/>
                  <a:gd name="connsiteY15" fmla="*/ 8423 h 28622"/>
                  <a:gd name="connsiteX16" fmla="*/ 2827 w 25174"/>
                  <a:gd name="connsiteY16" fmla="*/ 3712 h 28622"/>
                  <a:gd name="connsiteX17" fmla="*/ 6915 w 25174"/>
                  <a:gd name="connsiteY17" fmla="*/ 961 h 28622"/>
                  <a:gd name="connsiteX18" fmla="*/ 13115 w 25174"/>
                  <a:gd name="connsiteY18" fmla="*/ 0 h 28622"/>
                  <a:gd name="connsiteX19" fmla="*/ 18806 w 25174"/>
                  <a:gd name="connsiteY19" fmla="*/ 829 h 28622"/>
                  <a:gd name="connsiteX20" fmla="*/ 22028 w 25174"/>
                  <a:gd name="connsiteY20" fmla="*/ 2902 h 28622"/>
                  <a:gd name="connsiteX21" fmla="*/ 23479 w 25174"/>
                  <a:gd name="connsiteY21" fmla="*/ 6049 h 28622"/>
                  <a:gd name="connsiteX22" fmla="*/ 23705 w 25174"/>
                  <a:gd name="connsiteY22" fmla="*/ 10326 h 28622"/>
                  <a:gd name="connsiteX23" fmla="*/ 23705 w 25174"/>
                  <a:gd name="connsiteY23" fmla="*/ 16507 h 28622"/>
                  <a:gd name="connsiteX24" fmla="*/ 24006 w 25174"/>
                  <a:gd name="connsiteY24" fmla="*/ 24685 h 28622"/>
                  <a:gd name="connsiteX25" fmla="*/ 25175 w 25174"/>
                  <a:gd name="connsiteY25" fmla="*/ 27963 h 28622"/>
                  <a:gd name="connsiteX26" fmla="*/ 20332 w 25174"/>
                  <a:gd name="connsiteY26" fmla="*/ 27963 h 28622"/>
                  <a:gd name="connsiteX27" fmla="*/ 19409 w 25174"/>
                  <a:gd name="connsiteY27" fmla="*/ 24590 h 28622"/>
                  <a:gd name="connsiteX28" fmla="*/ 19032 w 25174"/>
                  <a:gd name="connsiteY28" fmla="*/ 14264 h 28622"/>
                  <a:gd name="connsiteX29" fmla="*/ 11457 w 25174"/>
                  <a:gd name="connsiteY29" fmla="*/ 16017 h 28622"/>
                  <a:gd name="connsiteX30" fmla="*/ 7405 w 25174"/>
                  <a:gd name="connsiteY30" fmla="*/ 16940 h 28622"/>
                  <a:gd name="connsiteX31" fmla="*/ 5578 w 25174"/>
                  <a:gd name="connsiteY31" fmla="*/ 18448 h 28622"/>
                  <a:gd name="connsiteX32" fmla="*/ 4937 w 25174"/>
                  <a:gd name="connsiteY32" fmla="*/ 20652 h 28622"/>
                  <a:gd name="connsiteX33" fmla="*/ 6331 w 25174"/>
                  <a:gd name="connsiteY33" fmla="*/ 23743 h 28622"/>
                  <a:gd name="connsiteX34" fmla="*/ 10439 w 25174"/>
                  <a:gd name="connsiteY34" fmla="*/ 24986 h 28622"/>
                  <a:gd name="connsiteX35" fmla="*/ 15207 w 25174"/>
                  <a:gd name="connsiteY35" fmla="*/ 23818 h 28622"/>
                  <a:gd name="connsiteX36" fmla="*/ 18278 w 25174"/>
                  <a:gd name="connsiteY36" fmla="*/ 20615 h 28622"/>
                  <a:gd name="connsiteX37" fmla="*/ 19032 w 25174"/>
                  <a:gd name="connsiteY37" fmla="*/ 15979 h 28622"/>
                  <a:gd name="connsiteX38" fmla="*/ 19032 w 25174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74" h="28622">
                    <a:moveTo>
                      <a:pt x="19427" y="24628"/>
                    </a:moveTo>
                    <a:cubicBezTo>
                      <a:pt x="17713" y="26079"/>
                      <a:pt x="16054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04" y="17110"/>
                    </a:cubicBezTo>
                    <a:cubicBezTo>
                      <a:pt x="1507" y="15998"/>
                      <a:pt x="2318" y="15112"/>
                      <a:pt x="3298" y="14434"/>
                    </a:cubicBezTo>
                    <a:cubicBezTo>
                      <a:pt x="4277" y="13756"/>
                      <a:pt x="5408" y="13266"/>
                      <a:pt x="6633" y="12908"/>
                    </a:cubicBezTo>
                    <a:cubicBezTo>
                      <a:pt x="7537" y="12663"/>
                      <a:pt x="8913" y="12437"/>
                      <a:pt x="10759" y="12210"/>
                    </a:cubicBezTo>
                    <a:cubicBezTo>
                      <a:pt x="14509" y="11758"/>
                      <a:pt x="17260" y="11231"/>
                      <a:pt x="19032" y="10609"/>
                    </a:cubicBezTo>
                    <a:cubicBezTo>
                      <a:pt x="19032" y="9968"/>
                      <a:pt x="19051" y="9572"/>
                      <a:pt x="19051" y="9403"/>
                    </a:cubicBezTo>
                    <a:cubicBezTo>
                      <a:pt x="19051" y="7518"/>
                      <a:pt x="18617" y="6181"/>
                      <a:pt x="17731" y="5408"/>
                    </a:cubicBezTo>
                    <a:cubicBezTo>
                      <a:pt x="16544" y="4353"/>
                      <a:pt x="14792" y="3844"/>
                      <a:pt x="12455" y="3844"/>
                    </a:cubicBezTo>
                    <a:cubicBezTo>
                      <a:pt x="10270" y="3844"/>
                      <a:pt x="8668" y="4221"/>
                      <a:pt x="7631" y="4994"/>
                    </a:cubicBezTo>
                    <a:cubicBezTo>
                      <a:pt x="6595" y="5766"/>
                      <a:pt x="5823" y="7104"/>
                      <a:pt x="5333" y="9045"/>
                    </a:cubicBezTo>
                    <a:lnTo>
                      <a:pt x="791" y="8423"/>
                    </a:lnTo>
                    <a:cubicBezTo>
                      <a:pt x="1206" y="6482"/>
                      <a:pt x="1884" y="4918"/>
                      <a:pt x="2827" y="3712"/>
                    </a:cubicBezTo>
                    <a:cubicBezTo>
                      <a:pt x="3769" y="2525"/>
                      <a:pt x="5125" y="1602"/>
                      <a:pt x="6915" y="961"/>
                    </a:cubicBezTo>
                    <a:cubicBezTo>
                      <a:pt x="8706" y="320"/>
                      <a:pt x="10759" y="0"/>
                      <a:pt x="13115" y="0"/>
                    </a:cubicBezTo>
                    <a:cubicBezTo>
                      <a:pt x="15470" y="0"/>
                      <a:pt x="17355" y="283"/>
                      <a:pt x="18806" y="829"/>
                    </a:cubicBezTo>
                    <a:cubicBezTo>
                      <a:pt x="20257" y="1376"/>
                      <a:pt x="21331" y="2073"/>
                      <a:pt x="22028" y="2902"/>
                    </a:cubicBezTo>
                    <a:cubicBezTo>
                      <a:pt x="22706" y="3731"/>
                      <a:pt x="23196" y="4786"/>
                      <a:pt x="23479" y="6049"/>
                    </a:cubicBezTo>
                    <a:cubicBezTo>
                      <a:pt x="23629" y="6840"/>
                      <a:pt x="23705" y="8272"/>
                      <a:pt x="23705" y="10326"/>
                    </a:cubicBezTo>
                    <a:lnTo>
                      <a:pt x="23705" y="16507"/>
                    </a:lnTo>
                    <a:cubicBezTo>
                      <a:pt x="23705" y="20822"/>
                      <a:pt x="23799" y="23535"/>
                      <a:pt x="24006" y="24685"/>
                    </a:cubicBezTo>
                    <a:cubicBezTo>
                      <a:pt x="24214" y="25834"/>
                      <a:pt x="24590" y="26927"/>
                      <a:pt x="25175" y="27963"/>
                    </a:cubicBezTo>
                    <a:lnTo>
                      <a:pt x="20332" y="27963"/>
                    </a:lnTo>
                    <a:cubicBezTo>
                      <a:pt x="19842" y="27002"/>
                      <a:pt x="19541" y="25872"/>
                      <a:pt x="19409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31" y="23743"/>
                    </a:cubicBezTo>
                    <a:cubicBezTo>
                      <a:pt x="7274" y="24572"/>
                      <a:pt x="8630" y="24986"/>
                      <a:pt x="10439" y="24986"/>
                    </a:cubicBezTo>
                    <a:cubicBezTo>
                      <a:pt x="12248" y="24986"/>
                      <a:pt x="13812" y="24590"/>
                      <a:pt x="15207" y="23818"/>
                    </a:cubicBezTo>
                    <a:cubicBezTo>
                      <a:pt x="16601" y="23045"/>
                      <a:pt x="17619" y="21971"/>
                      <a:pt x="18278" y="20615"/>
                    </a:cubicBezTo>
                    <a:cubicBezTo>
                      <a:pt x="18768" y="19559"/>
                      <a:pt x="19032" y="18014"/>
                      <a:pt x="19032" y="15979"/>
                    </a:cubicBezTo>
                    <a:lnTo>
                      <a:pt x="19032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97" name="Freihandform: Form 3496">
                <a:extLst>
                  <a:ext uri="{FF2B5EF4-FFF2-40B4-BE49-F238E27FC236}">
                    <a16:creationId xmlns:a16="http://schemas.microsoft.com/office/drawing/2014/main" id="{6C74EE4C-B6C7-7BE4-71E7-189C66FC34D6}"/>
                  </a:ext>
                </a:extLst>
              </p:cNvPr>
              <p:cNvSpPr/>
              <p:nvPr/>
            </p:nvSpPr>
            <p:spPr>
              <a:xfrm>
                <a:off x="6052102" y="2622023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98" name="Freihandform: Form 3497">
                <a:extLst>
                  <a:ext uri="{FF2B5EF4-FFF2-40B4-BE49-F238E27FC236}">
                    <a16:creationId xmlns:a16="http://schemas.microsoft.com/office/drawing/2014/main" id="{F9DF8B36-E882-7EC9-9BF0-CED18A81491A}"/>
                  </a:ext>
                </a:extLst>
              </p:cNvPr>
              <p:cNvSpPr/>
              <p:nvPr/>
            </p:nvSpPr>
            <p:spPr>
              <a:xfrm>
                <a:off x="6063879" y="2631803"/>
                <a:ext cx="37083" cy="27982"/>
              </a:xfrm>
              <a:custGeom>
                <a:avLst/>
                <a:gdLst>
                  <a:gd name="connsiteX0" fmla="*/ 38 w 37083"/>
                  <a:gd name="connsiteY0" fmla="*/ 27982 h 27982"/>
                  <a:gd name="connsiteX1" fmla="*/ 38 w 37083"/>
                  <a:gd name="connsiteY1" fmla="*/ 622 h 27982"/>
                  <a:gd name="connsiteX2" fmla="*/ 4183 w 37083"/>
                  <a:gd name="connsiteY2" fmla="*/ 622 h 27982"/>
                  <a:gd name="connsiteX3" fmla="*/ 4183 w 37083"/>
                  <a:gd name="connsiteY3" fmla="*/ 4466 h 27982"/>
                  <a:gd name="connsiteX4" fmla="*/ 7613 w 37083"/>
                  <a:gd name="connsiteY4" fmla="*/ 1225 h 27982"/>
                  <a:gd name="connsiteX5" fmla="*/ 12474 w 37083"/>
                  <a:gd name="connsiteY5" fmla="*/ 0 h 27982"/>
                  <a:gd name="connsiteX6" fmla="*/ 17449 w 37083"/>
                  <a:gd name="connsiteY6" fmla="*/ 1262 h 27982"/>
                  <a:gd name="connsiteX7" fmla="*/ 20200 w 37083"/>
                  <a:gd name="connsiteY7" fmla="*/ 4786 h 27982"/>
                  <a:gd name="connsiteX8" fmla="*/ 28642 w 37083"/>
                  <a:gd name="connsiteY8" fmla="*/ 0 h 27982"/>
                  <a:gd name="connsiteX9" fmla="*/ 34898 w 37083"/>
                  <a:gd name="connsiteY9" fmla="*/ 2261 h 27982"/>
                  <a:gd name="connsiteX10" fmla="*/ 37084 w 37083"/>
                  <a:gd name="connsiteY10" fmla="*/ 9196 h 27982"/>
                  <a:gd name="connsiteX11" fmla="*/ 37084 w 37083"/>
                  <a:gd name="connsiteY11" fmla="*/ 27982 h 27982"/>
                  <a:gd name="connsiteX12" fmla="*/ 32467 w 37083"/>
                  <a:gd name="connsiteY12" fmla="*/ 27982 h 27982"/>
                  <a:gd name="connsiteX13" fmla="*/ 32467 w 37083"/>
                  <a:gd name="connsiteY13" fmla="*/ 10741 h 27982"/>
                  <a:gd name="connsiteX14" fmla="*/ 32015 w 37083"/>
                  <a:gd name="connsiteY14" fmla="*/ 6727 h 27982"/>
                  <a:gd name="connsiteX15" fmla="*/ 30376 w 37083"/>
                  <a:gd name="connsiteY15" fmla="*/ 4749 h 27982"/>
                  <a:gd name="connsiteX16" fmla="*/ 27587 w 37083"/>
                  <a:gd name="connsiteY16" fmla="*/ 3995 h 27982"/>
                  <a:gd name="connsiteX17" fmla="*/ 22800 w 37083"/>
                  <a:gd name="connsiteY17" fmla="*/ 5917 h 27982"/>
                  <a:gd name="connsiteX18" fmla="*/ 20897 w 37083"/>
                  <a:gd name="connsiteY18" fmla="*/ 12060 h 27982"/>
                  <a:gd name="connsiteX19" fmla="*/ 20897 w 37083"/>
                  <a:gd name="connsiteY19" fmla="*/ 27963 h 27982"/>
                  <a:gd name="connsiteX20" fmla="*/ 16262 w 37083"/>
                  <a:gd name="connsiteY20" fmla="*/ 27963 h 27982"/>
                  <a:gd name="connsiteX21" fmla="*/ 16262 w 37083"/>
                  <a:gd name="connsiteY21" fmla="*/ 10194 h 27982"/>
                  <a:gd name="connsiteX22" fmla="*/ 15131 w 37083"/>
                  <a:gd name="connsiteY22" fmla="*/ 5559 h 27982"/>
                  <a:gd name="connsiteX23" fmla="*/ 11419 w 37083"/>
                  <a:gd name="connsiteY23" fmla="*/ 4014 h 27982"/>
                  <a:gd name="connsiteX24" fmla="*/ 7801 w 37083"/>
                  <a:gd name="connsiteY24" fmla="*/ 5050 h 27982"/>
                  <a:gd name="connsiteX25" fmla="*/ 5389 w 37083"/>
                  <a:gd name="connsiteY25" fmla="*/ 8065 h 27982"/>
                  <a:gd name="connsiteX26" fmla="*/ 4635 w 37083"/>
                  <a:gd name="connsiteY26" fmla="*/ 13793 h 27982"/>
                  <a:gd name="connsiteX27" fmla="*/ 4635 w 37083"/>
                  <a:gd name="connsiteY27" fmla="*/ 27982 h 27982"/>
                  <a:gd name="connsiteX28" fmla="*/ 0 w 37083"/>
                  <a:gd name="connsiteY28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7083" h="27982">
                    <a:moveTo>
                      <a:pt x="38" y="27982"/>
                    </a:moveTo>
                    <a:lnTo>
                      <a:pt x="38" y="622"/>
                    </a:lnTo>
                    <a:lnTo>
                      <a:pt x="4183" y="622"/>
                    </a:lnTo>
                    <a:lnTo>
                      <a:pt x="4183" y="4466"/>
                    </a:lnTo>
                    <a:cubicBezTo>
                      <a:pt x="5050" y="3128"/>
                      <a:pt x="6181" y="2054"/>
                      <a:pt x="7613" y="1225"/>
                    </a:cubicBezTo>
                    <a:cubicBezTo>
                      <a:pt x="9045" y="414"/>
                      <a:pt x="10665" y="0"/>
                      <a:pt x="12474" y="0"/>
                    </a:cubicBezTo>
                    <a:cubicBezTo>
                      <a:pt x="14490" y="0"/>
                      <a:pt x="16168" y="414"/>
                      <a:pt x="17449" y="1262"/>
                    </a:cubicBezTo>
                    <a:cubicBezTo>
                      <a:pt x="18749" y="2110"/>
                      <a:pt x="19654" y="3279"/>
                      <a:pt x="20200" y="4786"/>
                    </a:cubicBezTo>
                    <a:cubicBezTo>
                      <a:pt x="22367" y="1583"/>
                      <a:pt x="25175" y="0"/>
                      <a:pt x="28642" y="0"/>
                    </a:cubicBezTo>
                    <a:cubicBezTo>
                      <a:pt x="31355" y="0"/>
                      <a:pt x="33447" y="754"/>
                      <a:pt x="34898" y="2261"/>
                    </a:cubicBezTo>
                    <a:cubicBezTo>
                      <a:pt x="36349" y="3769"/>
                      <a:pt x="37084" y="6086"/>
                      <a:pt x="37084" y="9196"/>
                    </a:cubicBezTo>
                    <a:lnTo>
                      <a:pt x="37084" y="27982"/>
                    </a:lnTo>
                    <a:lnTo>
                      <a:pt x="32467" y="27982"/>
                    </a:lnTo>
                    <a:lnTo>
                      <a:pt x="32467" y="10741"/>
                    </a:lnTo>
                    <a:cubicBezTo>
                      <a:pt x="32467" y="8894"/>
                      <a:pt x="32316" y="7556"/>
                      <a:pt x="32015" y="6727"/>
                    </a:cubicBezTo>
                    <a:cubicBezTo>
                      <a:pt x="31713" y="5917"/>
                      <a:pt x="31167" y="5257"/>
                      <a:pt x="30376" y="4749"/>
                    </a:cubicBezTo>
                    <a:cubicBezTo>
                      <a:pt x="29584" y="4259"/>
                      <a:pt x="28661" y="3995"/>
                      <a:pt x="27587" y="3995"/>
                    </a:cubicBezTo>
                    <a:cubicBezTo>
                      <a:pt x="25665" y="3995"/>
                      <a:pt x="24063" y="4635"/>
                      <a:pt x="22800" y="5917"/>
                    </a:cubicBezTo>
                    <a:cubicBezTo>
                      <a:pt x="21519" y="7198"/>
                      <a:pt x="20897" y="9252"/>
                      <a:pt x="20897" y="12060"/>
                    </a:cubicBezTo>
                    <a:lnTo>
                      <a:pt x="20897" y="27963"/>
                    </a:lnTo>
                    <a:lnTo>
                      <a:pt x="16262" y="27963"/>
                    </a:lnTo>
                    <a:lnTo>
                      <a:pt x="16262" y="10194"/>
                    </a:lnTo>
                    <a:cubicBezTo>
                      <a:pt x="16262" y="8140"/>
                      <a:pt x="15885" y="6595"/>
                      <a:pt x="15131" y="5559"/>
                    </a:cubicBezTo>
                    <a:cubicBezTo>
                      <a:pt x="14378" y="4522"/>
                      <a:pt x="13134" y="4014"/>
                      <a:pt x="11419" y="4014"/>
                    </a:cubicBezTo>
                    <a:cubicBezTo>
                      <a:pt x="10119" y="4014"/>
                      <a:pt x="8913" y="4353"/>
                      <a:pt x="7801" y="5050"/>
                    </a:cubicBezTo>
                    <a:cubicBezTo>
                      <a:pt x="6689" y="5747"/>
                      <a:pt x="5898" y="6746"/>
                      <a:pt x="5389" y="8065"/>
                    </a:cubicBezTo>
                    <a:cubicBezTo>
                      <a:pt x="4880" y="9384"/>
                      <a:pt x="4635" y="11287"/>
                      <a:pt x="4635" y="13793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99" name="Freihandform: Form 3498">
                <a:extLst>
                  <a:ext uri="{FF2B5EF4-FFF2-40B4-BE49-F238E27FC236}">
                    <a16:creationId xmlns:a16="http://schemas.microsoft.com/office/drawing/2014/main" id="{31AB7C01-439B-B10F-94B7-636336C42272}"/>
                  </a:ext>
                </a:extLst>
              </p:cNvPr>
              <p:cNvSpPr/>
              <p:nvPr/>
            </p:nvSpPr>
            <p:spPr>
              <a:xfrm>
                <a:off x="6106295" y="2631784"/>
                <a:ext cx="25174" cy="28622"/>
              </a:xfrm>
              <a:custGeom>
                <a:avLst/>
                <a:gdLst>
                  <a:gd name="connsiteX0" fmla="*/ 19428 w 25174"/>
                  <a:gd name="connsiteY0" fmla="*/ 24628 h 28622"/>
                  <a:gd name="connsiteX1" fmla="*/ 14472 w 25174"/>
                  <a:gd name="connsiteY1" fmla="*/ 27719 h 28622"/>
                  <a:gd name="connsiteX2" fmla="*/ 9365 w 25174"/>
                  <a:gd name="connsiteY2" fmla="*/ 28623 h 28622"/>
                  <a:gd name="connsiteX3" fmla="*/ 2431 w 25174"/>
                  <a:gd name="connsiteY3" fmla="*/ 26418 h 28622"/>
                  <a:gd name="connsiteX4" fmla="*/ 0 w 25174"/>
                  <a:gd name="connsiteY4" fmla="*/ 20784 h 28622"/>
                  <a:gd name="connsiteX5" fmla="*/ 904 w 25174"/>
                  <a:gd name="connsiteY5" fmla="*/ 17110 h 28622"/>
                  <a:gd name="connsiteX6" fmla="*/ 3298 w 25174"/>
                  <a:gd name="connsiteY6" fmla="*/ 14434 h 28622"/>
                  <a:gd name="connsiteX7" fmla="*/ 6633 w 25174"/>
                  <a:gd name="connsiteY7" fmla="*/ 12908 h 28622"/>
                  <a:gd name="connsiteX8" fmla="*/ 10759 w 25174"/>
                  <a:gd name="connsiteY8" fmla="*/ 12210 h 28622"/>
                  <a:gd name="connsiteX9" fmla="*/ 19032 w 25174"/>
                  <a:gd name="connsiteY9" fmla="*/ 10609 h 28622"/>
                  <a:gd name="connsiteX10" fmla="*/ 19050 w 25174"/>
                  <a:gd name="connsiteY10" fmla="*/ 9403 h 28622"/>
                  <a:gd name="connsiteX11" fmla="*/ 17731 w 25174"/>
                  <a:gd name="connsiteY11" fmla="*/ 5408 h 28622"/>
                  <a:gd name="connsiteX12" fmla="*/ 12455 w 25174"/>
                  <a:gd name="connsiteY12" fmla="*/ 3844 h 28622"/>
                  <a:gd name="connsiteX13" fmla="*/ 7632 w 25174"/>
                  <a:gd name="connsiteY13" fmla="*/ 4994 h 28622"/>
                  <a:gd name="connsiteX14" fmla="*/ 5333 w 25174"/>
                  <a:gd name="connsiteY14" fmla="*/ 9045 h 28622"/>
                  <a:gd name="connsiteX15" fmla="*/ 791 w 25174"/>
                  <a:gd name="connsiteY15" fmla="*/ 8423 h 28622"/>
                  <a:gd name="connsiteX16" fmla="*/ 2827 w 25174"/>
                  <a:gd name="connsiteY16" fmla="*/ 3712 h 28622"/>
                  <a:gd name="connsiteX17" fmla="*/ 6915 w 25174"/>
                  <a:gd name="connsiteY17" fmla="*/ 961 h 28622"/>
                  <a:gd name="connsiteX18" fmla="*/ 13115 w 25174"/>
                  <a:gd name="connsiteY18" fmla="*/ 0 h 28622"/>
                  <a:gd name="connsiteX19" fmla="*/ 18806 w 25174"/>
                  <a:gd name="connsiteY19" fmla="*/ 829 h 28622"/>
                  <a:gd name="connsiteX20" fmla="*/ 22028 w 25174"/>
                  <a:gd name="connsiteY20" fmla="*/ 2902 h 28622"/>
                  <a:gd name="connsiteX21" fmla="*/ 23479 w 25174"/>
                  <a:gd name="connsiteY21" fmla="*/ 6049 h 28622"/>
                  <a:gd name="connsiteX22" fmla="*/ 23705 w 25174"/>
                  <a:gd name="connsiteY22" fmla="*/ 10326 h 28622"/>
                  <a:gd name="connsiteX23" fmla="*/ 23705 w 25174"/>
                  <a:gd name="connsiteY23" fmla="*/ 16507 h 28622"/>
                  <a:gd name="connsiteX24" fmla="*/ 24006 w 25174"/>
                  <a:gd name="connsiteY24" fmla="*/ 24685 h 28622"/>
                  <a:gd name="connsiteX25" fmla="*/ 25174 w 25174"/>
                  <a:gd name="connsiteY25" fmla="*/ 27963 h 28622"/>
                  <a:gd name="connsiteX26" fmla="*/ 20332 w 25174"/>
                  <a:gd name="connsiteY26" fmla="*/ 27963 h 28622"/>
                  <a:gd name="connsiteX27" fmla="*/ 19409 w 25174"/>
                  <a:gd name="connsiteY27" fmla="*/ 24590 h 28622"/>
                  <a:gd name="connsiteX28" fmla="*/ 19032 w 25174"/>
                  <a:gd name="connsiteY28" fmla="*/ 14264 h 28622"/>
                  <a:gd name="connsiteX29" fmla="*/ 11457 w 25174"/>
                  <a:gd name="connsiteY29" fmla="*/ 16017 h 28622"/>
                  <a:gd name="connsiteX30" fmla="*/ 7405 w 25174"/>
                  <a:gd name="connsiteY30" fmla="*/ 16940 h 28622"/>
                  <a:gd name="connsiteX31" fmla="*/ 5578 w 25174"/>
                  <a:gd name="connsiteY31" fmla="*/ 18448 h 28622"/>
                  <a:gd name="connsiteX32" fmla="*/ 4937 w 25174"/>
                  <a:gd name="connsiteY32" fmla="*/ 20652 h 28622"/>
                  <a:gd name="connsiteX33" fmla="*/ 6331 w 25174"/>
                  <a:gd name="connsiteY33" fmla="*/ 23743 h 28622"/>
                  <a:gd name="connsiteX34" fmla="*/ 10439 w 25174"/>
                  <a:gd name="connsiteY34" fmla="*/ 24986 h 28622"/>
                  <a:gd name="connsiteX35" fmla="*/ 15207 w 25174"/>
                  <a:gd name="connsiteY35" fmla="*/ 23818 h 28622"/>
                  <a:gd name="connsiteX36" fmla="*/ 18278 w 25174"/>
                  <a:gd name="connsiteY36" fmla="*/ 20615 h 28622"/>
                  <a:gd name="connsiteX37" fmla="*/ 19032 w 25174"/>
                  <a:gd name="connsiteY37" fmla="*/ 15979 h 28622"/>
                  <a:gd name="connsiteX38" fmla="*/ 19032 w 25174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74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04" y="17110"/>
                    </a:cubicBezTo>
                    <a:cubicBezTo>
                      <a:pt x="1508" y="15998"/>
                      <a:pt x="2318" y="15112"/>
                      <a:pt x="3298" y="14434"/>
                    </a:cubicBezTo>
                    <a:cubicBezTo>
                      <a:pt x="4277" y="13756"/>
                      <a:pt x="5408" y="13266"/>
                      <a:pt x="6633" y="12908"/>
                    </a:cubicBezTo>
                    <a:cubicBezTo>
                      <a:pt x="7537" y="12663"/>
                      <a:pt x="8913" y="12437"/>
                      <a:pt x="10759" y="12210"/>
                    </a:cubicBezTo>
                    <a:cubicBezTo>
                      <a:pt x="14509" y="11758"/>
                      <a:pt x="17260" y="11231"/>
                      <a:pt x="19032" y="10609"/>
                    </a:cubicBezTo>
                    <a:cubicBezTo>
                      <a:pt x="19032" y="9968"/>
                      <a:pt x="19050" y="9572"/>
                      <a:pt x="19050" y="9403"/>
                    </a:cubicBezTo>
                    <a:cubicBezTo>
                      <a:pt x="19050" y="7518"/>
                      <a:pt x="18617" y="6181"/>
                      <a:pt x="17731" y="5408"/>
                    </a:cubicBezTo>
                    <a:cubicBezTo>
                      <a:pt x="16545" y="4353"/>
                      <a:pt x="14792" y="3844"/>
                      <a:pt x="12455" y="3844"/>
                    </a:cubicBezTo>
                    <a:cubicBezTo>
                      <a:pt x="10270" y="3844"/>
                      <a:pt x="8668" y="4221"/>
                      <a:pt x="7632" y="4994"/>
                    </a:cubicBezTo>
                    <a:cubicBezTo>
                      <a:pt x="6595" y="5766"/>
                      <a:pt x="5823" y="7104"/>
                      <a:pt x="5333" y="9045"/>
                    </a:cubicBezTo>
                    <a:lnTo>
                      <a:pt x="791" y="8423"/>
                    </a:lnTo>
                    <a:cubicBezTo>
                      <a:pt x="1206" y="6482"/>
                      <a:pt x="1884" y="4918"/>
                      <a:pt x="2827" y="3712"/>
                    </a:cubicBezTo>
                    <a:cubicBezTo>
                      <a:pt x="3769" y="2525"/>
                      <a:pt x="5125" y="1602"/>
                      <a:pt x="6915" y="961"/>
                    </a:cubicBezTo>
                    <a:cubicBezTo>
                      <a:pt x="8705" y="320"/>
                      <a:pt x="10759" y="0"/>
                      <a:pt x="13115" y="0"/>
                    </a:cubicBezTo>
                    <a:cubicBezTo>
                      <a:pt x="15470" y="0"/>
                      <a:pt x="17355" y="283"/>
                      <a:pt x="18806" y="829"/>
                    </a:cubicBezTo>
                    <a:cubicBezTo>
                      <a:pt x="20257" y="1376"/>
                      <a:pt x="21331" y="2073"/>
                      <a:pt x="22028" y="2902"/>
                    </a:cubicBezTo>
                    <a:cubicBezTo>
                      <a:pt x="22706" y="3731"/>
                      <a:pt x="23196" y="4786"/>
                      <a:pt x="23479" y="6049"/>
                    </a:cubicBezTo>
                    <a:cubicBezTo>
                      <a:pt x="23630" y="6840"/>
                      <a:pt x="23705" y="8272"/>
                      <a:pt x="23705" y="10326"/>
                    </a:cubicBezTo>
                    <a:lnTo>
                      <a:pt x="23705" y="16507"/>
                    </a:lnTo>
                    <a:cubicBezTo>
                      <a:pt x="23705" y="20822"/>
                      <a:pt x="23799" y="23535"/>
                      <a:pt x="24006" y="24685"/>
                    </a:cubicBezTo>
                    <a:cubicBezTo>
                      <a:pt x="24213" y="25834"/>
                      <a:pt x="24591" y="26927"/>
                      <a:pt x="25174" y="27963"/>
                    </a:cubicBezTo>
                    <a:lnTo>
                      <a:pt x="20332" y="27963"/>
                    </a:lnTo>
                    <a:cubicBezTo>
                      <a:pt x="19842" y="27002"/>
                      <a:pt x="19540" y="25872"/>
                      <a:pt x="19409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31" y="23743"/>
                    </a:cubicBezTo>
                    <a:cubicBezTo>
                      <a:pt x="7273" y="24572"/>
                      <a:pt x="8630" y="24986"/>
                      <a:pt x="10439" y="24986"/>
                    </a:cubicBezTo>
                    <a:cubicBezTo>
                      <a:pt x="12248" y="24986"/>
                      <a:pt x="13812" y="24590"/>
                      <a:pt x="15207" y="23818"/>
                    </a:cubicBezTo>
                    <a:cubicBezTo>
                      <a:pt x="16601" y="23045"/>
                      <a:pt x="17618" y="21971"/>
                      <a:pt x="18278" y="20615"/>
                    </a:cubicBezTo>
                    <a:cubicBezTo>
                      <a:pt x="18768" y="19559"/>
                      <a:pt x="19032" y="18014"/>
                      <a:pt x="19032" y="15979"/>
                    </a:cubicBezTo>
                    <a:lnTo>
                      <a:pt x="19032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00" name="Freihandform: Form 3499">
                <a:extLst>
                  <a:ext uri="{FF2B5EF4-FFF2-40B4-BE49-F238E27FC236}">
                    <a16:creationId xmlns:a16="http://schemas.microsoft.com/office/drawing/2014/main" id="{334C0241-AEDE-C763-A7C1-4E0B72B4B55D}"/>
                  </a:ext>
                </a:extLst>
              </p:cNvPr>
              <p:cNvSpPr/>
              <p:nvPr/>
            </p:nvSpPr>
            <p:spPr>
              <a:xfrm>
                <a:off x="6135370" y="2631841"/>
                <a:ext cx="22706" cy="28585"/>
              </a:xfrm>
              <a:custGeom>
                <a:avLst/>
                <a:gdLst>
                  <a:gd name="connsiteX0" fmla="*/ 0 w 22706"/>
                  <a:gd name="connsiteY0" fmla="*/ 19786 h 28585"/>
                  <a:gd name="connsiteX1" fmla="*/ 4579 w 22706"/>
                  <a:gd name="connsiteY1" fmla="*/ 19069 h 28585"/>
                  <a:gd name="connsiteX2" fmla="*/ 6727 w 22706"/>
                  <a:gd name="connsiteY2" fmla="*/ 23290 h 28585"/>
                  <a:gd name="connsiteX3" fmla="*/ 11664 w 22706"/>
                  <a:gd name="connsiteY3" fmla="*/ 24760 h 28585"/>
                  <a:gd name="connsiteX4" fmla="*/ 16413 w 22706"/>
                  <a:gd name="connsiteY4" fmla="*/ 23460 h 28585"/>
                  <a:gd name="connsiteX5" fmla="*/ 17958 w 22706"/>
                  <a:gd name="connsiteY5" fmla="*/ 20407 h 28585"/>
                  <a:gd name="connsiteX6" fmla="*/ 16601 w 22706"/>
                  <a:gd name="connsiteY6" fmla="*/ 17939 h 28585"/>
                  <a:gd name="connsiteX7" fmla="*/ 11853 w 22706"/>
                  <a:gd name="connsiteY7" fmla="*/ 16375 h 28585"/>
                  <a:gd name="connsiteX8" fmla="*/ 4786 w 22706"/>
                  <a:gd name="connsiteY8" fmla="*/ 14151 h 28585"/>
                  <a:gd name="connsiteX9" fmla="*/ 1790 w 22706"/>
                  <a:gd name="connsiteY9" fmla="*/ 11551 h 28585"/>
                  <a:gd name="connsiteX10" fmla="*/ 773 w 22706"/>
                  <a:gd name="connsiteY10" fmla="*/ 7876 h 28585"/>
                  <a:gd name="connsiteX11" fmla="*/ 1602 w 22706"/>
                  <a:gd name="connsiteY11" fmla="*/ 4485 h 28585"/>
                  <a:gd name="connsiteX12" fmla="*/ 3882 w 22706"/>
                  <a:gd name="connsiteY12" fmla="*/ 1903 h 28585"/>
                  <a:gd name="connsiteX13" fmla="*/ 6822 w 22706"/>
                  <a:gd name="connsiteY13" fmla="*/ 546 h 28585"/>
                  <a:gd name="connsiteX14" fmla="*/ 10835 w 22706"/>
                  <a:gd name="connsiteY14" fmla="*/ 0 h 28585"/>
                  <a:gd name="connsiteX15" fmla="*/ 16488 w 22706"/>
                  <a:gd name="connsiteY15" fmla="*/ 923 h 28585"/>
                  <a:gd name="connsiteX16" fmla="*/ 20087 w 22706"/>
                  <a:gd name="connsiteY16" fmla="*/ 3429 h 28585"/>
                  <a:gd name="connsiteX17" fmla="*/ 21689 w 22706"/>
                  <a:gd name="connsiteY17" fmla="*/ 7669 h 28585"/>
                  <a:gd name="connsiteX18" fmla="*/ 17148 w 22706"/>
                  <a:gd name="connsiteY18" fmla="*/ 8291 h 28585"/>
                  <a:gd name="connsiteX19" fmla="*/ 15358 w 22706"/>
                  <a:gd name="connsiteY19" fmla="*/ 4993 h 28585"/>
                  <a:gd name="connsiteX20" fmla="*/ 11174 w 22706"/>
                  <a:gd name="connsiteY20" fmla="*/ 3806 h 28585"/>
                  <a:gd name="connsiteX21" fmla="*/ 6614 w 22706"/>
                  <a:gd name="connsiteY21" fmla="*/ 4862 h 28585"/>
                  <a:gd name="connsiteX22" fmla="*/ 5257 w 22706"/>
                  <a:gd name="connsiteY22" fmla="*/ 7330 h 28585"/>
                  <a:gd name="connsiteX23" fmla="*/ 5823 w 22706"/>
                  <a:gd name="connsiteY23" fmla="*/ 8951 h 28585"/>
                  <a:gd name="connsiteX24" fmla="*/ 7594 w 22706"/>
                  <a:gd name="connsiteY24" fmla="*/ 10194 h 28585"/>
                  <a:gd name="connsiteX25" fmla="*/ 11683 w 22706"/>
                  <a:gd name="connsiteY25" fmla="*/ 11381 h 28585"/>
                  <a:gd name="connsiteX26" fmla="*/ 18542 w 22706"/>
                  <a:gd name="connsiteY26" fmla="*/ 13529 h 28585"/>
                  <a:gd name="connsiteX27" fmla="*/ 21594 w 22706"/>
                  <a:gd name="connsiteY27" fmla="*/ 15960 h 28585"/>
                  <a:gd name="connsiteX28" fmla="*/ 22706 w 22706"/>
                  <a:gd name="connsiteY28" fmla="*/ 19936 h 28585"/>
                  <a:gd name="connsiteX29" fmla="*/ 21350 w 22706"/>
                  <a:gd name="connsiteY29" fmla="*/ 24308 h 28585"/>
                  <a:gd name="connsiteX30" fmla="*/ 17449 w 22706"/>
                  <a:gd name="connsiteY30" fmla="*/ 27474 h 28585"/>
                  <a:gd name="connsiteX31" fmla="*/ 11683 w 22706"/>
                  <a:gd name="connsiteY31" fmla="*/ 28585 h 28585"/>
                  <a:gd name="connsiteX32" fmla="*/ 3562 w 22706"/>
                  <a:gd name="connsiteY32" fmla="*/ 26362 h 28585"/>
                  <a:gd name="connsiteX33" fmla="*/ 0 w 22706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06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0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8" y="16997"/>
                      <a:pt x="11853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29"/>
                      <a:pt x="2469" y="12663"/>
                      <a:pt x="1790" y="11551"/>
                    </a:cubicBezTo>
                    <a:cubicBezTo>
                      <a:pt x="1112" y="10439"/>
                      <a:pt x="773" y="9214"/>
                      <a:pt x="773" y="7876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67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22" y="546"/>
                    </a:cubicBezTo>
                    <a:cubicBezTo>
                      <a:pt x="8065" y="170"/>
                      <a:pt x="9403" y="0"/>
                      <a:pt x="10835" y="0"/>
                    </a:cubicBezTo>
                    <a:cubicBezTo>
                      <a:pt x="12983" y="0"/>
                      <a:pt x="14868" y="301"/>
                      <a:pt x="16488" y="923"/>
                    </a:cubicBezTo>
                    <a:cubicBezTo>
                      <a:pt x="18109" y="1545"/>
                      <a:pt x="19314" y="2374"/>
                      <a:pt x="20087" y="3429"/>
                    </a:cubicBezTo>
                    <a:cubicBezTo>
                      <a:pt x="20860" y="4485"/>
                      <a:pt x="21387" y="5898"/>
                      <a:pt x="21689" y="7669"/>
                    </a:cubicBezTo>
                    <a:lnTo>
                      <a:pt x="17148" y="8291"/>
                    </a:lnTo>
                    <a:cubicBezTo>
                      <a:pt x="16940" y="6878"/>
                      <a:pt x="16337" y="5785"/>
                      <a:pt x="15358" y="4993"/>
                    </a:cubicBezTo>
                    <a:cubicBezTo>
                      <a:pt x="14378" y="4202"/>
                      <a:pt x="12983" y="3806"/>
                      <a:pt x="11174" y="3806"/>
                    </a:cubicBezTo>
                    <a:cubicBezTo>
                      <a:pt x="9045" y="3806"/>
                      <a:pt x="7518" y="4164"/>
                      <a:pt x="6614" y="4862"/>
                    </a:cubicBezTo>
                    <a:cubicBezTo>
                      <a:pt x="5710" y="5559"/>
                      <a:pt x="5257" y="6388"/>
                      <a:pt x="5257" y="7330"/>
                    </a:cubicBezTo>
                    <a:cubicBezTo>
                      <a:pt x="5257" y="7933"/>
                      <a:pt x="5446" y="8480"/>
                      <a:pt x="5823" y="8951"/>
                    </a:cubicBezTo>
                    <a:cubicBezTo>
                      <a:pt x="6200" y="9441"/>
                      <a:pt x="6784" y="9855"/>
                      <a:pt x="7594" y="10194"/>
                    </a:cubicBezTo>
                    <a:cubicBezTo>
                      <a:pt x="8065" y="10364"/>
                      <a:pt x="9422" y="10759"/>
                      <a:pt x="11683" y="11381"/>
                    </a:cubicBezTo>
                    <a:cubicBezTo>
                      <a:pt x="14962" y="12248"/>
                      <a:pt x="17261" y="12983"/>
                      <a:pt x="18542" y="13529"/>
                    </a:cubicBezTo>
                    <a:cubicBezTo>
                      <a:pt x="19842" y="14095"/>
                      <a:pt x="20860" y="14905"/>
                      <a:pt x="21594" y="15960"/>
                    </a:cubicBezTo>
                    <a:cubicBezTo>
                      <a:pt x="22330" y="17034"/>
                      <a:pt x="22706" y="18353"/>
                      <a:pt x="22706" y="19936"/>
                    </a:cubicBezTo>
                    <a:cubicBezTo>
                      <a:pt x="22706" y="21519"/>
                      <a:pt x="22254" y="22932"/>
                      <a:pt x="21350" y="24308"/>
                    </a:cubicBezTo>
                    <a:cubicBezTo>
                      <a:pt x="20445" y="25684"/>
                      <a:pt x="19145" y="26739"/>
                      <a:pt x="17449" y="27474"/>
                    </a:cubicBezTo>
                    <a:cubicBezTo>
                      <a:pt x="15753" y="28208"/>
                      <a:pt x="13831" y="28585"/>
                      <a:pt x="11683" y="28585"/>
                    </a:cubicBezTo>
                    <a:cubicBezTo>
                      <a:pt x="8122" y="28585"/>
                      <a:pt x="5408" y="27850"/>
                      <a:pt x="3562" y="26362"/>
                    </a:cubicBezTo>
                    <a:cubicBezTo>
                      <a:pt x="1696" y="24892"/>
                      <a:pt x="509" y="22687"/>
                      <a:pt x="0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55" name="Grafik 21">
              <a:extLst>
                <a:ext uri="{FF2B5EF4-FFF2-40B4-BE49-F238E27FC236}">
                  <a16:creationId xmlns:a16="http://schemas.microsoft.com/office/drawing/2014/main" id="{59C1B43F-C332-FA80-D60D-5233C94A65CC}"/>
                </a:ext>
              </a:extLst>
            </p:cNvPr>
            <p:cNvGrpSpPr/>
            <p:nvPr/>
          </p:nvGrpSpPr>
          <p:grpSpPr>
            <a:xfrm>
              <a:off x="4590854" y="2024688"/>
              <a:ext cx="101094" cy="38365"/>
              <a:chOff x="4590854" y="2024688"/>
              <a:chExt cx="101094" cy="38365"/>
            </a:xfrm>
            <a:solidFill>
              <a:srgbClr val="000000"/>
            </a:solidFill>
          </p:grpSpPr>
          <p:sp>
            <p:nvSpPr>
              <p:cNvPr id="3492" name="Freihandform: Form 3491">
                <a:extLst>
                  <a:ext uri="{FF2B5EF4-FFF2-40B4-BE49-F238E27FC236}">
                    <a16:creationId xmlns:a16="http://schemas.microsoft.com/office/drawing/2014/main" id="{5F14E7D7-C3C3-5D3F-3447-B8173191415A}"/>
                  </a:ext>
                </a:extLst>
              </p:cNvPr>
              <p:cNvSpPr/>
              <p:nvPr/>
            </p:nvSpPr>
            <p:spPr>
              <a:xfrm>
                <a:off x="4590854" y="2024688"/>
                <a:ext cx="29753" cy="37762"/>
              </a:xfrm>
              <a:custGeom>
                <a:avLst/>
                <a:gdLst>
                  <a:gd name="connsiteX0" fmla="*/ 0 w 29753"/>
                  <a:gd name="connsiteY0" fmla="*/ 37762 h 37762"/>
                  <a:gd name="connsiteX1" fmla="*/ 0 w 29753"/>
                  <a:gd name="connsiteY1" fmla="*/ 0 h 37762"/>
                  <a:gd name="connsiteX2" fmla="*/ 5125 w 29753"/>
                  <a:gd name="connsiteY2" fmla="*/ 0 h 37762"/>
                  <a:gd name="connsiteX3" fmla="*/ 24967 w 29753"/>
                  <a:gd name="connsiteY3" fmla="*/ 29659 h 37762"/>
                  <a:gd name="connsiteX4" fmla="*/ 24967 w 29753"/>
                  <a:gd name="connsiteY4" fmla="*/ 0 h 37762"/>
                  <a:gd name="connsiteX5" fmla="*/ 29754 w 29753"/>
                  <a:gd name="connsiteY5" fmla="*/ 0 h 37762"/>
                  <a:gd name="connsiteX6" fmla="*/ 29754 w 29753"/>
                  <a:gd name="connsiteY6" fmla="*/ 37762 h 37762"/>
                  <a:gd name="connsiteX7" fmla="*/ 24628 w 29753"/>
                  <a:gd name="connsiteY7" fmla="*/ 37762 h 37762"/>
                  <a:gd name="connsiteX8" fmla="*/ 4786 w 29753"/>
                  <a:gd name="connsiteY8" fmla="*/ 8084 h 37762"/>
                  <a:gd name="connsiteX9" fmla="*/ 4786 w 29753"/>
                  <a:gd name="connsiteY9" fmla="*/ 37762 h 37762"/>
                  <a:gd name="connsiteX10" fmla="*/ 0 w 29753"/>
                  <a:gd name="connsiteY10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753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5125" y="0"/>
                    </a:lnTo>
                    <a:lnTo>
                      <a:pt x="24967" y="29659"/>
                    </a:lnTo>
                    <a:lnTo>
                      <a:pt x="24967" y="0"/>
                    </a:lnTo>
                    <a:lnTo>
                      <a:pt x="29754" y="0"/>
                    </a:lnTo>
                    <a:lnTo>
                      <a:pt x="29754" y="37762"/>
                    </a:lnTo>
                    <a:lnTo>
                      <a:pt x="24628" y="37762"/>
                    </a:lnTo>
                    <a:lnTo>
                      <a:pt x="4786" y="8084"/>
                    </a:lnTo>
                    <a:lnTo>
                      <a:pt x="478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93" name="Freihandform: Form 3492">
                <a:extLst>
                  <a:ext uri="{FF2B5EF4-FFF2-40B4-BE49-F238E27FC236}">
                    <a16:creationId xmlns:a16="http://schemas.microsoft.com/office/drawing/2014/main" id="{658A5A75-9AE9-F198-6A03-6D49A2521941}"/>
                  </a:ext>
                </a:extLst>
              </p:cNvPr>
              <p:cNvSpPr/>
              <p:nvPr/>
            </p:nvSpPr>
            <p:spPr>
              <a:xfrm>
                <a:off x="4626864" y="2034468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0 w 25231"/>
                  <a:gd name="connsiteY1" fmla="*/ 19748 h 28585"/>
                  <a:gd name="connsiteX2" fmla="*/ 20878 w 25231"/>
                  <a:gd name="connsiteY2" fmla="*/ 26268 h 28585"/>
                  <a:gd name="connsiteX3" fmla="*/ 13039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0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39" y="28585"/>
                    </a:cubicBezTo>
                    <a:cubicBezTo>
                      <a:pt x="9045" y="28585"/>
                      <a:pt x="5860" y="27360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4" y="0"/>
                      <a:pt x="19427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94" name="Freihandform: Form 3493">
                <a:extLst>
                  <a:ext uri="{FF2B5EF4-FFF2-40B4-BE49-F238E27FC236}">
                    <a16:creationId xmlns:a16="http://schemas.microsoft.com/office/drawing/2014/main" id="{5D9944B9-069D-BA5F-7259-0F067EAF1438}"/>
                  </a:ext>
                </a:extLst>
              </p:cNvPr>
              <p:cNvSpPr/>
              <p:nvPr/>
            </p:nvSpPr>
            <p:spPr>
              <a:xfrm>
                <a:off x="4654451" y="2035090"/>
                <a:ext cx="37498" cy="27398"/>
              </a:xfrm>
              <a:custGeom>
                <a:avLst/>
                <a:gdLst>
                  <a:gd name="connsiteX0" fmla="*/ 8366 w 37498"/>
                  <a:gd name="connsiteY0" fmla="*/ 27361 h 27398"/>
                  <a:gd name="connsiteX1" fmla="*/ 0 w 37498"/>
                  <a:gd name="connsiteY1" fmla="*/ 0 h 27398"/>
                  <a:gd name="connsiteX2" fmla="*/ 4786 w 37498"/>
                  <a:gd name="connsiteY2" fmla="*/ 0 h 27398"/>
                  <a:gd name="connsiteX3" fmla="*/ 9139 w 37498"/>
                  <a:gd name="connsiteY3" fmla="*/ 15791 h 27398"/>
                  <a:gd name="connsiteX4" fmla="*/ 10759 w 37498"/>
                  <a:gd name="connsiteY4" fmla="*/ 21670 h 27398"/>
                  <a:gd name="connsiteX5" fmla="*/ 12173 w 37498"/>
                  <a:gd name="connsiteY5" fmla="*/ 16036 h 27398"/>
                  <a:gd name="connsiteX6" fmla="*/ 16525 w 37498"/>
                  <a:gd name="connsiteY6" fmla="*/ 19 h 27398"/>
                  <a:gd name="connsiteX7" fmla="*/ 21293 w 37498"/>
                  <a:gd name="connsiteY7" fmla="*/ 19 h 27398"/>
                  <a:gd name="connsiteX8" fmla="*/ 25382 w 37498"/>
                  <a:gd name="connsiteY8" fmla="*/ 15885 h 27398"/>
                  <a:gd name="connsiteX9" fmla="*/ 26739 w 37498"/>
                  <a:gd name="connsiteY9" fmla="*/ 21123 h 27398"/>
                  <a:gd name="connsiteX10" fmla="*/ 28303 w 37498"/>
                  <a:gd name="connsiteY10" fmla="*/ 15847 h 27398"/>
                  <a:gd name="connsiteX11" fmla="*/ 32995 w 37498"/>
                  <a:gd name="connsiteY11" fmla="*/ 38 h 27398"/>
                  <a:gd name="connsiteX12" fmla="*/ 37498 w 37498"/>
                  <a:gd name="connsiteY12" fmla="*/ 38 h 27398"/>
                  <a:gd name="connsiteX13" fmla="*/ 28943 w 37498"/>
                  <a:gd name="connsiteY13" fmla="*/ 27398 h 27398"/>
                  <a:gd name="connsiteX14" fmla="*/ 24119 w 37498"/>
                  <a:gd name="connsiteY14" fmla="*/ 27398 h 27398"/>
                  <a:gd name="connsiteX15" fmla="*/ 19767 w 37498"/>
                  <a:gd name="connsiteY15" fmla="*/ 11005 h 27398"/>
                  <a:gd name="connsiteX16" fmla="*/ 18711 w 37498"/>
                  <a:gd name="connsiteY16" fmla="*/ 6350 h 27398"/>
                  <a:gd name="connsiteX17" fmla="*/ 13172 w 37498"/>
                  <a:gd name="connsiteY17" fmla="*/ 27398 h 27398"/>
                  <a:gd name="connsiteX18" fmla="*/ 8329 w 37498"/>
                  <a:gd name="connsiteY18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7498" h="27398">
                    <a:moveTo>
                      <a:pt x="8366" y="27361"/>
                    </a:moveTo>
                    <a:lnTo>
                      <a:pt x="0" y="0"/>
                    </a:lnTo>
                    <a:lnTo>
                      <a:pt x="4786" y="0"/>
                    </a:lnTo>
                    <a:lnTo>
                      <a:pt x="9139" y="15791"/>
                    </a:lnTo>
                    <a:lnTo>
                      <a:pt x="10759" y="21670"/>
                    </a:lnTo>
                    <a:cubicBezTo>
                      <a:pt x="10835" y="21368"/>
                      <a:pt x="11306" y="19503"/>
                      <a:pt x="12173" y="16036"/>
                    </a:cubicBezTo>
                    <a:lnTo>
                      <a:pt x="16525" y="19"/>
                    </a:lnTo>
                    <a:lnTo>
                      <a:pt x="21293" y="19"/>
                    </a:lnTo>
                    <a:lnTo>
                      <a:pt x="25382" y="15885"/>
                    </a:lnTo>
                    <a:lnTo>
                      <a:pt x="26739" y="21123"/>
                    </a:lnTo>
                    <a:lnTo>
                      <a:pt x="28303" y="15847"/>
                    </a:lnTo>
                    <a:lnTo>
                      <a:pt x="32995" y="38"/>
                    </a:lnTo>
                    <a:lnTo>
                      <a:pt x="37498" y="38"/>
                    </a:lnTo>
                    <a:lnTo>
                      <a:pt x="28943" y="27398"/>
                    </a:lnTo>
                    <a:lnTo>
                      <a:pt x="24119" y="27398"/>
                    </a:lnTo>
                    <a:lnTo>
                      <a:pt x="19767" y="11005"/>
                    </a:lnTo>
                    <a:lnTo>
                      <a:pt x="18711" y="6350"/>
                    </a:lnTo>
                    <a:lnTo>
                      <a:pt x="13172" y="27398"/>
                    </a:lnTo>
                    <a:lnTo>
                      <a:pt x="8329" y="2739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56" name="Grafik 21">
              <a:extLst>
                <a:ext uri="{FF2B5EF4-FFF2-40B4-BE49-F238E27FC236}">
                  <a16:creationId xmlns:a16="http://schemas.microsoft.com/office/drawing/2014/main" id="{B16A4998-D076-EA8B-1C07-7F3C35DA24E4}"/>
                </a:ext>
              </a:extLst>
            </p:cNvPr>
            <p:cNvGrpSpPr/>
            <p:nvPr/>
          </p:nvGrpSpPr>
          <p:grpSpPr>
            <a:xfrm>
              <a:off x="4705761" y="2024688"/>
              <a:ext cx="103261" cy="38402"/>
              <a:chOff x="4705761" y="2024688"/>
              <a:chExt cx="103261" cy="38402"/>
            </a:xfrm>
            <a:solidFill>
              <a:srgbClr val="000000"/>
            </a:solidFill>
          </p:grpSpPr>
          <p:sp>
            <p:nvSpPr>
              <p:cNvPr id="3488" name="Freihandform: Form 3487">
                <a:extLst>
                  <a:ext uri="{FF2B5EF4-FFF2-40B4-BE49-F238E27FC236}">
                    <a16:creationId xmlns:a16="http://schemas.microsoft.com/office/drawing/2014/main" id="{9DA55FB9-60EB-CB92-C0A8-A2DDE518985C}"/>
                  </a:ext>
                </a:extLst>
              </p:cNvPr>
              <p:cNvSpPr/>
              <p:nvPr/>
            </p:nvSpPr>
            <p:spPr>
              <a:xfrm>
                <a:off x="4705761" y="2024688"/>
                <a:ext cx="34634" cy="37762"/>
              </a:xfrm>
              <a:custGeom>
                <a:avLst/>
                <a:gdLst>
                  <a:gd name="connsiteX0" fmla="*/ 14547 w 34634"/>
                  <a:gd name="connsiteY0" fmla="*/ 37762 h 37762"/>
                  <a:gd name="connsiteX1" fmla="*/ 14547 w 34634"/>
                  <a:gd name="connsiteY1" fmla="*/ 21764 h 37762"/>
                  <a:gd name="connsiteX2" fmla="*/ 0 w 34634"/>
                  <a:gd name="connsiteY2" fmla="*/ 0 h 37762"/>
                  <a:gd name="connsiteX3" fmla="*/ 6086 w 34634"/>
                  <a:gd name="connsiteY3" fmla="*/ 0 h 37762"/>
                  <a:gd name="connsiteX4" fmla="*/ 13529 w 34634"/>
                  <a:gd name="connsiteY4" fmla="*/ 11381 h 37762"/>
                  <a:gd name="connsiteX5" fmla="*/ 17374 w 34634"/>
                  <a:gd name="connsiteY5" fmla="*/ 17769 h 37762"/>
                  <a:gd name="connsiteX6" fmla="*/ 21500 w 34634"/>
                  <a:gd name="connsiteY6" fmla="*/ 11099 h 37762"/>
                  <a:gd name="connsiteX7" fmla="*/ 28811 w 34634"/>
                  <a:gd name="connsiteY7" fmla="*/ 0 h 37762"/>
                  <a:gd name="connsiteX8" fmla="*/ 34634 w 34634"/>
                  <a:gd name="connsiteY8" fmla="*/ 0 h 37762"/>
                  <a:gd name="connsiteX9" fmla="*/ 19559 w 34634"/>
                  <a:gd name="connsiteY9" fmla="*/ 21764 h 37762"/>
                  <a:gd name="connsiteX10" fmla="*/ 19559 w 34634"/>
                  <a:gd name="connsiteY10" fmla="*/ 37762 h 37762"/>
                  <a:gd name="connsiteX11" fmla="*/ 14566 w 34634"/>
                  <a:gd name="connsiteY11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4634" h="37762">
                    <a:moveTo>
                      <a:pt x="14547" y="37762"/>
                    </a:moveTo>
                    <a:lnTo>
                      <a:pt x="14547" y="21764"/>
                    </a:lnTo>
                    <a:lnTo>
                      <a:pt x="0" y="0"/>
                    </a:lnTo>
                    <a:lnTo>
                      <a:pt x="6086" y="0"/>
                    </a:lnTo>
                    <a:lnTo>
                      <a:pt x="13529" y="11381"/>
                    </a:lnTo>
                    <a:cubicBezTo>
                      <a:pt x="14905" y="13511"/>
                      <a:pt x="16186" y="15640"/>
                      <a:pt x="17374" y="17769"/>
                    </a:cubicBezTo>
                    <a:cubicBezTo>
                      <a:pt x="18504" y="15791"/>
                      <a:pt x="19880" y="13567"/>
                      <a:pt x="21500" y="11099"/>
                    </a:cubicBezTo>
                    <a:lnTo>
                      <a:pt x="28811" y="0"/>
                    </a:lnTo>
                    <a:lnTo>
                      <a:pt x="34634" y="0"/>
                    </a:lnTo>
                    <a:lnTo>
                      <a:pt x="19559" y="21764"/>
                    </a:lnTo>
                    <a:lnTo>
                      <a:pt x="19559" y="37762"/>
                    </a:lnTo>
                    <a:lnTo>
                      <a:pt x="14566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89" name="Freihandform: Form 3488">
                <a:extLst>
                  <a:ext uri="{FF2B5EF4-FFF2-40B4-BE49-F238E27FC236}">
                    <a16:creationId xmlns:a16="http://schemas.microsoft.com/office/drawing/2014/main" id="{8D5F3462-D44F-2CA9-88FA-A33CE3353C7B}"/>
                  </a:ext>
                </a:extLst>
              </p:cNvPr>
              <p:cNvSpPr/>
              <p:nvPr/>
            </p:nvSpPr>
            <p:spPr>
              <a:xfrm>
                <a:off x="4737682" y="2034487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893"/>
                      <a:pt x="10534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90" name="Freihandform: Form 3489">
                <a:extLst>
                  <a:ext uri="{FF2B5EF4-FFF2-40B4-BE49-F238E27FC236}">
                    <a16:creationId xmlns:a16="http://schemas.microsoft.com/office/drawing/2014/main" id="{51F23E73-0253-0D53-E684-435D012BE373}"/>
                  </a:ext>
                </a:extLst>
              </p:cNvPr>
              <p:cNvSpPr/>
              <p:nvPr/>
            </p:nvSpPr>
            <p:spPr>
              <a:xfrm>
                <a:off x="4768717" y="2034468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5 w 14867"/>
                  <a:gd name="connsiteY2" fmla="*/ 622 h 27982"/>
                  <a:gd name="connsiteX3" fmla="*/ 4165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09 h 27982"/>
                  <a:gd name="connsiteX10" fmla="*/ 5408 w 14867"/>
                  <a:gd name="connsiteY10" fmla="*/ 8253 h 27982"/>
                  <a:gd name="connsiteX11" fmla="*/ 4636 w 14867"/>
                  <a:gd name="connsiteY11" fmla="*/ 13661 h 27982"/>
                  <a:gd name="connsiteX12" fmla="*/ 4636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5" y="622"/>
                    </a:lnTo>
                    <a:lnTo>
                      <a:pt x="4165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1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6"/>
                      <a:pt x="11005" y="4786"/>
                      <a:pt x="9874" y="4786"/>
                    </a:cubicBezTo>
                    <a:cubicBezTo>
                      <a:pt x="8857" y="4786"/>
                      <a:pt x="7952" y="5088"/>
                      <a:pt x="7142" y="5709"/>
                    </a:cubicBezTo>
                    <a:cubicBezTo>
                      <a:pt x="6332" y="6312"/>
                      <a:pt x="5766" y="7160"/>
                      <a:pt x="5408" y="8253"/>
                    </a:cubicBezTo>
                    <a:cubicBezTo>
                      <a:pt x="4899" y="9912"/>
                      <a:pt x="4636" y="11702"/>
                      <a:pt x="4636" y="13661"/>
                    </a:cubicBezTo>
                    <a:lnTo>
                      <a:pt x="4636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91" name="Freihandform: Form 3490">
                <a:extLst>
                  <a:ext uri="{FF2B5EF4-FFF2-40B4-BE49-F238E27FC236}">
                    <a16:creationId xmlns:a16="http://schemas.microsoft.com/office/drawing/2014/main" id="{F25AA0DC-ACA2-2D59-97DC-CAE17D3DC8BE}"/>
                  </a:ext>
                </a:extLst>
              </p:cNvPr>
              <p:cNvSpPr/>
              <p:nvPr/>
            </p:nvSpPr>
            <p:spPr>
              <a:xfrm>
                <a:off x="4786336" y="2024688"/>
                <a:ext cx="22687" cy="37780"/>
              </a:xfrm>
              <a:custGeom>
                <a:avLst/>
                <a:gdLst>
                  <a:gd name="connsiteX0" fmla="*/ 19 w 22687"/>
                  <a:gd name="connsiteY0" fmla="*/ 37762 h 37780"/>
                  <a:gd name="connsiteX1" fmla="*/ 19 w 22687"/>
                  <a:gd name="connsiteY1" fmla="*/ 0 h 37780"/>
                  <a:gd name="connsiteX2" fmla="*/ 4654 w 22687"/>
                  <a:gd name="connsiteY2" fmla="*/ 0 h 37780"/>
                  <a:gd name="connsiteX3" fmla="*/ 4654 w 22687"/>
                  <a:gd name="connsiteY3" fmla="*/ 21538 h 37780"/>
                  <a:gd name="connsiteX4" fmla="*/ 15621 w 22687"/>
                  <a:gd name="connsiteY4" fmla="*/ 10401 h 37780"/>
                  <a:gd name="connsiteX5" fmla="*/ 21632 w 22687"/>
                  <a:gd name="connsiteY5" fmla="*/ 10401 h 37780"/>
                  <a:gd name="connsiteX6" fmla="*/ 11174 w 22687"/>
                  <a:gd name="connsiteY6" fmla="*/ 20558 h 37780"/>
                  <a:gd name="connsiteX7" fmla="*/ 22687 w 22687"/>
                  <a:gd name="connsiteY7" fmla="*/ 37762 h 37780"/>
                  <a:gd name="connsiteX8" fmla="*/ 16959 w 22687"/>
                  <a:gd name="connsiteY8" fmla="*/ 37762 h 37780"/>
                  <a:gd name="connsiteX9" fmla="*/ 7914 w 22687"/>
                  <a:gd name="connsiteY9" fmla="*/ 23780 h 37780"/>
                  <a:gd name="connsiteX10" fmla="*/ 4635 w 22687"/>
                  <a:gd name="connsiteY10" fmla="*/ 26927 h 37780"/>
                  <a:gd name="connsiteX11" fmla="*/ 4635 w 22687"/>
                  <a:gd name="connsiteY11" fmla="*/ 37781 h 37780"/>
                  <a:gd name="connsiteX12" fmla="*/ 0 w 22687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687" h="37780">
                    <a:moveTo>
                      <a:pt x="19" y="37762"/>
                    </a:moveTo>
                    <a:lnTo>
                      <a:pt x="19" y="0"/>
                    </a:lnTo>
                    <a:lnTo>
                      <a:pt x="4654" y="0"/>
                    </a:lnTo>
                    <a:lnTo>
                      <a:pt x="4654" y="21538"/>
                    </a:lnTo>
                    <a:lnTo>
                      <a:pt x="15621" y="10401"/>
                    </a:lnTo>
                    <a:lnTo>
                      <a:pt x="21632" y="10401"/>
                    </a:lnTo>
                    <a:lnTo>
                      <a:pt x="11174" y="20558"/>
                    </a:lnTo>
                    <a:lnTo>
                      <a:pt x="22687" y="37762"/>
                    </a:lnTo>
                    <a:lnTo>
                      <a:pt x="16959" y="37762"/>
                    </a:lnTo>
                    <a:lnTo>
                      <a:pt x="7914" y="23780"/>
                    </a:lnTo>
                    <a:lnTo>
                      <a:pt x="4635" y="26927"/>
                    </a:lnTo>
                    <a:lnTo>
                      <a:pt x="4635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57" name="Grafik 21">
              <a:extLst>
                <a:ext uri="{FF2B5EF4-FFF2-40B4-BE49-F238E27FC236}">
                  <a16:creationId xmlns:a16="http://schemas.microsoft.com/office/drawing/2014/main" id="{FEC7A3FD-1A80-AAC7-64DF-8D49AAB6059B}"/>
                </a:ext>
              </a:extLst>
            </p:cNvPr>
            <p:cNvGrpSpPr/>
            <p:nvPr/>
          </p:nvGrpSpPr>
          <p:grpSpPr>
            <a:xfrm>
              <a:off x="4688651" y="1911628"/>
              <a:ext cx="156777" cy="38402"/>
              <a:chOff x="4688651" y="1911628"/>
              <a:chExt cx="156777" cy="38402"/>
            </a:xfrm>
            <a:solidFill>
              <a:srgbClr val="000000"/>
            </a:solidFill>
          </p:grpSpPr>
          <p:sp>
            <p:nvSpPr>
              <p:cNvPr id="3482" name="Freihandform: Form 3481">
                <a:extLst>
                  <a:ext uri="{FF2B5EF4-FFF2-40B4-BE49-F238E27FC236}">
                    <a16:creationId xmlns:a16="http://schemas.microsoft.com/office/drawing/2014/main" id="{F476EDAC-E13D-6DC2-1464-3987F6143DCF}"/>
                  </a:ext>
                </a:extLst>
              </p:cNvPr>
              <p:cNvSpPr/>
              <p:nvPr/>
            </p:nvSpPr>
            <p:spPr>
              <a:xfrm>
                <a:off x="4688651" y="1911628"/>
                <a:ext cx="28510" cy="37780"/>
              </a:xfrm>
              <a:custGeom>
                <a:avLst/>
                <a:gdLst>
                  <a:gd name="connsiteX0" fmla="*/ 0 w 28510"/>
                  <a:gd name="connsiteY0" fmla="*/ 37762 h 37780"/>
                  <a:gd name="connsiteX1" fmla="*/ 0 w 28510"/>
                  <a:gd name="connsiteY1" fmla="*/ 0 h 37780"/>
                  <a:gd name="connsiteX2" fmla="*/ 14170 w 28510"/>
                  <a:gd name="connsiteY2" fmla="*/ 0 h 37780"/>
                  <a:gd name="connsiteX3" fmla="*/ 21105 w 28510"/>
                  <a:gd name="connsiteY3" fmla="*/ 1149 h 37780"/>
                  <a:gd name="connsiteX4" fmla="*/ 25194 w 28510"/>
                  <a:gd name="connsiteY4" fmla="*/ 4673 h 37780"/>
                  <a:gd name="connsiteX5" fmla="*/ 26682 w 28510"/>
                  <a:gd name="connsiteY5" fmla="*/ 9667 h 37780"/>
                  <a:gd name="connsiteX6" fmla="*/ 25363 w 28510"/>
                  <a:gd name="connsiteY6" fmla="*/ 14227 h 37780"/>
                  <a:gd name="connsiteX7" fmla="*/ 21387 w 28510"/>
                  <a:gd name="connsiteY7" fmla="*/ 17675 h 37780"/>
                  <a:gd name="connsiteX8" fmla="*/ 26663 w 28510"/>
                  <a:gd name="connsiteY8" fmla="*/ 21104 h 37780"/>
                  <a:gd name="connsiteX9" fmla="*/ 28510 w 28510"/>
                  <a:gd name="connsiteY9" fmla="*/ 26833 h 37780"/>
                  <a:gd name="connsiteX10" fmla="*/ 27398 w 28510"/>
                  <a:gd name="connsiteY10" fmla="*/ 31770 h 37780"/>
                  <a:gd name="connsiteX11" fmla="*/ 24628 w 28510"/>
                  <a:gd name="connsiteY11" fmla="*/ 35294 h 37780"/>
                  <a:gd name="connsiteX12" fmla="*/ 20502 w 28510"/>
                  <a:gd name="connsiteY12" fmla="*/ 37159 h 37780"/>
                  <a:gd name="connsiteX13" fmla="*/ 14415 w 28510"/>
                  <a:gd name="connsiteY13" fmla="*/ 37781 h 37780"/>
                  <a:gd name="connsiteX14" fmla="*/ 19 w 28510"/>
                  <a:gd name="connsiteY14" fmla="*/ 37781 h 37780"/>
                  <a:gd name="connsiteX15" fmla="*/ 4994 w 28510"/>
                  <a:gd name="connsiteY15" fmla="*/ 15866 h 37780"/>
                  <a:gd name="connsiteX16" fmla="*/ 13153 w 28510"/>
                  <a:gd name="connsiteY16" fmla="*/ 15866 h 37780"/>
                  <a:gd name="connsiteX17" fmla="*/ 17920 w 28510"/>
                  <a:gd name="connsiteY17" fmla="*/ 15433 h 37780"/>
                  <a:gd name="connsiteX18" fmla="*/ 20784 w 28510"/>
                  <a:gd name="connsiteY18" fmla="*/ 13548 h 37780"/>
                  <a:gd name="connsiteX19" fmla="*/ 21745 w 28510"/>
                  <a:gd name="connsiteY19" fmla="*/ 10251 h 37780"/>
                  <a:gd name="connsiteX20" fmla="*/ 20841 w 28510"/>
                  <a:gd name="connsiteY20" fmla="*/ 6934 h 37780"/>
                  <a:gd name="connsiteX21" fmla="*/ 18259 w 28510"/>
                  <a:gd name="connsiteY21" fmla="*/ 4975 h 37780"/>
                  <a:gd name="connsiteX22" fmla="*/ 12512 w 28510"/>
                  <a:gd name="connsiteY22" fmla="*/ 4447 h 37780"/>
                  <a:gd name="connsiteX23" fmla="*/ 4956 w 28510"/>
                  <a:gd name="connsiteY23" fmla="*/ 4447 h 37780"/>
                  <a:gd name="connsiteX24" fmla="*/ 4956 w 28510"/>
                  <a:gd name="connsiteY24" fmla="*/ 15866 h 37780"/>
                  <a:gd name="connsiteX25" fmla="*/ 4994 w 28510"/>
                  <a:gd name="connsiteY25" fmla="*/ 33315 h 37780"/>
                  <a:gd name="connsiteX26" fmla="*/ 14396 w 28510"/>
                  <a:gd name="connsiteY26" fmla="*/ 33315 h 37780"/>
                  <a:gd name="connsiteX27" fmla="*/ 17788 w 28510"/>
                  <a:gd name="connsiteY27" fmla="*/ 33127 h 37780"/>
                  <a:gd name="connsiteX28" fmla="*/ 20671 w 28510"/>
                  <a:gd name="connsiteY28" fmla="*/ 32090 h 37780"/>
                  <a:gd name="connsiteX29" fmla="*/ 22575 w 28510"/>
                  <a:gd name="connsiteY29" fmla="*/ 29999 h 37780"/>
                  <a:gd name="connsiteX30" fmla="*/ 23328 w 28510"/>
                  <a:gd name="connsiteY30" fmla="*/ 26814 h 37780"/>
                  <a:gd name="connsiteX31" fmla="*/ 22254 w 28510"/>
                  <a:gd name="connsiteY31" fmla="*/ 23140 h 37780"/>
                  <a:gd name="connsiteX32" fmla="*/ 19258 w 28510"/>
                  <a:gd name="connsiteY32" fmla="*/ 20954 h 37780"/>
                  <a:gd name="connsiteX33" fmla="*/ 13737 w 28510"/>
                  <a:gd name="connsiteY33" fmla="*/ 20332 h 37780"/>
                  <a:gd name="connsiteX34" fmla="*/ 5012 w 28510"/>
                  <a:gd name="connsiteY34" fmla="*/ 20332 h 37780"/>
                  <a:gd name="connsiteX35" fmla="*/ 5012 w 28510"/>
                  <a:gd name="connsiteY35" fmla="*/ 33315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8510" h="37780">
                    <a:moveTo>
                      <a:pt x="0" y="37762"/>
                    </a:moveTo>
                    <a:lnTo>
                      <a:pt x="0" y="0"/>
                    </a:lnTo>
                    <a:lnTo>
                      <a:pt x="14170" y="0"/>
                    </a:lnTo>
                    <a:cubicBezTo>
                      <a:pt x="17053" y="0"/>
                      <a:pt x="19371" y="377"/>
                      <a:pt x="21105" y="1149"/>
                    </a:cubicBezTo>
                    <a:cubicBezTo>
                      <a:pt x="22838" y="1922"/>
                      <a:pt x="24214" y="3090"/>
                      <a:pt x="25194" y="4673"/>
                    </a:cubicBezTo>
                    <a:cubicBezTo>
                      <a:pt x="26173" y="6256"/>
                      <a:pt x="26682" y="7914"/>
                      <a:pt x="26682" y="9667"/>
                    </a:cubicBezTo>
                    <a:cubicBezTo>
                      <a:pt x="26682" y="11287"/>
                      <a:pt x="26249" y="12795"/>
                      <a:pt x="25363" y="14227"/>
                    </a:cubicBezTo>
                    <a:cubicBezTo>
                      <a:pt x="24478" y="15659"/>
                      <a:pt x="23159" y="16808"/>
                      <a:pt x="21387" y="17675"/>
                    </a:cubicBezTo>
                    <a:cubicBezTo>
                      <a:pt x="23667" y="18353"/>
                      <a:pt x="25420" y="19484"/>
                      <a:pt x="26663" y="21104"/>
                    </a:cubicBezTo>
                    <a:cubicBezTo>
                      <a:pt x="27888" y="22725"/>
                      <a:pt x="28510" y="24628"/>
                      <a:pt x="28510" y="26833"/>
                    </a:cubicBezTo>
                    <a:cubicBezTo>
                      <a:pt x="28510" y="28604"/>
                      <a:pt x="28133" y="30244"/>
                      <a:pt x="27398" y="31770"/>
                    </a:cubicBezTo>
                    <a:cubicBezTo>
                      <a:pt x="26663" y="33296"/>
                      <a:pt x="25721" y="34464"/>
                      <a:pt x="24628" y="35294"/>
                    </a:cubicBezTo>
                    <a:cubicBezTo>
                      <a:pt x="23535" y="36123"/>
                      <a:pt x="22160" y="36745"/>
                      <a:pt x="20502" y="37159"/>
                    </a:cubicBezTo>
                    <a:cubicBezTo>
                      <a:pt x="18843" y="37574"/>
                      <a:pt x="16808" y="37781"/>
                      <a:pt x="14415" y="37781"/>
                    </a:cubicBezTo>
                    <a:lnTo>
                      <a:pt x="19" y="37781"/>
                    </a:lnTo>
                    <a:close/>
                    <a:moveTo>
                      <a:pt x="4994" y="15866"/>
                    </a:moveTo>
                    <a:lnTo>
                      <a:pt x="13153" y="15866"/>
                    </a:lnTo>
                    <a:cubicBezTo>
                      <a:pt x="15376" y="15866"/>
                      <a:pt x="16959" y="15715"/>
                      <a:pt x="17920" y="15433"/>
                    </a:cubicBezTo>
                    <a:cubicBezTo>
                      <a:pt x="19183" y="15056"/>
                      <a:pt x="20144" y="14434"/>
                      <a:pt x="20784" y="13548"/>
                    </a:cubicBezTo>
                    <a:cubicBezTo>
                      <a:pt x="21425" y="12663"/>
                      <a:pt x="21745" y="11570"/>
                      <a:pt x="21745" y="10251"/>
                    </a:cubicBezTo>
                    <a:cubicBezTo>
                      <a:pt x="21745" y="8988"/>
                      <a:pt x="21444" y="7895"/>
                      <a:pt x="20841" y="6934"/>
                    </a:cubicBezTo>
                    <a:cubicBezTo>
                      <a:pt x="20238" y="5973"/>
                      <a:pt x="19390" y="5333"/>
                      <a:pt x="18259" y="4975"/>
                    </a:cubicBezTo>
                    <a:cubicBezTo>
                      <a:pt x="17148" y="4617"/>
                      <a:pt x="15226" y="4447"/>
                      <a:pt x="12512" y="4447"/>
                    </a:cubicBezTo>
                    <a:lnTo>
                      <a:pt x="4956" y="4447"/>
                    </a:lnTo>
                    <a:lnTo>
                      <a:pt x="4956" y="15866"/>
                    </a:lnTo>
                    <a:close/>
                    <a:moveTo>
                      <a:pt x="4994" y="33315"/>
                    </a:moveTo>
                    <a:lnTo>
                      <a:pt x="14396" y="33315"/>
                    </a:lnTo>
                    <a:cubicBezTo>
                      <a:pt x="16017" y="33315"/>
                      <a:pt x="17148" y="33258"/>
                      <a:pt x="17788" y="33127"/>
                    </a:cubicBezTo>
                    <a:cubicBezTo>
                      <a:pt x="18938" y="32919"/>
                      <a:pt x="19899" y="32580"/>
                      <a:pt x="20671" y="32090"/>
                    </a:cubicBezTo>
                    <a:cubicBezTo>
                      <a:pt x="21444" y="31600"/>
                      <a:pt x="22085" y="30903"/>
                      <a:pt x="22575" y="29999"/>
                    </a:cubicBezTo>
                    <a:cubicBezTo>
                      <a:pt x="23064" y="29075"/>
                      <a:pt x="23328" y="28020"/>
                      <a:pt x="23328" y="26814"/>
                    </a:cubicBezTo>
                    <a:cubicBezTo>
                      <a:pt x="23328" y="25401"/>
                      <a:pt x="22970" y="24176"/>
                      <a:pt x="22254" y="23140"/>
                    </a:cubicBezTo>
                    <a:cubicBezTo>
                      <a:pt x="21538" y="22103"/>
                      <a:pt x="20539" y="21368"/>
                      <a:pt x="19258" y="20954"/>
                    </a:cubicBezTo>
                    <a:cubicBezTo>
                      <a:pt x="17977" y="20539"/>
                      <a:pt x="16130" y="20332"/>
                      <a:pt x="13737" y="20332"/>
                    </a:cubicBezTo>
                    <a:lnTo>
                      <a:pt x="5012" y="20332"/>
                    </a:lnTo>
                    <a:lnTo>
                      <a:pt x="5012" y="33315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83" name="Freihandform: Form 3482">
                <a:extLst>
                  <a:ext uri="{FF2B5EF4-FFF2-40B4-BE49-F238E27FC236}">
                    <a16:creationId xmlns:a16="http://schemas.microsoft.com/office/drawing/2014/main" id="{A1211685-C8EB-735C-4EEE-C5716BB8CE7F}"/>
                  </a:ext>
                </a:extLst>
              </p:cNvPr>
              <p:cNvSpPr/>
              <p:nvPr/>
            </p:nvSpPr>
            <p:spPr>
              <a:xfrm>
                <a:off x="4721722" y="1921427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84" name="Freihandform: Form 3483">
                <a:extLst>
                  <a:ext uri="{FF2B5EF4-FFF2-40B4-BE49-F238E27FC236}">
                    <a16:creationId xmlns:a16="http://schemas.microsoft.com/office/drawing/2014/main" id="{C11D8D55-531A-13E9-3BBE-044F6737F827}"/>
                  </a:ext>
                </a:extLst>
              </p:cNvPr>
              <p:cNvSpPr/>
              <p:nvPr/>
            </p:nvSpPr>
            <p:spPr>
              <a:xfrm>
                <a:off x="4750948" y="1921445"/>
                <a:ext cx="22724" cy="28585"/>
              </a:xfrm>
              <a:custGeom>
                <a:avLst/>
                <a:gdLst>
                  <a:gd name="connsiteX0" fmla="*/ 0 w 22724"/>
                  <a:gd name="connsiteY0" fmla="*/ 19786 h 28585"/>
                  <a:gd name="connsiteX1" fmla="*/ 4579 w 22724"/>
                  <a:gd name="connsiteY1" fmla="*/ 19069 h 28585"/>
                  <a:gd name="connsiteX2" fmla="*/ 6727 w 22724"/>
                  <a:gd name="connsiteY2" fmla="*/ 23290 h 28585"/>
                  <a:gd name="connsiteX3" fmla="*/ 11664 w 22724"/>
                  <a:gd name="connsiteY3" fmla="*/ 24760 h 28585"/>
                  <a:gd name="connsiteX4" fmla="*/ 16413 w 22724"/>
                  <a:gd name="connsiteY4" fmla="*/ 23460 h 28585"/>
                  <a:gd name="connsiteX5" fmla="*/ 17958 w 22724"/>
                  <a:gd name="connsiteY5" fmla="*/ 20407 h 28585"/>
                  <a:gd name="connsiteX6" fmla="*/ 16601 w 22724"/>
                  <a:gd name="connsiteY6" fmla="*/ 17939 h 28585"/>
                  <a:gd name="connsiteX7" fmla="*/ 11853 w 22724"/>
                  <a:gd name="connsiteY7" fmla="*/ 16375 h 28585"/>
                  <a:gd name="connsiteX8" fmla="*/ 4786 w 22724"/>
                  <a:gd name="connsiteY8" fmla="*/ 14151 h 28585"/>
                  <a:gd name="connsiteX9" fmla="*/ 1790 w 22724"/>
                  <a:gd name="connsiteY9" fmla="*/ 11551 h 28585"/>
                  <a:gd name="connsiteX10" fmla="*/ 773 w 22724"/>
                  <a:gd name="connsiteY10" fmla="*/ 7877 h 28585"/>
                  <a:gd name="connsiteX11" fmla="*/ 1602 w 22724"/>
                  <a:gd name="connsiteY11" fmla="*/ 4485 h 28585"/>
                  <a:gd name="connsiteX12" fmla="*/ 3882 w 22724"/>
                  <a:gd name="connsiteY12" fmla="*/ 1903 h 28585"/>
                  <a:gd name="connsiteX13" fmla="*/ 6840 w 22724"/>
                  <a:gd name="connsiteY13" fmla="*/ 547 h 28585"/>
                  <a:gd name="connsiteX14" fmla="*/ 10854 w 22724"/>
                  <a:gd name="connsiteY14" fmla="*/ 0 h 28585"/>
                  <a:gd name="connsiteX15" fmla="*/ 16507 w 22724"/>
                  <a:gd name="connsiteY15" fmla="*/ 923 h 28585"/>
                  <a:gd name="connsiteX16" fmla="*/ 20106 w 22724"/>
                  <a:gd name="connsiteY16" fmla="*/ 3430 h 28585"/>
                  <a:gd name="connsiteX17" fmla="*/ 21708 w 22724"/>
                  <a:gd name="connsiteY17" fmla="*/ 7669 h 28585"/>
                  <a:gd name="connsiteX18" fmla="*/ 17166 w 22724"/>
                  <a:gd name="connsiteY18" fmla="*/ 8291 h 28585"/>
                  <a:gd name="connsiteX19" fmla="*/ 15376 w 22724"/>
                  <a:gd name="connsiteY19" fmla="*/ 4994 h 28585"/>
                  <a:gd name="connsiteX20" fmla="*/ 11193 w 22724"/>
                  <a:gd name="connsiteY20" fmla="*/ 3806 h 28585"/>
                  <a:gd name="connsiteX21" fmla="*/ 6633 w 22724"/>
                  <a:gd name="connsiteY21" fmla="*/ 4862 h 28585"/>
                  <a:gd name="connsiteX22" fmla="*/ 5276 w 22724"/>
                  <a:gd name="connsiteY22" fmla="*/ 7330 h 28585"/>
                  <a:gd name="connsiteX23" fmla="*/ 5841 w 22724"/>
                  <a:gd name="connsiteY23" fmla="*/ 8951 h 28585"/>
                  <a:gd name="connsiteX24" fmla="*/ 7613 w 22724"/>
                  <a:gd name="connsiteY24" fmla="*/ 10194 h 28585"/>
                  <a:gd name="connsiteX25" fmla="*/ 11702 w 22724"/>
                  <a:gd name="connsiteY25" fmla="*/ 11381 h 28585"/>
                  <a:gd name="connsiteX26" fmla="*/ 18561 w 22724"/>
                  <a:gd name="connsiteY26" fmla="*/ 13530 h 28585"/>
                  <a:gd name="connsiteX27" fmla="*/ 21613 w 22724"/>
                  <a:gd name="connsiteY27" fmla="*/ 15960 h 28585"/>
                  <a:gd name="connsiteX28" fmla="*/ 22725 w 22724"/>
                  <a:gd name="connsiteY28" fmla="*/ 19936 h 28585"/>
                  <a:gd name="connsiteX29" fmla="*/ 21368 w 22724"/>
                  <a:gd name="connsiteY29" fmla="*/ 24308 h 28585"/>
                  <a:gd name="connsiteX30" fmla="*/ 17468 w 22724"/>
                  <a:gd name="connsiteY30" fmla="*/ 27474 h 28585"/>
                  <a:gd name="connsiteX31" fmla="*/ 11702 w 22724"/>
                  <a:gd name="connsiteY31" fmla="*/ 28585 h 28585"/>
                  <a:gd name="connsiteX32" fmla="*/ 3580 w 22724"/>
                  <a:gd name="connsiteY32" fmla="*/ 26362 h 28585"/>
                  <a:gd name="connsiteX33" fmla="*/ 19 w 22724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4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5" y="24270"/>
                      <a:pt x="9553" y="24760"/>
                      <a:pt x="11664" y="24760"/>
                    </a:cubicBezTo>
                    <a:cubicBezTo>
                      <a:pt x="13774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8" y="16997"/>
                      <a:pt x="11853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8" y="12663"/>
                      <a:pt x="1790" y="11551"/>
                    </a:cubicBezTo>
                    <a:cubicBezTo>
                      <a:pt x="1112" y="10439"/>
                      <a:pt x="773" y="9214"/>
                      <a:pt x="773" y="7877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67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7"/>
                    </a:cubicBezTo>
                    <a:cubicBezTo>
                      <a:pt x="8084" y="170"/>
                      <a:pt x="9422" y="0"/>
                      <a:pt x="10854" y="0"/>
                    </a:cubicBezTo>
                    <a:cubicBezTo>
                      <a:pt x="13002" y="0"/>
                      <a:pt x="14886" y="302"/>
                      <a:pt x="16507" y="923"/>
                    </a:cubicBezTo>
                    <a:cubicBezTo>
                      <a:pt x="18127" y="1545"/>
                      <a:pt x="19333" y="2374"/>
                      <a:pt x="20106" y="3430"/>
                    </a:cubicBezTo>
                    <a:cubicBezTo>
                      <a:pt x="20878" y="4485"/>
                      <a:pt x="21406" y="5898"/>
                      <a:pt x="21708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4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1" y="8951"/>
                    </a:cubicBezTo>
                    <a:cubicBezTo>
                      <a:pt x="6218" y="9441"/>
                      <a:pt x="6802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0" y="12248"/>
                      <a:pt x="17279" y="12983"/>
                      <a:pt x="18561" y="13530"/>
                    </a:cubicBezTo>
                    <a:cubicBezTo>
                      <a:pt x="19861" y="14095"/>
                      <a:pt x="20878" y="14905"/>
                      <a:pt x="21613" y="15960"/>
                    </a:cubicBezTo>
                    <a:cubicBezTo>
                      <a:pt x="22348" y="17034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46" y="27851"/>
                      <a:pt x="3580" y="26362"/>
                    </a:cubicBezTo>
                    <a:cubicBezTo>
                      <a:pt x="1715" y="24892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85" name="Freihandform: Form 3484">
                <a:extLst>
                  <a:ext uri="{FF2B5EF4-FFF2-40B4-BE49-F238E27FC236}">
                    <a16:creationId xmlns:a16="http://schemas.microsoft.com/office/drawing/2014/main" id="{81C60FA3-9873-ACE2-AE5C-013CF1EC0384}"/>
                  </a:ext>
                </a:extLst>
              </p:cNvPr>
              <p:cNvSpPr/>
              <p:nvPr/>
            </p:nvSpPr>
            <p:spPr>
              <a:xfrm>
                <a:off x="4776650" y="1912476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2 h 37272"/>
                  <a:gd name="connsiteX7" fmla="*/ 0 w 13341"/>
                  <a:gd name="connsiteY7" fmla="*/ 13172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5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0" y="33522"/>
                      <a:pt x="3392" y="31695"/>
                      <a:pt x="3392" y="28906"/>
                    </a:cubicBezTo>
                    <a:lnTo>
                      <a:pt x="3392" y="13172"/>
                    </a:lnTo>
                    <a:lnTo>
                      <a:pt x="0" y="13172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86" name="Freihandform: Form 3485">
                <a:extLst>
                  <a:ext uri="{FF2B5EF4-FFF2-40B4-BE49-F238E27FC236}">
                    <a16:creationId xmlns:a16="http://schemas.microsoft.com/office/drawing/2014/main" id="{14730F3B-FC58-44C5-3C09-5A3F2F642B9C}"/>
                  </a:ext>
                </a:extLst>
              </p:cNvPr>
              <p:cNvSpPr/>
              <p:nvPr/>
            </p:nvSpPr>
            <p:spPr>
              <a:xfrm>
                <a:off x="4792102" y="1921427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87" name="Freihandform: Form 3486">
                <a:extLst>
                  <a:ext uri="{FF2B5EF4-FFF2-40B4-BE49-F238E27FC236}">
                    <a16:creationId xmlns:a16="http://schemas.microsoft.com/office/drawing/2014/main" id="{55BDAB4C-C08A-65CE-6EF1-251577FD4F43}"/>
                  </a:ext>
                </a:extLst>
              </p:cNvPr>
              <p:cNvSpPr/>
              <p:nvPr/>
            </p:nvSpPr>
            <p:spPr>
              <a:xfrm>
                <a:off x="4823193" y="1921408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5 w 22235"/>
                  <a:gd name="connsiteY2" fmla="*/ 622 h 28001"/>
                  <a:gd name="connsiteX3" fmla="*/ 4165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5" y="622"/>
                    </a:lnTo>
                    <a:lnTo>
                      <a:pt x="4165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1" y="7179"/>
                      <a:pt x="4636" y="9553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58" name="Grafik 21">
              <a:extLst>
                <a:ext uri="{FF2B5EF4-FFF2-40B4-BE49-F238E27FC236}">
                  <a16:creationId xmlns:a16="http://schemas.microsoft.com/office/drawing/2014/main" id="{7FD51B3F-A61D-95CF-A807-21052184FA55}"/>
                </a:ext>
              </a:extLst>
            </p:cNvPr>
            <p:cNvGrpSpPr/>
            <p:nvPr/>
          </p:nvGrpSpPr>
          <p:grpSpPr>
            <a:xfrm>
              <a:off x="6045297" y="2230062"/>
              <a:ext cx="126385" cy="38421"/>
              <a:chOff x="6045297" y="2230062"/>
              <a:chExt cx="126385" cy="38421"/>
            </a:xfrm>
            <a:solidFill>
              <a:srgbClr val="000000"/>
            </a:solidFill>
          </p:grpSpPr>
          <p:sp>
            <p:nvSpPr>
              <p:cNvPr id="3477" name="Freihandform: Form 3476">
                <a:extLst>
                  <a:ext uri="{FF2B5EF4-FFF2-40B4-BE49-F238E27FC236}">
                    <a16:creationId xmlns:a16="http://schemas.microsoft.com/office/drawing/2014/main" id="{EECAE4B2-883A-C8D6-EA5F-170837313B75}"/>
                  </a:ext>
                </a:extLst>
              </p:cNvPr>
              <p:cNvSpPr/>
              <p:nvPr/>
            </p:nvSpPr>
            <p:spPr>
              <a:xfrm>
                <a:off x="6045297" y="2230062"/>
                <a:ext cx="20786" cy="38421"/>
              </a:xfrm>
              <a:custGeom>
                <a:avLst/>
                <a:gdLst>
                  <a:gd name="connsiteX0" fmla="*/ 40 w 20786"/>
                  <a:gd name="connsiteY0" fmla="*/ 27059 h 38421"/>
                  <a:gd name="connsiteX1" fmla="*/ 4544 w 20786"/>
                  <a:gd name="connsiteY1" fmla="*/ 26437 h 38421"/>
                  <a:gd name="connsiteX2" fmla="*/ 6164 w 20786"/>
                  <a:gd name="connsiteY2" fmla="*/ 32354 h 38421"/>
                  <a:gd name="connsiteX3" fmla="*/ 10159 w 20786"/>
                  <a:gd name="connsiteY3" fmla="*/ 33956 h 38421"/>
                  <a:gd name="connsiteX4" fmla="*/ 13400 w 20786"/>
                  <a:gd name="connsiteY4" fmla="*/ 33089 h 38421"/>
                  <a:gd name="connsiteX5" fmla="*/ 15285 w 20786"/>
                  <a:gd name="connsiteY5" fmla="*/ 30752 h 38421"/>
                  <a:gd name="connsiteX6" fmla="*/ 15793 w 20786"/>
                  <a:gd name="connsiteY6" fmla="*/ 26023 h 38421"/>
                  <a:gd name="connsiteX7" fmla="*/ 15793 w 20786"/>
                  <a:gd name="connsiteY7" fmla="*/ 0 h 38421"/>
                  <a:gd name="connsiteX8" fmla="*/ 20787 w 20786"/>
                  <a:gd name="connsiteY8" fmla="*/ 0 h 38421"/>
                  <a:gd name="connsiteX9" fmla="*/ 20787 w 20786"/>
                  <a:gd name="connsiteY9" fmla="*/ 25740 h 38421"/>
                  <a:gd name="connsiteX10" fmla="*/ 19637 w 20786"/>
                  <a:gd name="connsiteY10" fmla="*/ 33089 h 38421"/>
                  <a:gd name="connsiteX11" fmla="*/ 16001 w 20786"/>
                  <a:gd name="connsiteY11" fmla="*/ 37065 h 38421"/>
                  <a:gd name="connsiteX12" fmla="*/ 10159 w 20786"/>
                  <a:gd name="connsiteY12" fmla="*/ 38422 h 38421"/>
                  <a:gd name="connsiteX13" fmla="*/ 2546 w 20786"/>
                  <a:gd name="connsiteY13" fmla="*/ 35557 h 38421"/>
                  <a:gd name="connsiteX14" fmla="*/ 3 w 20786"/>
                  <a:gd name="connsiteY14" fmla="*/ 27059 h 38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786" h="38421">
                    <a:moveTo>
                      <a:pt x="40" y="27059"/>
                    </a:moveTo>
                    <a:lnTo>
                      <a:pt x="4544" y="26437"/>
                    </a:lnTo>
                    <a:cubicBezTo>
                      <a:pt x="4657" y="29320"/>
                      <a:pt x="5203" y="31299"/>
                      <a:pt x="6164" y="32354"/>
                    </a:cubicBezTo>
                    <a:cubicBezTo>
                      <a:pt x="7125" y="33409"/>
                      <a:pt x="8463" y="33956"/>
                      <a:pt x="10159" y="33956"/>
                    </a:cubicBezTo>
                    <a:cubicBezTo>
                      <a:pt x="11422" y="33956"/>
                      <a:pt x="12496" y="33673"/>
                      <a:pt x="13400" y="33089"/>
                    </a:cubicBezTo>
                    <a:cubicBezTo>
                      <a:pt x="14305" y="32505"/>
                      <a:pt x="14945" y="31732"/>
                      <a:pt x="15285" y="30752"/>
                    </a:cubicBezTo>
                    <a:cubicBezTo>
                      <a:pt x="15624" y="29773"/>
                      <a:pt x="15793" y="28190"/>
                      <a:pt x="15793" y="26023"/>
                    </a:cubicBezTo>
                    <a:lnTo>
                      <a:pt x="15793" y="0"/>
                    </a:lnTo>
                    <a:lnTo>
                      <a:pt x="20787" y="0"/>
                    </a:lnTo>
                    <a:lnTo>
                      <a:pt x="20787" y="25740"/>
                    </a:lnTo>
                    <a:cubicBezTo>
                      <a:pt x="20787" y="28906"/>
                      <a:pt x="20410" y="31355"/>
                      <a:pt x="19637" y="33089"/>
                    </a:cubicBezTo>
                    <a:cubicBezTo>
                      <a:pt x="18865" y="34823"/>
                      <a:pt x="17659" y="36142"/>
                      <a:pt x="16001" y="37065"/>
                    </a:cubicBezTo>
                    <a:cubicBezTo>
                      <a:pt x="14342" y="37969"/>
                      <a:pt x="12402" y="38422"/>
                      <a:pt x="10159" y="38422"/>
                    </a:cubicBezTo>
                    <a:cubicBezTo>
                      <a:pt x="6843" y="38422"/>
                      <a:pt x="4299" y="37461"/>
                      <a:pt x="2546" y="35557"/>
                    </a:cubicBezTo>
                    <a:cubicBezTo>
                      <a:pt x="794" y="33654"/>
                      <a:pt x="-54" y="30809"/>
                      <a:pt x="3" y="27059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78" name="Freihandform: Form 3477">
                <a:extLst>
                  <a:ext uri="{FF2B5EF4-FFF2-40B4-BE49-F238E27FC236}">
                    <a16:creationId xmlns:a16="http://schemas.microsoft.com/office/drawing/2014/main" id="{888E903A-D0FA-B68E-28C5-295E989C4993}"/>
                  </a:ext>
                </a:extLst>
              </p:cNvPr>
              <p:cNvSpPr/>
              <p:nvPr/>
            </p:nvSpPr>
            <p:spPr>
              <a:xfrm>
                <a:off x="6072113" y="2239861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0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0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25" y="27813"/>
                      <a:pt x="16224" y="28585"/>
                      <a:pt x="13040" y="28585"/>
                    </a:cubicBezTo>
                    <a:cubicBezTo>
                      <a:pt x="9045" y="28585"/>
                      <a:pt x="5860" y="27360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5" y="0"/>
                      <a:pt x="19427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69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79" name="Freihandform: Form 3478">
                <a:extLst>
                  <a:ext uri="{FF2B5EF4-FFF2-40B4-BE49-F238E27FC236}">
                    <a16:creationId xmlns:a16="http://schemas.microsoft.com/office/drawing/2014/main" id="{C120A76B-FBAD-9BF2-CEC6-BA21A2CB13E2}"/>
                  </a:ext>
                </a:extLst>
              </p:cNvPr>
              <p:cNvSpPr/>
              <p:nvPr/>
            </p:nvSpPr>
            <p:spPr>
              <a:xfrm>
                <a:off x="6102960" y="2239861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09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39" y="2827"/>
                      <a:pt x="6218" y="1545"/>
                      <a:pt x="7123" y="923"/>
                    </a:cubicBezTo>
                    <a:cubicBezTo>
                      <a:pt x="8027" y="301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6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09"/>
                    </a:cubicBezTo>
                    <a:cubicBezTo>
                      <a:pt x="6332" y="6331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80" name="Freihandform: Form 3479">
                <a:extLst>
                  <a:ext uri="{FF2B5EF4-FFF2-40B4-BE49-F238E27FC236}">
                    <a16:creationId xmlns:a16="http://schemas.microsoft.com/office/drawing/2014/main" id="{A214DFD5-847D-94D9-14FF-2F06EEAEE9FE}"/>
                  </a:ext>
                </a:extLst>
              </p:cNvPr>
              <p:cNvSpPr/>
              <p:nvPr/>
            </p:nvSpPr>
            <p:spPr>
              <a:xfrm>
                <a:off x="6119014" y="2239861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39 w 25231"/>
                  <a:gd name="connsiteY3" fmla="*/ 28585 h 28585"/>
                  <a:gd name="connsiteX4" fmla="*/ 3523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9" y="26268"/>
                    </a:cubicBezTo>
                    <a:cubicBezTo>
                      <a:pt x="18825" y="27813"/>
                      <a:pt x="16224" y="28585"/>
                      <a:pt x="13039" y="28585"/>
                    </a:cubicBezTo>
                    <a:cubicBezTo>
                      <a:pt x="9045" y="28585"/>
                      <a:pt x="5860" y="27360"/>
                      <a:pt x="3523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5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4" y="18485"/>
                      <a:pt x="5823" y="20803"/>
                      <a:pt x="7349" y="22386"/>
                    </a:cubicBezTo>
                    <a:cubicBezTo>
                      <a:pt x="8875" y="23969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81" name="Freihandform: Form 3480">
                <a:extLst>
                  <a:ext uri="{FF2B5EF4-FFF2-40B4-BE49-F238E27FC236}">
                    <a16:creationId xmlns:a16="http://schemas.microsoft.com/office/drawing/2014/main" id="{0F84E6E6-9906-18EA-8257-010224D11C0F}"/>
                  </a:ext>
                </a:extLst>
              </p:cNvPr>
              <p:cNvSpPr/>
              <p:nvPr/>
            </p:nvSpPr>
            <p:spPr>
              <a:xfrm>
                <a:off x="6147468" y="2240464"/>
                <a:ext cx="24213" cy="27379"/>
              </a:xfrm>
              <a:custGeom>
                <a:avLst/>
                <a:gdLst>
                  <a:gd name="connsiteX0" fmla="*/ 19 w 24213"/>
                  <a:gd name="connsiteY0" fmla="*/ 27379 h 27379"/>
                  <a:gd name="connsiteX1" fmla="*/ 19 w 24213"/>
                  <a:gd name="connsiteY1" fmla="*/ 23611 h 27379"/>
                  <a:gd name="connsiteX2" fmla="*/ 17430 w 24213"/>
                  <a:gd name="connsiteY2" fmla="*/ 3618 h 27379"/>
                  <a:gd name="connsiteX3" fmla="*/ 12192 w 24213"/>
                  <a:gd name="connsiteY3" fmla="*/ 3769 h 27379"/>
                  <a:gd name="connsiteX4" fmla="*/ 1036 w 24213"/>
                  <a:gd name="connsiteY4" fmla="*/ 3769 h 27379"/>
                  <a:gd name="connsiteX5" fmla="*/ 1036 w 24213"/>
                  <a:gd name="connsiteY5" fmla="*/ 0 h 27379"/>
                  <a:gd name="connsiteX6" fmla="*/ 23404 w 24213"/>
                  <a:gd name="connsiteY6" fmla="*/ 0 h 27379"/>
                  <a:gd name="connsiteX7" fmla="*/ 23404 w 24213"/>
                  <a:gd name="connsiteY7" fmla="*/ 3071 h 27379"/>
                  <a:gd name="connsiteX8" fmla="*/ 8593 w 24213"/>
                  <a:gd name="connsiteY8" fmla="*/ 20426 h 27379"/>
                  <a:gd name="connsiteX9" fmla="*/ 5728 w 24213"/>
                  <a:gd name="connsiteY9" fmla="*/ 23592 h 27379"/>
                  <a:gd name="connsiteX10" fmla="*/ 11570 w 24213"/>
                  <a:gd name="connsiteY10" fmla="*/ 23366 h 27379"/>
                  <a:gd name="connsiteX11" fmla="*/ 24214 w 24213"/>
                  <a:gd name="connsiteY11" fmla="*/ 23366 h 27379"/>
                  <a:gd name="connsiteX12" fmla="*/ 24214 w 24213"/>
                  <a:gd name="connsiteY12" fmla="*/ 27361 h 27379"/>
                  <a:gd name="connsiteX13" fmla="*/ 0 w 24213"/>
                  <a:gd name="connsiteY13" fmla="*/ 27361 h 2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213" h="27379">
                    <a:moveTo>
                      <a:pt x="19" y="27379"/>
                    </a:moveTo>
                    <a:lnTo>
                      <a:pt x="19" y="23611"/>
                    </a:lnTo>
                    <a:lnTo>
                      <a:pt x="17430" y="3618"/>
                    </a:lnTo>
                    <a:cubicBezTo>
                      <a:pt x="15452" y="3712"/>
                      <a:pt x="13718" y="3769"/>
                      <a:pt x="12192" y="3769"/>
                    </a:cubicBezTo>
                    <a:lnTo>
                      <a:pt x="1036" y="3769"/>
                    </a:lnTo>
                    <a:lnTo>
                      <a:pt x="1036" y="0"/>
                    </a:lnTo>
                    <a:lnTo>
                      <a:pt x="23404" y="0"/>
                    </a:lnTo>
                    <a:lnTo>
                      <a:pt x="23404" y="3071"/>
                    </a:lnTo>
                    <a:lnTo>
                      <a:pt x="8593" y="20426"/>
                    </a:lnTo>
                    <a:lnTo>
                      <a:pt x="5728" y="23592"/>
                    </a:lnTo>
                    <a:cubicBezTo>
                      <a:pt x="7801" y="23441"/>
                      <a:pt x="9761" y="23366"/>
                      <a:pt x="11570" y="23366"/>
                    </a:cubicBezTo>
                    <a:lnTo>
                      <a:pt x="24214" y="23366"/>
                    </a:lnTo>
                    <a:lnTo>
                      <a:pt x="24214" y="27361"/>
                    </a:lnTo>
                    <a:lnTo>
                      <a:pt x="0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59" name="Grafik 21">
              <a:extLst>
                <a:ext uri="{FF2B5EF4-FFF2-40B4-BE49-F238E27FC236}">
                  <a16:creationId xmlns:a16="http://schemas.microsoft.com/office/drawing/2014/main" id="{7056F362-85F6-AD76-61C2-8F1E799A93E0}"/>
                </a:ext>
              </a:extLst>
            </p:cNvPr>
            <p:cNvGrpSpPr/>
            <p:nvPr/>
          </p:nvGrpSpPr>
          <p:grpSpPr>
            <a:xfrm>
              <a:off x="6186605" y="2230100"/>
              <a:ext cx="54683" cy="38365"/>
              <a:chOff x="6186605" y="2230100"/>
              <a:chExt cx="54683" cy="38365"/>
            </a:xfrm>
            <a:solidFill>
              <a:srgbClr val="000000"/>
            </a:solidFill>
          </p:grpSpPr>
          <p:sp>
            <p:nvSpPr>
              <p:cNvPr id="3475" name="Freihandform: Form 3474">
                <a:extLst>
                  <a:ext uri="{FF2B5EF4-FFF2-40B4-BE49-F238E27FC236}">
                    <a16:creationId xmlns:a16="http://schemas.microsoft.com/office/drawing/2014/main" id="{3952424B-6A17-B6F0-E39D-B729BB114F11}"/>
                  </a:ext>
                </a:extLst>
              </p:cNvPr>
              <p:cNvSpPr/>
              <p:nvPr/>
            </p:nvSpPr>
            <p:spPr>
              <a:xfrm>
                <a:off x="6186605" y="2230100"/>
                <a:ext cx="23723" cy="38365"/>
              </a:xfrm>
              <a:custGeom>
                <a:avLst/>
                <a:gdLst>
                  <a:gd name="connsiteX0" fmla="*/ 19428 w 23723"/>
                  <a:gd name="connsiteY0" fmla="*/ 37743 h 38365"/>
                  <a:gd name="connsiteX1" fmla="*/ 19428 w 23723"/>
                  <a:gd name="connsiteY1" fmla="*/ 34295 h 38365"/>
                  <a:gd name="connsiteX2" fmla="*/ 11777 w 23723"/>
                  <a:gd name="connsiteY2" fmla="*/ 38365 h 38365"/>
                  <a:gd name="connsiteX3" fmla="*/ 5766 w 23723"/>
                  <a:gd name="connsiteY3" fmla="*/ 36556 h 38365"/>
                  <a:gd name="connsiteX4" fmla="*/ 1508 w 23723"/>
                  <a:gd name="connsiteY4" fmla="*/ 31525 h 38365"/>
                  <a:gd name="connsiteX5" fmla="*/ 0 w 23723"/>
                  <a:gd name="connsiteY5" fmla="*/ 24101 h 38365"/>
                  <a:gd name="connsiteX6" fmla="*/ 1357 w 23723"/>
                  <a:gd name="connsiteY6" fmla="*/ 16676 h 38365"/>
                  <a:gd name="connsiteX7" fmla="*/ 5446 w 23723"/>
                  <a:gd name="connsiteY7" fmla="*/ 11570 h 38365"/>
                  <a:gd name="connsiteX8" fmla="*/ 11551 w 23723"/>
                  <a:gd name="connsiteY8" fmla="*/ 9799 h 38365"/>
                  <a:gd name="connsiteX9" fmla="*/ 15961 w 23723"/>
                  <a:gd name="connsiteY9" fmla="*/ 10835 h 38365"/>
                  <a:gd name="connsiteX10" fmla="*/ 19107 w 23723"/>
                  <a:gd name="connsiteY10" fmla="*/ 13548 h 38365"/>
                  <a:gd name="connsiteX11" fmla="*/ 19107 w 23723"/>
                  <a:gd name="connsiteY11" fmla="*/ 0 h 38365"/>
                  <a:gd name="connsiteX12" fmla="*/ 23724 w 23723"/>
                  <a:gd name="connsiteY12" fmla="*/ 0 h 38365"/>
                  <a:gd name="connsiteX13" fmla="*/ 23724 w 23723"/>
                  <a:gd name="connsiteY13" fmla="*/ 37762 h 38365"/>
                  <a:gd name="connsiteX14" fmla="*/ 19428 w 23723"/>
                  <a:gd name="connsiteY14" fmla="*/ 37762 h 38365"/>
                  <a:gd name="connsiteX15" fmla="*/ 4767 w 23723"/>
                  <a:gd name="connsiteY15" fmla="*/ 24082 h 38365"/>
                  <a:gd name="connsiteX16" fmla="*/ 6991 w 23723"/>
                  <a:gd name="connsiteY16" fmla="*/ 31940 h 38365"/>
                  <a:gd name="connsiteX17" fmla="*/ 12229 w 23723"/>
                  <a:gd name="connsiteY17" fmla="*/ 34540 h 38365"/>
                  <a:gd name="connsiteX18" fmla="*/ 17392 w 23723"/>
                  <a:gd name="connsiteY18" fmla="*/ 32053 h 38365"/>
                  <a:gd name="connsiteX19" fmla="*/ 19522 w 23723"/>
                  <a:gd name="connsiteY19" fmla="*/ 24459 h 38365"/>
                  <a:gd name="connsiteX20" fmla="*/ 17355 w 23723"/>
                  <a:gd name="connsiteY20" fmla="*/ 16205 h 38365"/>
                  <a:gd name="connsiteX21" fmla="*/ 12022 w 23723"/>
                  <a:gd name="connsiteY21" fmla="*/ 13586 h 38365"/>
                  <a:gd name="connsiteX22" fmla="*/ 6859 w 23723"/>
                  <a:gd name="connsiteY22" fmla="*/ 16111 h 38365"/>
                  <a:gd name="connsiteX23" fmla="*/ 4786 w 23723"/>
                  <a:gd name="connsiteY23" fmla="*/ 24063 h 38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723" h="38365">
                    <a:moveTo>
                      <a:pt x="19428" y="37743"/>
                    </a:moveTo>
                    <a:lnTo>
                      <a:pt x="19428" y="34295"/>
                    </a:lnTo>
                    <a:cubicBezTo>
                      <a:pt x="17694" y="37008"/>
                      <a:pt x="15150" y="38365"/>
                      <a:pt x="11777" y="38365"/>
                    </a:cubicBezTo>
                    <a:cubicBezTo>
                      <a:pt x="9591" y="38365"/>
                      <a:pt x="7594" y="37762"/>
                      <a:pt x="5766" y="36556"/>
                    </a:cubicBezTo>
                    <a:cubicBezTo>
                      <a:pt x="3938" y="35350"/>
                      <a:pt x="2525" y="33673"/>
                      <a:pt x="1508" y="31525"/>
                    </a:cubicBezTo>
                    <a:cubicBezTo>
                      <a:pt x="490" y="29377"/>
                      <a:pt x="0" y="26890"/>
                      <a:pt x="0" y="24101"/>
                    </a:cubicBezTo>
                    <a:cubicBezTo>
                      <a:pt x="0" y="21312"/>
                      <a:pt x="452" y="18900"/>
                      <a:pt x="1357" y="16676"/>
                    </a:cubicBezTo>
                    <a:cubicBezTo>
                      <a:pt x="2262" y="14453"/>
                      <a:pt x="3637" y="12757"/>
                      <a:pt x="5446" y="11570"/>
                    </a:cubicBezTo>
                    <a:cubicBezTo>
                      <a:pt x="7274" y="10383"/>
                      <a:pt x="9309" y="9799"/>
                      <a:pt x="11551" y="9799"/>
                    </a:cubicBezTo>
                    <a:cubicBezTo>
                      <a:pt x="13209" y="9799"/>
                      <a:pt x="14660" y="10138"/>
                      <a:pt x="15961" y="10835"/>
                    </a:cubicBezTo>
                    <a:cubicBezTo>
                      <a:pt x="17261" y="11532"/>
                      <a:pt x="18297" y="12437"/>
                      <a:pt x="19107" y="13548"/>
                    </a:cubicBezTo>
                    <a:lnTo>
                      <a:pt x="19107" y="0"/>
                    </a:lnTo>
                    <a:lnTo>
                      <a:pt x="23724" y="0"/>
                    </a:lnTo>
                    <a:lnTo>
                      <a:pt x="23724" y="37762"/>
                    </a:lnTo>
                    <a:lnTo>
                      <a:pt x="19428" y="37762"/>
                    </a:lnTo>
                    <a:close/>
                    <a:moveTo>
                      <a:pt x="4767" y="24082"/>
                    </a:moveTo>
                    <a:cubicBezTo>
                      <a:pt x="4767" y="27587"/>
                      <a:pt x="5503" y="30206"/>
                      <a:pt x="6991" y="31940"/>
                    </a:cubicBezTo>
                    <a:cubicBezTo>
                      <a:pt x="8461" y="33673"/>
                      <a:pt x="10213" y="34540"/>
                      <a:pt x="12229" y="34540"/>
                    </a:cubicBezTo>
                    <a:cubicBezTo>
                      <a:pt x="14246" y="34540"/>
                      <a:pt x="15979" y="33711"/>
                      <a:pt x="17392" y="32053"/>
                    </a:cubicBezTo>
                    <a:cubicBezTo>
                      <a:pt x="18806" y="30394"/>
                      <a:pt x="19522" y="27869"/>
                      <a:pt x="19522" y="24459"/>
                    </a:cubicBezTo>
                    <a:cubicBezTo>
                      <a:pt x="19522" y="20709"/>
                      <a:pt x="18806" y="17958"/>
                      <a:pt x="17355" y="16205"/>
                    </a:cubicBezTo>
                    <a:cubicBezTo>
                      <a:pt x="15904" y="14453"/>
                      <a:pt x="14133" y="13586"/>
                      <a:pt x="12022" y="13586"/>
                    </a:cubicBezTo>
                    <a:cubicBezTo>
                      <a:pt x="9912" y="13586"/>
                      <a:pt x="8235" y="14434"/>
                      <a:pt x="6859" y="16111"/>
                    </a:cubicBezTo>
                    <a:cubicBezTo>
                      <a:pt x="5484" y="17788"/>
                      <a:pt x="4786" y="20445"/>
                      <a:pt x="4786" y="2406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76" name="Freihandform: Form 3475">
                <a:extLst>
                  <a:ext uri="{FF2B5EF4-FFF2-40B4-BE49-F238E27FC236}">
                    <a16:creationId xmlns:a16="http://schemas.microsoft.com/office/drawing/2014/main" id="{26575FBC-89A7-652E-A582-64625A52138C}"/>
                  </a:ext>
                </a:extLst>
              </p:cNvPr>
              <p:cNvSpPr/>
              <p:nvPr/>
            </p:nvSpPr>
            <p:spPr>
              <a:xfrm>
                <a:off x="6216058" y="2239861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39 w 25231"/>
                  <a:gd name="connsiteY3" fmla="*/ 28585 h 28585"/>
                  <a:gd name="connsiteX4" fmla="*/ 3523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9" y="26268"/>
                    </a:cubicBezTo>
                    <a:cubicBezTo>
                      <a:pt x="18843" y="27813"/>
                      <a:pt x="16224" y="28585"/>
                      <a:pt x="13039" y="28585"/>
                    </a:cubicBezTo>
                    <a:cubicBezTo>
                      <a:pt x="9045" y="28585"/>
                      <a:pt x="5860" y="27360"/>
                      <a:pt x="3523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5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4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60" name="Grafik 21">
              <a:extLst>
                <a:ext uri="{FF2B5EF4-FFF2-40B4-BE49-F238E27FC236}">
                  <a16:creationId xmlns:a16="http://schemas.microsoft.com/office/drawing/2014/main" id="{EB39E4F4-1D6D-9CE1-589B-5023C0B1C991}"/>
                </a:ext>
              </a:extLst>
            </p:cNvPr>
            <p:cNvGrpSpPr/>
            <p:nvPr/>
          </p:nvGrpSpPr>
          <p:grpSpPr>
            <a:xfrm>
              <a:off x="6260076" y="2230081"/>
              <a:ext cx="35444" cy="38383"/>
              <a:chOff x="6260076" y="2230081"/>
              <a:chExt cx="35444" cy="38383"/>
            </a:xfrm>
            <a:solidFill>
              <a:srgbClr val="000000"/>
            </a:solidFill>
          </p:grpSpPr>
          <p:sp>
            <p:nvSpPr>
              <p:cNvPr id="3473" name="Freihandform: Form 3472">
                <a:extLst>
                  <a:ext uri="{FF2B5EF4-FFF2-40B4-BE49-F238E27FC236}">
                    <a16:creationId xmlns:a16="http://schemas.microsoft.com/office/drawing/2014/main" id="{934F2E9F-6716-F497-EBFC-FC49A92F8D9B}"/>
                  </a:ext>
                </a:extLst>
              </p:cNvPr>
              <p:cNvSpPr/>
              <p:nvPr/>
            </p:nvSpPr>
            <p:spPr>
              <a:xfrm>
                <a:off x="6260076" y="2230081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74" name="Freihandform: Form 3473">
                <a:extLst>
                  <a:ext uri="{FF2B5EF4-FFF2-40B4-BE49-F238E27FC236}">
                    <a16:creationId xmlns:a16="http://schemas.microsoft.com/office/drawing/2014/main" id="{0D9DA0C5-59EB-7262-52EE-45DC6A85A195}"/>
                  </a:ext>
                </a:extLst>
              </p:cNvPr>
              <p:cNvSpPr/>
              <p:nvPr/>
            </p:nvSpPr>
            <p:spPr>
              <a:xfrm>
                <a:off x="6270327" y="2239842"/>
                <a:ext cx="25193" cy="28623"/>
              </a:xfrm>
              <a:custGeom>
                <a:avLst/>
                <a:gdLst>
                  <a:gd name="connsiteX0" fmla="*/ 19427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0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3 h 28623"/>
                  <a:gd name="connsiteX26" fmla="*/ 20350 w 25193"/>
                  <a:gd name="connsiteY26" fmla="*/ 27963 h 28623"/>
                  <a:gd name="connsiteX27" fmla="*/ 19427 w 25193"/>
                  <a:gd name="connsiteY27" fmla="*/ 24591 h 28623"/>
                  <a:gd name="connsiteX28" fmla="*/ 19032 w 25193"/>
                  <a:gd name="connsiteY28" fmla="*/ 14264 h 28623"/>
                  <a:gd name="connsiteX29" fmla="*/ 11456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0 w 25193"/>
                  <a:gd name="connsiteY37" fmla="*/ 15979 h 28623"/>
                  <a:gd name="connsiteX38" fmla="*/ 19050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7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94" y="1376"/>
                      <a:pt x="21349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3" y="25834"/>
                      <a:pt x="24609" y="26927"/>
                      <a:pt x="25193" y="27963"/>
                    </a:cubicBezTo>
                    <a:lnTo>
                      <a:pt x="20350" y="27963"/>
                    </a:lnTo>
                    <a:cubicBezTo>
                      <a:pt x="19879" y="27002"/>
                      <a:pt x="19559" y="25872"/>
                      <a:pt x="19427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3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61" name="Grafik 21">
              <a:extLst>
                <a:ext uri="{FF2B5EF4-FFF2-40B4-BE49-F238E27FC236}">
                  <a16:creationId xmlns:a16="http://schemas.microsoft.com/office/drawing/2014/main" id="{37B0733B-ADEB-26BB-FDBC-38D40F21C3EB}"/>
                </a:ext>
              </a:extLst>
            </p:cNvPr>
            <p:cNvGrpSpPr/>
            <p:nvPr/>
          </p:nvGrpSpPr>
          <p:grpSpPr>
            <a:xfrm>
              <a:off x="6315664" y="2230081"/>
              <a:ext cx="192824" cy="38402"/>
              <a:chOff x="6315664" y="2230081"/>
              <a:chExt cx="192824" cy="38402"/>
            </a:xfrm>
            <a:solidFill>
              <a:srgbClr val="000000"/>
            </a:solidFill>
          </p:grpSpPr>
          <p:sp>
            <p:nvSpPr>
              <p:cNvPr id="3465" name="Freihandform: Form 3464">
                <a:extLst>
                  <a:ext uri="{FF2B5EF4-FFF2-40B4-BE49-F238E27FC236}">
                    <a16:creationId xmlns:a16="http://schemas.microsoft.com/office/drawing/2014/main" id="{32AF6691-3EF5-DE0D-A3CE-3394FFCE4E38}"/>
                  </a:ext>
                </a:extLst>
              </p:cNvPr>
              <p:cNvSpPr/>
              <p:nvPr/>
            </p:nvSpPr>
            <p:spPr>
              <a:xfrm>
                <a:off x="6315664" y="2230081"/>
                <a:ext cx="25476" cy="37799"/>
              </a:xfrm>
              <a:custGeom>
                <a:avLst/>
                <a:gdLst>
                  <a:gd name="connsiteX0" fmla="*/ 0 w 25476"/>
                  <a:gd name="connsiteY0" fmla="*/ 37762 h 37799"/>
                  <a:gd name="connsiteX1" fmla="*/ 0 w 25476"/>
                  <a:gd name="connsiteY1" fmla="*/ 0 h 37799"/>
                  <a:gd name="connsiteX2" fmla="*/ 25476 w 25476"/>
                  <a:gd name="connsiteY2" fmla="*/ 0 h 37799"/>
                  <a:gd name="connsiteX3" fmla="*/ 25476 w 25476"/>
                  <a:gd name="connsiteY3" fmla="*/ 4466 h 37799"/>
                  <a:gd name="connsiteX4" fmla="*/ 4994 w 25476"/>
                  <a:gd name="connsiteY4" fmla="*/ 4466 h 37799"/>
                  <a:gd name="connsiteX5" fmla="*/ 4994 w 25476"/>
                  <a:gd name="connsiteY5" fmla="*/ 16168 h 37799"/>
                  <a:gd name="connsiteX6" fmla="*/ 22725 w 25476"/>
                  <a:gd name="connsiteY6" fmla="*/ 16168 h 37799"/>
                  <a:gd name="connsiteX7" fmla="*/ 22725 w 25476"/>
                  <a:gd name="connsiteY7" fmla="*/ 20633 h 37799"/>
                  <a:gd name="connsiteX8" fmla="*/ 4994 w 25476"/>
                  <a:gd name="connsiteY8" fmla="*/ 20633 h 37799"/>
                  <a:gd name="connsiteX9" fmla="*/ 4994 w 25476"/>
                  <a:gd name="connsiteY9" fmla="*/ 37800 h 37799"/>
                  <a:gd name="connsiteX10" fmla="*/ 0 w 25476"/>
                  <a:gd name="connsiteY10" fmla="*/ 37800 h 37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476" h="37799">
                    <a:moveTo>
                      <a:pt x="0" y="37762"/>
                    </a:moveTo>
                    <a:lnTo>
                      <a:pt x="0" y="0"/>
                    </a:lnTo>
                    <a:lnTo>
                      <a:pt x="25476" y="0"/>
                    </a:lnTo>
                    <a:lnTo>
                      <a:pt x="25476" y="4466"/>
                    </a:lnTo>
                    <a:lnTo>
                      <a:pt x="4994" y="4466"/>
                    </a:lnTo>
                    <a:lnTo>
                      <a:pt x="4994" y="16168"/>
                    </a:lnTo>
                    <a:lnTo>
                      <a:pt x="22725" y="16168"/>
                    </a:lnTo>
                    <a:lnTo>
                      <a:pt x="22725" y="20633"/>
                    </a:lnTo>
                    <a:lnTo>
                      <a:pt x="4994" y="20633"/>
                    </a:lnTo>
                    <a:lnTo>
                      <a:pt x="4994" y="37800"/>
                    </a:lnTo>
                    <a:lnTo>
                      <a:pt x="0" y="37800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66" name="Freihandform: Form 3465">
                <a:extLst>
                  <a:ext uri="{FF2B5EF4-FFF2-40B4-BE49-F238E27FC236}">
                    <a16:creationId xmlns:a16="http://schemas.microsoft.com/office/drawing/2014/main" id="{1F3482E4-86C5-46EC-B9FD-5CE5F8C6F8D5}"/>
                  </a:ext>
                </a:extLst>
              </p:cNvPr>
              <p:cNvSpPr/>
              <p:nvPr/>
            </p:nvSpPr>
            <p:spPr>
              <a:xfrm>
                <a:off x="6346982" y="2239861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09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39" y="2827"/>
                      <a:pt x="6218" y="1545"/>
                      <a:pt x="7123" y="923"/>
                    </a:cubicBezTo>
                    <a:cubicBezTo>
                      <a:pt x="8027" y="301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6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09"/>
                    </a:cubicBezTo>
                    <a:cubicBezTo>
                      <a:pt x="6332" y="6331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67" name="Freihandform: Form 3466">
                <a:extLst>
                  <a:ext uri="{FF2B5EF4-FFF2-40B4-BE49-F238E27FC236}">
                    <a16:creationId xmlns:a16="http://schemas.microsoft.com/office/drawing/2014/main" id="{9FFBBF4C-200C-1211-C406-B8A89E540450}"/>
                  </a:ext>
                </a:extLst>
              </p:cNvPr>
              <p:cNvSpPr/>
              <p:nvPr/>
            </p:nvSpPr>
            <p:spPr>
              <a:xfrm>
                <a:off x="6362866" y="2239880"/>
                <a:ext cx="25646" cy="28604"/>
              </a:xfrm>
              <a:custGeom>
                <a:avLst/>
                <a:gdLst>
                  <a:gd name="connsiteX0" fmla="*/ 19 w 25646"/>
                  <a:gd name="connsiteY0" fmla="*/ 14283 h 28604"/>
                  <a:gd name="connsiteX1" fmla="*/ 4240 w 25646"/>
                  <a:gd name="connsiteY1" fmla="*/ 3034 h 28604"/>
                  <a:gd name="connsiteX2" fmla="*/ 12851 w 25646"/>
                  <a:gd name="connsiteY2" fmla="*/ 0 h 28604"/>
                  <a:gd name="connsiteX3" fmla="*/ 22066 w 25646"/>
                  <a:gd name="connsiteY3" fmla="*/ 3693 h 28604"/>
                  <a:gd name="connsiteX4" fmla="*/ 25646 w 25646"/>
                  <a:gd name="connsiteY4" fmla="*/ 13906 h 28604"/>
                  <a:gd name="connsiteX5" fmla="*/ 24063 w 25646"/>
                  <a:gd name="connsiteY5" fmla="*/ 22216 h 28604"/>
                  <a:gd name="connsiteX6" fmla="*/ 19446 w 25646"/>
                  <a:gd name="connsiteY6" fmla="*/ 26927 h 28604"/>
                  <a:gd name="connsiteX7" fmla="*/ 12832 w 25646"/>
                  <a:gd name="connsiteY7" fmla="*/ 28604 h 28604"/>
                  <a:gd name="connsiteX8" fmla="*/ 3543 w 25646"/>
                  <a:gd name="connsiteY8" fmla="*/ 24911 h 28604"/>
                  <a:gd name="connsiteX9" fmla="*/ 0 w 25646"/>
                  <a:gd name="connsiteY9" fmla="*/ 14302 h 28604"/>
                  <a:gd name="connsiteX10" fmla="*/ 4786 w 25646"/>
                  <a:gd name="connsiteY10" fmla="*/ 14283 h 28604"/>
                  <a:gd name="connsiteX11" fmla="*/ 7085 w 25646"/>
                  <a:gd name="connsiteY11" fmla="*/ 22160 h 28604"/>
                  <a:gd name="connsiteX12" fmla="*/ 12851 w 25646"/>
                  <a:gd name="connsiteY12" fmla="*/ 24779 h 28604"/>
                  <a:gd name="connsiteX13" fmla="*/ 18599 w 25646"/>
                  <a:gd name="connsiteY13" fmla="*/ 22160 h 28604"/>
                  <a:gd name="connsiteX14" fmla="*/ 20897 w 25646"/>
                  <a:gd name="connsiteY14" fmla="*/ 14151 h 28604"/>
                  <a:gd name="connsiteX15" fmla="*/ 18599 w 25646"/>
                  <a:gd name="connsiteY15" fmla="*/ 6463 h 28604"/>
                  <a:gd name="connsiteX16" fmla="*/ 12870 w 25646"/>
                  <a:gd name="connsiteY16" fmla="*/ 3844 h 28604"/>
                  <a:gd name="connsiteX17" fmla="*/ 7104 w 25646"/>
                  <a:gd name="connsiteY17" fmla="*/ 6445 h 28604"/>
                  <a:gd name="connsiteX18" fmla="*/ 4805 w 25646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6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40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58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43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912"/>
                      <a:pt x="10534" y="24779"/>
                      <a:pt x="12851" y="24779"/>
                    </a:cubicBezTo>
                    <a:cubicBezTo>
                      <a:pt x="15169" y="24779"/>
                      <a:pt x="17072" y="23912"/>
                      <a:pt x="18599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9" y="6463"/>
                    </a:cubicBezTo>
                    <a:cubicBezTo>
                      <a:pt x="17072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68" name="Freihandform: Form 3467">
                <a:extLst>
                  <a:ext uri="{FF2B5EF4-FFF2-40B4-BE49-F238E27FC236}">
                    <a16:creationId xmlns:a16="http://schemas.microsoft.com/office/drawing/2014/main" id="{71404982-FF61-BA2E-8E56-0D9569AF9436}"/>
                  </a:ext>
                </a:extLst>
              </p:cNvPr>
              <p:cNvSpPr/>
              <p:nvPr/>
            </p:nvSpPr>
            <p:spPr>
              <a:xfrm>
                <a:off x="6393958" y="2239861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1 w 22235"/>
                  <a:gd name="connsiteY6" fmla="*/ 3222 h 28001"/>
                  <a:gd name="connsiteX7" fmla="*/ 21972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1" y="3222"/>
                    </a:cubicBezTo>
                    <a:cubicBezTo>
                      <a:pt x="21218" y="4183"/>
                      <a:pt x="21689" y="5333"/>
                      <a:pt x="21972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2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69" name="Freihandform: Form 3468">
                <a:extLst>
                  <a:ext uri="{FF2B5EF4-FFF2-40B4-BE49-F238E27FC236}">
                    <a16:creationId xmlns:a16="http://schemas.microsoft.com/office/drawing/2014/main" id="{8AA7A94A-EEAB-988A-044B-EE3115F65595}"/>
                  </a:ext>
                </a:extLst>
              </p:cNvPr>
              <p:cNvSpPr/>
              <p:nvPr/>
            </p:nvSpPr>
            <p:spPr>
              <a:xfrm>
                <a:off x="6420753" y="2230929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2 h 37272"/>
                  <a:gd name="connsiteX7" fmla="*/ 0 w 13341"/>
                  <a:gd name="connsiteY7" fmla="*/ 13172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4 w 13341"/>
                  <a:gd name="connsiteY17" fmla="*/ 31695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1" y="33522"/>
                      <a:pt x="3392" y="31695"/>
                      <a:pt x="3392" y="28906"/>
                    </a:cubicBezTo>
                    <a:lnTo>
                      <a:pt x="3392" y="13172"/>
                    </a:lnTo>
                    <a:lnTo>
                      <a:pt x="0" y="13172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4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03" y="32825"/>
                      <a:pt x="9949" y="32938"/>
                      <a:pt x="10628" y="32938"/>
                    </a:cubicBezTo>
                    <a:cubicBezTo>
                      <a:pt x="11137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70" name="Freihandform: Form 3469">
                <a:extLst>
                  <a:ext uri="{FF2B5EF4-FFF2-40B4-BE49-F238E27FC236}">
                    <a16:creationId xmlns:a16="http://schemas.microsoft.com/office/drawing/2014/main" id="{F21D658A-E737-54CF-0D75-0C3032113255}"/>
                  </a:ext>
                </a:extLst>
              </p:cNvPr>
              <p:cNvSpPr/>
              <p:nvPr/>
            </p:nvSpPr>
            <p:spPr>
              <a:xfrm>
                <a:off x="6436393" y="2239861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39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2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2 w 25231"/>
                  <a:gd name="connsiteY9" fmla="*/ 14246 h 28585"/>
                  <a:gd name="connsiteX10" fmla="*/ 25213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9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9" y="26268"/>
                    </a:cubicBezTo>
                    <a:cubicBezTo>
                      <a:pt x="18825" y="27813"/>
                      <a:pt x="16224" y="28585"/>
                      <a:pt x="13039" y="28585"/>
                    </a:cubicBezTo>
                    <a:cubicBezTo>
                      <a:pt x="9045" y="28585"/>
                      <a:pt x="5860" y="27360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2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2" y="9723"/>
                      <a:pt x="25232" y="14246"/>
                    </a:cubicBezTo>
                    <a:cubicBezTo>
                      <a:pt x="25232" y="14528"/>
                      <a:pt x="25232" y="14924"/>
                      <a:pt x="25213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69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9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60" y="7632"/>
                      <a:pt x="18599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49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71" name="Freihandform: Form 3470">
                <a:extLst>
                  <a:ext uri="{FF2B5EF4-FFF2-40B4-BE49-F238E27FC236}">
                    <a16:creationId xmlns:a16="http://schemas.microsoft.com/office/drawing/2014/main" id="{080FA53F-9544-259C-CE44-7B20F8463114}"/>
                  </a:ext>
                </a:extLst>
              </p:cNvPr>
              <p:cNvSpPr/>
              <p:nvPr/>
            </p:nvSpPr>
            <p:spPr>
              <a:xfrm>
                <a:off x="6467240" y="2239861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09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39" y="2827"/>
                      <a:pt x="6218" y="1545"/>
                      <a:pt x="7123" y="923"/>
                    </a:cubicBezTo>
                    <a:cubicBezTo>
                      <a:pt x="8027" y="301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6"/>
                      <a:pt x="11004" y="4786"/>
                      <a:pt x="9874" y="4786"/>
                    </a:cubicBezTo>
                    <a:cubicBezTo>
                      <a:pt x="8856" y="4786"/>
                      <a:pt x="7952" y="5088"/>
                      <a:pt x="7142" y="5709"/>
                    </a:cubicBezTo>
                    <a:cubicBezTo>
                      <a:pt x="6331" y="6331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72" name="Freihandform: Form 3471">
                <a:extLst>
                  <a:ext uri="{FF2B5EF4-FFF2-40B4-BE49-F238E27FC236}">
                    <a16:creationId xmlns:a16="http://schemas.microsoft.com/office/drawing/2014/main" id="{7E29E55C-7BC9-EB32-3101-085C59F72A16}"/>
                  </a:ext>
                </a:extLst>
              </p:cNvPr>
              <p:cNvSpPr/>
              <p:nvPr/>
            </p:nvSpPr>
            <p:spPr>
              <a:xfrm>
                <a:off x="6483295" y="2239842"/>
                <a:ext cx="25193" cy="28623"/>
              </a:xfrm>
              <a:custGeom>
                <a:avLst/>
                <a:gdLst>
                  <a:gd name="connsiteX0" fmla="*/ 19427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0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1 w 25193"/>
                  <a:gd name="connsiteY7" fmla="*/ 12908 h 28623"/>
                  <a:gd name="connsiteX8" fmla="*/ 10778 w 25193"/>
                  <a:gd name="connsiteY8" fmla="*/ 12210 h 28623"/>
                  <a:gd name="connsiteX9" fmla="*/ 19050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3 h 28623"/>
                  <a:gd name="connsiteX26" fmla="*/ 20350 w 25193"/>
                  <a:gd name="connsiteY26" fmla="*/ 27963 h 28623"/>
                  <a:gd name="connsiteX27" fmla="*/ 19427 w 25193"/>
                  <a:gd name="connsiteY27" fmla="*/ 24591 h 28623"/>
                  <a:gd name="connsiteX28" fmla="*/ 19032 w 25193"/>
                  <a:gd name="connsiteY28" fmla="*/ 14264 h 28623"/>
                  <a:gd name="connsiteX29" fmla="*/ 11456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0 w 25193"/>
                  <a:gd name="connsiteY37" fmla="*/ 15979 h 28623"/>
                  <a:gd name="connsiteX38" fmla="*/ 19050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7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0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1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5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2" y="25834"/>
                      <a:pt x="24609" y="26927"/>
                      <a:pt x="25193" y="27963"/>
                    </a:cubicBezTo>
                    <a:lnTo>
                      <a:pt x="20350" y="27963"/>
                    </a:lnTo>
                    <a:cubicBezTo>
                      <a:pt x="19879" y="27002"/>
                      <a:pt x="19559" y="25872"/>
                      <a:pt x="19427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3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62" name="Grafik 21">
              <a:extLst>
                <a:ext uri="{FF2B5EF4-FFF2-40B4-BE49-F238E27FC236}">
                  <a16:creationId xmlns:a16="http://schemas.microsoft.com/office/drawing/2014/main" id="{06718582-5CCC-99B8-EFC9-E2AFEA752E4E}"/>
                </a:ext>
              </a:extLst>
            </p:cNvPr>
            <p:cNvGrpSpPr/>
            <p:nvPr/>
          </p:nvGrpSpPr>
          <p:grpSpPr>
            <a:xfrm>
              <a:off x="4264544" y="2781985"/>
              <a:ext cx="173999" cy="49105"/>
              <a:chOff x="4264544" y="2781985"/>
              <a:chExt cx="173999" cy="49105"/>
            </a:xfrm>
            <a:solidFill>
              <a:srgbClr val="000000"/>
            </a:solidFill>
          </p:grpSpPr>
          <p:sp>
            <p:nvSpPr>
              <p:cNvPr id="3458" name="Freihandform: Form 3457">
                <a:extLst>
                  <a:ext uri="{FF2B5EF4-FFF2-40B4-BE49-F238E27FC236}">
                    <a16:creationId xmlns:a16="http://schemas.microsoft.com/office/drawing/2014/main" id="{3402521E-40DC-D1FF-2231-9D1EBC7F3653}"/>
                  </a:ext>
                </a:extLst>
              </p:cNvPr>
              <p:cNvSpPr/>
              <p:nvPr/>
            </p:nvSpPr>
            <p:spPr>
              <a:xfrm>
                <a:off x="4264544" y="2782192"/>
                <a:ext cx="29621" cy="37762"/>
              </a:xfrm>
              <a:custGeom>
                <a:avLst/>
                <a:gdLst>
                  <a:gd name="connsiteX0" fmla="*/ 0 w 29621"/>
                  <a:gd name="connsiteY0" fmla="*/ 37762 h 37762"/>
                  <a:gd name="connsiteX1" fmla="*/ 0 w 29621"/>
                  <a:gd name="connsiteY1" fmla="*/ 0 h 37762"/>
                  <a:gd name="connsiteX2" fmla="*/ 4994 w 29621"/>
                  <a:gd name="connsiteY2" fmla="*/ 0 h 37762"/>
                  <a:gd name="connsiteX3" fmla="*/ 4994 w 29621"/>
                  <a:gd name="connsiteY3" fmla="*/ 15508 h 37762"/>
                  <a:gd name="connsiteX4" fmla="*/ 24628 w 29621"/>
                  <a:gd name="connsiteY4" fmla="*/ 15508 h 37762"/>
                  <a:gd name="connsiteX5" fmla="*/ 24628 w 29621"/>
                  <a:gd name="connsiteY5" fmla="*/ 0 h 37762"/>
                  <a:gd name="connsiteX6" fmla="*/ 29622 w 29621"/>
                  <a:gd name="connsiteY6" fmla="*/ 0 h 37762"/>
                  <a:gd name="connsiteX7" fmla="*/ 29622 w 29621"/>
                  <a:gd name="connsiteY7" fmla="*/ 37762 h 37762"/>
                  <a:gd name="connsiteX8" fmla="*/ 24628 w 29621"/>
                  <a:gd name="connsiteY8" fmla="*/ 37762 h 37762"/>
                  <a:gd name="connsiteX9" fmla="*/ 24628 w 29621"/>
                  <a:gd name="connsiteY9" fmla="*/ 19955 h 37762"/>
                  <a:gd name="connsiteX10" fmla="*/ 4994 w 29621"/>
                  <a:gd name="connsiteY10" fmla="*/ 19955 h 37762"/>
                  <a:gd name="connsiteX11" fmla="*/ 4994 w 29621"/>
                  <a:gd name="connsiteY11" fmla="*/ 37762 h 37762"/>
                  <a:gd name="connsiteX12" fmla="*/ 0 w 29621"/>
                  <a:gd name="connsiteY12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621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994" y="0"/>
                    </a:lnTo>
                    <a:lnTo>
                      <a:pt x="4994" y="15508"/>
                    </a:lnTo>
                    <a:lnTo>
                      <a:pt x="24628" y="15508"/>
                    </a:lnTo>
                    <a:lnTo>
                      <a:pt x="24628" y="0"/>
                    </a:lnTo>
                    <a:lnTo>
                      <a:pt x="29622" y="0"/>
                    </a:lnTo>
                    <a:lnTo>
                      <a:pt x="29622" y="37762"/>
                    </a:lnTo>
                    <a:lnTo>
                      <a:pt x="24628" y="37762"/>
                    </a:lnTo>
                    <a:lnTo>
                      <a:pt x="24628" y="19955"/>
                    </a:lnTo>
                    <a:lnTo>
                      <a:pt x="4994" y="19955"/>
                    </a:lnTo>
                    <a:lnTo>
                      <a:pt x="4994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59" name="Freihandform: Form 3458">
                <a:extLst>
                  <a:ext uri="{FF2B5EF4-FFF2-40B4-BE49-F238E27FC236}">
                    <a16:creationId xmlns:a16="http://schemas.microsoft.com/office/drawing/2014/main" id="{01DFC7E8-65B2-5048-48F2-9E51FEABF67E}"/>
                  </a:ext>
                </a:extLst>
              </p:cNvPr>
              <p:cNvSpPr/>
              <p:nvPr/>
            </p:nvSpPr>
            <p:spPr>
              <a:xfrm>
                <a:off x="4300158" y="2791990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6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1"/>
                      <a:pt x="20897" y="14151"/>
                    </a:cubicBezTo>
                    <a:cubicBezTo>
                      <a:pt x="20897" y="10759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60" name="Freihandform: Form 3459">
                <a:extLst>
                  <a:ext uri="{FF2B5EF4-FFF2-40B4-BE49-F238E27FC236}">
                    <a16:creationId xmlns:a16="http://schemas.microsoft.com/office/drawing/2014/main" id="{735DCCC2-56B4-AAE5-1AF1-443F9CEED8E3}"/>
                  </a:ext>
                </a:extLst>
              </p:cNvPr>
              <p:cNvSpPr/>
              <p:nvPr/>
            </p:nvSpPr>
            <p:spPr>
              <a:xfrm>
                <a:off x="4331136" y="2782192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61" name="Freihandform: Form 3460">
                <a:extLst>
                  <a:ext uri="{FF2B5EF4-FFF2-40B4-BE49-F238E27FC236}">
                    <a16:creationId xmlns:a16="http://schemas.microsoft.com/office/drawing/2014/main" id="{6E3450FB-B6D5-2D5A-461E-B64D253A278F}"/>
                  </a:ext>
                </a:extLst>
              </p:cNvPr>
              <p:cNvSpPr/>
              <p:nvPr/>
            </p:nvSpPr>
            <p:spPr>
              <a:xfrm>
                <a:off x="4341199" y="2791990"/>
                <a:ext cx="24119" cy="39099"/>
              </a:xfrm>
              <a:custGeom>
                <a:avLst/>
                <a:gdLst>
                  <a:gd name="connsiteX0" fmla="*/ 923 w 24119"/>
                  <a:gd name="connsiteY0" fmla="*/ 30225 h 39099"/>
                  <a:gd name="connsiteX1" fmla="*/ 5427 w 24119"/>
                  <a:gd name="connsiteY1" fmla="*/ 30903 h 39099"/>
                  <a:gd name="connsiteX2" fmla="*/ 6991 w 24119"/>
                  <a:gd name="connsiteY2" fmla="*/ 33937 h 39099"/>
                  <a:gd name="connsiteX3" fmla="*/ 11702 w 24119"/>
                  <a:gd name="connsiteY3" fmla="*/ 35218 h 39099"/>
                  <a:gd name="connsiteX4" fmla="*/ 16676 w 24119"/>
                  <a:gd name="connsiteY4" fmla="*/ 33937 h 39099"/>
                  <a:gd name="connsiteX5" fmla="*/ 19051 w 24119"/>
                  <a:gd name="connsiteY5" fmla="*/ 30338 h 39099"/>
                  <a:gd name="connsiteX6" fmla="*/ 19390 w 24119"/>
                  <a:gd name="connsiteY6" fmla="*/ 24383 h 39099"/>
                  <a:gd name="connsiteX7" fmla="*/ 11815 w 24119"/>
                  <a:gd name="connsiteY7" fmla="*/ 27963 h 39099"/>
                  <a:gd name="connsiteX8" fmla="*/ 3090 w 24119"/>
                  <a:gd name="connsiteY8" fmla="*/ 23893 h 39099"/>
                  <a:gd name="connsiteX9" fmla="*/ 0 w 24119"/>
                  <a:gd name="connsiteY9" fmla="*/ 14133 h 39099"/>
                  <a:gd name="connsiteX10" fmla="*/ 1413 w 24119"/>
                  <a:gd name="connsiteY10" fmla="*/ 6915 h 39099"/>
                  <a:gd name="connsiteX11" fmla="*/ 5521 w 24119"/>
                  <a:gd name="connsiteY11" fmla="*/ 1809 h 39099"/>
                  <a:gd name="connsiteX12" fmla="*/ 11852 w 24119"/>
                  <a:gd name="connsiteY12" fmla="*/ 0 h 39099"/>
                  <a:gd name="connsiteX13" fmla="*/ 19842 w 24119"/>
                  <a:gd name="connsiteY13" fmla="*/ 3919 h 39099"/>
                  <a:gd name="connsiteX14" fmla="*/ 19842 w 24119"/>
                  <a:gd name="connsiteY14" fmla="*/ 622 h 39099"/>
                  <a:gd name="connsiteX15" fmla="*/ 24119 w 24119"/>
                  <a:gd name="connsiteY15" fmla="*/ 622 h 39099"/>
                  <a:gd name="connsiteX16" fmla="*/ 24119 w 24119"/>
                  <a:gd name="connsiteY16" fmla="*/ 24270 h 39099"/>
                  <a:gd name="connsiteX17" fmla="*/ 22819 w 24119"/>
                  <a:gd name="connsiteY17" fmla="*/ 33334 h 39099"/>
                  <a:gd name="connsiteX18" fmla="*/ 18692 w 24119"/>
                  <a:gd name="connsiteY18" fmla="*/ 37555 h 39099"/>
                  <a:gd name="connsiteX19" fmla="*/ 11758 w 24119"/>
                  <a:gd name="connsiteY19" fmla="*/ 39100 h 39099"/>
                  <a:gd name="connsiteX20" fmla="*/ 3844 w 24119"/>
                  <a:gd name="connsiteY20" fmla="*/ 36895 h 39099"/>
                  <a:gd name="connsiteX21" fmla="*/ 942 w 24119"/>
                  <a:gd name="connsiteY21" fmla="*/ 30262 h 39099"/>
                  <a:gd name="connsiteX22" fmla="*/ 4767 w 24119"/>
                  <a:gd name="connsiteY22" fmla="*/ 13793 h 39099"/>
                  <a:gd name="connsiteX23" fmla="*/ 6897 w 24119"/>
                  <a:gd name="connsiteY23" fmla="*/ 21651 h 39099"/>
                  <a:gd name="connsiteX24" fmla="*/ 12248 w 24119"/>
                  <a:gd name="connsiteY24" fmla="*/ 24119 h 39099"/>
                  <a:gd name="connsiteX25" fmla="*/ 17600 w 24119"/>
                  <a:gd name="connsiteY25" fmla="*/ 21651 h 39099"/>
                  <a:gd name="connsiteX26" fmla="*/ 19767 w 24119"/>
                  <a:gd name="connsiteY26" fmla="*/ 13944 h 39099"/>
                  <a:gd name="connsiteX27" fmla="*/ 17543 w 24119"/>
                  <a:gd name="connsiteY27" fmla="*/ 6369 h 39099"/>
                  <a:gd name="connsiteX28" fmla="*/ 12173 w 24119"/>
                  <a:gd name="connsiteY28" fmla="*/ 3825 h 39099"/>
                  <a:gd name="connsiteX29" fmla="*/ 6915 w 24119"/>
                  <a:gd name="connsiteY29" fmla="*/ 6331 h 39099"/>
                  <a:gd name="connsiteX30" fmla="*/ 4748 w 24119"/>
                  <a:gd name="connsiteY30" fmla="*/ 13793 h 39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19" h="39099">
                    <a:moveTo>
                      <a:pt x="923" y="30225"/>
                    </a:moveTo>
                    <a:lnTo>
                      <a:pt x="5427" y="30903"/>
                    </a:lnTo>
                    <a:cubicBezTo>
                      <a:pt x="5615" y="32298"/>
                      <a:pt x="6143" y="33315"/>
                      <a:pt x="6991" y="33937"/>
                    </a:cubicBezTo>
                    <a:cubicBezTo>
                      <a:pt x="8140" y="34804"/>
                      <a:pt x="9704" y="35218"/>
                      <a:pt x="11702" y="35218"/>
                    </a:cubicBezTo>
                    <a:cubicBezTo>
                      <a:pt x="13850" y="35218"/>
                      <a:pt x="15508" y="34785"/>
                      <a:pt x="16676" y="33937"/>
                    </a:cubicBezTo>
                    <a:cubicBezTo>
                      <a:pt x="17845" y="33070"/>
                      <a:pt x="18636" y="31883"/>
                      <a:pt x="19051" y="30338"/>
                    </a:cubicBezTo>
                    <a:cubicBezTo>
                      <a:pt x="19296" y="29396"/>
                      <a:pt x="19409" y="27417"/>
                      <a:pt x="19390" y="24383"/>
                    </a:cubicBezTo>
                    <a:cubicBezTo>
                      <a:pt x="17355" y="26776"/>
                      <a:pt x="14830" y="27963"/>
                      <a:pt x="11815" y="27963"/>
                    </a:cubicBezTo>
                    <a:cubicBezTo>
                      <a:pt x="8046" y="27963"/>
                      <a:pt x="5144" y="26607"/>
                      <a:pt x="3090" y="23893"/>
                    </a:cubicBezTo>
                    <a:cubicBezTo>
                      <a:pt x="1036" y="21180"/>
                      <a:pt x="0" y="17920"/>
                      <a:pt x="0" y="14133"/>
                    </a:cubicBezTo>
                    <a:cubicBezTo>
                      <a:pt x="0" y="11513"/>
                      <a:pt x="471" y="9120"/>
                      <a:pt x="1413" y="6915"/>
                    </a:cubicBezTo>
                    <a:cubicBezTo>
                      <a:pt x="2355" y="4711"/>
                      <a:pt x="3731" y="2996"/>
                      <a:pt x="5521" y="1809"/>
                    </a:cubicBezTo>
                    <a:cubicBezTo>
                      <a:pt x="7311" y="603"/>
                      <a:pt x="9422" y="0"/>
                      <a:pt x="11852" y="0"/>
                    </a:cubicBezTo>
                    <a:cubicBezTo>
                      <a:pt x="15075" y="0"/>
                      <a:pt x="17750" y="1300"/>
                      <a:pt x="19842" y="3919"/>
                    </a:cubicBezTo>
                    <a:lnTo>
                      <a:pt x="19842" y="622"/>
                    </a:lnTo>
                    <a:lnTo>
                      <a:pt x="24119" y="622"/>
                    </a:lnTo>
                    <a:lnTo>
                      <a:pt x="24119" y="24270"/>
                    </a:lnTo>
                    <a:cubicBezTo>
                      <a:pt x="24119" y="28529"/>
                      <a:pt x="23686" y="31544"/>
                      <a:pt x="22819" y="33334"/>
                    </a:cubicBezTo>
                    <a:cubicBezTo>
                      <a:pt x="21952" y="35105"/>
                      <a:pt x="20577" y="36518"/>
                      <a:pt x="18692" y="37555"/>
                    </a:cubicBezTo>
                    <a:cubicBezTo>
                      <a:pt x="16808" y="38591"/>
                      <a:pt x="14490" y="39100"/>
                      <a:pt x="11758" y="39100"/>
                    </a:cubicBezTo>
                    <a:cubicBezTo>
                      <a:pt x="8498" y="39100"/>
                      <a:pt x="5860" y="38365"/>
                      <a:pt x="3844" y="36895"/>
                    </a:cubicBezTo>
                    <a:cubicBezTo>
                      <a:pt x="1828" y="35425"/>
                      <a:pt x="867" y="33221"/>
                      <a:pt x="942" y="30262"/>
                    </a:cubicBezTo>
                    <a:close/>
                    <a:moveTo>
                      <a:pt x="4767" y="13793"/>
                    </a:moveTo>
                    <a:cubicBezTo>
                      <a:pt x="4767" y="17392"/>
                      <a:pt x="5483" y="19993"/>
                      <a:pt x="6897" y="21651"/>
                    </a:cubicBezTo>
                    <a:cubicBezTo>
                      <a:pt x="8329" y="23309"/>
                      <a:pt x="10100" y="24119"/>
                      <a:pt x="12248" y="24119"/>
                    </a:cubicBezTo>
                    <a:cubicBezTo>
                      <a:pt x="14396" y="24119"/>
                      <a:pt x="16168" y="23290"/>
                      <a:pt x="17600" y="21651"/>
                    </a:cubicBezTo>
                    <a:cubicBezTo>
                      <a:pt x="19032" y="20012"/>
                      <a:pt x="19767" y="17430"/>
                      <a:pt x="19767" y="13944"/>
                    </a:cubicBezTo>
                    <a:cubicBezTo>
                      <a:pt x="19767" y="10458"/>
                      <a:pt x="19032" y="8065"/>
                      <a:pt x="17543" y="6369"/>
                    </a:cubicBezTo>
                    <a:cubicBezTo>
                      <a:pt x="16054" y="4673"/>
                      <a:pt x="14264" y="3825"/>
                      <a:pt x="12173" y="3825"/>
                    </a:cubicBezTo>
                    <a:cubicBezTo>
                      <a:pt x="10081" y="3825"/>
                      <a:pt x="8366" y="4654"/>
                      <a:pt x="6915" y="6331"/>
                    </a:cubicBezTo>
                    <a:cubicBezTo>
                      <a:pt x="5464" y="8008"/>
                      <a:pt x="4748" y="10496"/>
                      <a:pt x="4748" y="1379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62" name="Freihandform: Form 3461">
                <a:extLst>
                  <a:ext uri="{FF2B5EF4-FFF2-40B4-BE49-F238E27FC236}">
                    <a16:creationId xmlns:a16="http://schemas.microsoft.com/office/drawing/2014/main" id="{7A7F75A3-8CBC-7D32-85F1-DAC66AAC583B}"/>
                  </a:ext>
                </a:extLst>
              </p:cNvPr>
              <p:cNvSpPr/>
              <p:nvPr/>
            </p:nvSpPr>
            <p:spPr>
              <a:xfrm>
                <a:off x="4372215" y="2792556"/>
                <a:ext cx="22159" cy="28020"/>
              </a:xfrm>
              <a:custGeom>
                <a:avLst/>
                <a:gdLst>
                  <a:gd name="connsiteX0" fmla="*/ 18033 w 22159"/>
                  <a:gd name="connsiteY0" fmla="*/ 27398 h 28020"/>
                  <a:gd name="connsiteX1" fmla="*/ 18033 w 22159"/>
                  <a:gd name="connsiteY1" fmla="*/ 23385 h 28020"/>
                  <a:gd name="connsiteX2" fmla="*/ 9346 w 22159"/>
                  <a:gd name="connsiteY2" fmla="*/ 28020 h 28020"/>
                  <a:gd name="connsiteX3" fmla="*/ 4824 w 22159"/>
                  <a:gd name="connsiteY3" fmla="*/ 27097 h 28020"/>
                  <a:gd name="connsiteX4" fmla="*/ 1715 w 22159"/>
                  <a:gd name="connsiteY4" fmla="*/ 24760 h 28020"/>
                  <a:gd name="connsiteX5" fmla="*/ 283 w 22159"/>
                  <a:gd name="connsiteY5" fmla="*/ 21312 h 28020"/>
                  <a:gd name="connsiteX6" fmla="*/ 0 w 22159"/>
                  <a:gd name="connsiteY6" fmla="*/ 16978 h 28020"/>
                  <a:gd name="connsiteX7" fmla="*/ 0 w 22159"/>
                  <a:gd name="connsiteY7" fmla="*/ 19 h 28020"/>
                  <a:gd name="connsiteX8" fmla="*/ 4635 w 22159"/>
                  <a:gd name="connsiteY8" fmla="*/ 19 h 28020"/>
                  <a:gd name="connsiteX9" fmla="*/ 4635 w 22159"/>
                  <a:gd name="connsiteY9" fmla="*/ 15188 h 28020"/>
                  <a:gd name="connsiteX10" fmla="*/ 4918 w 22159"/>
                  <a:gd name="connsiteY10" fmla="*/ 20087 h 28020"/>
                  <a:gd name="connsiteX11" fmla="*/ 6765 w 22159"/>
                  <a:gd name="connsiteY11" fmla="*/ 22951 h 28020"/>
                  <a:gd name="connsiteX12" fmla="*/ 10270 w 22159"/>
                  <a:gd name="connsiteY12" fmla="*/ 23988 h 28020"/>
                  <a:gd name="connsiteX13" fmla="*/ 14189 w 22159"/>
                  <a:gd name="connsiteY13" fmla="*/ 22914 h 28020"/>
                  <a:gd name="connsiteX14" fmla="*/ 16771 w 22159"/>
                  <a:gd name="connsiteY14" fmla="*/ 20012 h 28020"/>
                  <a:gd name="connsiteX15" fmla="*/ 17524 w 22159"/>
                  <a:gd name="connsiteY15" fmla="*/ 14660 h 28020"/>
                  <a:gd name="connsiteX16" fmla="*/ 17524 w 22159"/>
                  <a:gd name="connsiteY16" fmla="*/ 0 h 28020"/>
                  <a:gd name="connsiteX17" fmla="*/ 22160 w 22159"/>
                  <a:gd name="connsiteY17" fmla="*/ 0 h 28020"/>
                  <a:gd name="connsiteX18" fmla="*/ 22160 w 22159"/>
                  <a:gd name="connsiteY18" fmla="*/ 27361 h 28020"/>
                  <a:gd name="connsiteX19" fmla="*/ 18014 w 22159"/>
                  <a:gd name="connsiteY19" fmla="*/ 27361 h 2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159" h="28020">
                    <a:moveTo>
                      <a:pt x="18033" y="27398"/>
                    </a:moveTo>
                    <a:lnTo>
                      <a:pt x="18033" y="23385"/>
                    </a:lnTo>
                    <a:cubicBezTo>
                      <a:pt x="15904" y="26475"/>
                      <a:pt x="13002" y="28020"/>
                      <a:pt x="9346" y="28020"/>
                    </a:cubicBezTo>
                    <a:cubicBezTo>
                      <a:pt x="7726" y="28020"/>
                      <a:pt x="6218" y="27719"/>
                      <a:pt x="4824" y="27097"/>
                    </a:cubicBezTo>
                    <a:cubicBezTo>
                      <a:pt x="3429" y="26475"/>
                      <a:pt x="2393" y="25702"/>
                      <a:pt x="1715" y="24760"/>
                    </a:cubicBezTo>
                    <a:cubicBezTo>
                      <a:pt x="1036" y="23818"/>
                      <a:pt x="565" y="22669"/>
                      <a:pt x="283" y="21312"/>
                    </a:cubicBezTo>
                    <a:cubicBezTo>
                      <a:pt x="94" y="20408"/>
                      <a:pt x="0" y="18957"/>
                      <a:pt x="0" y="16978"/>
                    </a:cubicBezTo>
                    <a:lnTo>
                      <a:pt x="0" y="19"/>
                    </a:lnTo>
                    <a:lnTo>
                      <a:pt x="4635" y="19"/>
                    </a:lnTo>
                    <a:lnTo>
                      <a:pt x="4635" y="15188"/>
                    </a:lnTo>
                    <a:cubicBezTo>
                      <a:pt x="4635" y="17619"/>
                      <a:pt x="4730" y="19239"/>
                      <a:pt x="4918" y="20087"/>
                    </a:cubicBezTo>
                    <a:cubicBezTo>
                      <a:pt x="5201" y="21312"/>
                      <a:pt x="5823" y="22273"/>
                      <a:pt x="6765" y="22951"/>
                    </a:cubicBezTo>
                    <a:cubicBezTo>
                      <a:pt x="7707" y="23649"/>
                      <a:pt x="8875" y="23988"/>
                      <a:pt x="10270" y="23988"/>
                    </a:cubicBezTo>
                    <a:cubicBezTo>
                      <a:pt x="11664" y="23988"/>
                      <a:pt x="12964" y="23630"/>
                      <a:pt x="14189" y="22914"/>
                    </a:cubicBezTo>
                    <a:cubicBezTo>
                      <a:pt x="15414" y="22198"/>
                      <a:pt x="16262" y="21237"/>
                      <a:pt x="16771" y="20012"/>
                    </a:cubicBezTo>
                    <a:cubicBezTo>
                      <a:pt x="17279" y="18787"/>
                      <a:pt x="17524" y="16997"/>
                      <a:pt x="17524" y="14660"/>
                    </a:cubicBezTo>
                    <a:lnTo>
                      <a:pt x="17524" y="0"/>
                    </a:lnTo>
                    <a:lnTo>
                      <a:pt x="22160" y="0"/>
                    </a:lnTo>
                    <a:lnTo>
                      <a:pt x="22160" y="27361"/>
                    </a:lnTo>
                    <a:lnTo>
                      <a:pt x="18014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63" name="Freihandform: Form 3462">
                <a:extLst>
                  <a:ext uri="{FF2B5EF4-FFF2-40B4-BE49-F238E27FC236}">
                    <a16:creationId xmlns:a16="http://schemas.microsoft.com/office/drawing/2014/main" id="{C791C821-2AEC-A089-40CE-0341C50DC88B}"/>
                  </a:ext>
                </a:extLst>
              </p:cNvPr>
              <p:cNvSpPr/>
              <p:nvPr/>
            </p:nvSpPr>
            <p:spPr>
              <a:xfrm>
                <a:off x="4403043" y="2781985"/>
                <a:ext cx="9515" cy="37969"/>
              </a:xfrm>
              <a:custGeom>
                <a:avLst/>
                <a:gdLst>
                  <a:gd name="connsiteX0" fmla="*/ 0 w 9515"/>
                  <a:gd name="connsiteY0" fmla="*/ 7217 h 37969"/>
                  <a:gd name="connsiteX1" fmla="*/ 3429 w 9515"/>
                  <a:gd name="connsiteY1" fmla="*/ 0 h 37969"/>
                  <a:gd name="connsiteX2" fmla="*/ 9516 w 9515"/>
                  <a:gd name="connsiteY2" fmla="*/ 0 h 37969"/>
                  <a:gd name="connsiteX3" fmla="*/ 3844 w 9515"/>
                  <a:gd name="connsiteY3" fmla="*/ 7217 h 37969"/>
                  <a:gd name="connsiteX4" fmla="*/ 0 w 9515"/>
                  <a:gd name="connsiteY4" fmla="*/ 7217 h 37969"/>
                  <a:gd name="connsiteX5" fmla="*/ 226 w 9515"/>
                  <a:gd name="connsiteY5" fmla="*/ 37969 h 37969"/>
                  <a:gd name="connsiteX6" fmla="*/ 226 w 9515"/>
                  <a:gd name="connsiteY6" fmla="*/ 10609 h 37969"/>
                  <a:gd name="connsiteX7" fmla="*/ 4862 w 9515"/>
                  <a:gd name="connsiteY7" fmla="*/ 10609 h 37969"/>
                  <a:gd name="connsiteX8" fmla="*/ 4862 w 9515"/>
                  <a:gd name="connsiteY8" fmla="*/ 37969 h 37969"/>
                  <a:gd name="connsiteX9" fmla="*/ 226 w 9515"/>
                  <a:gd name="connsiteY9" fmla="*/ 37969 h 37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15" h="37969">
                    <a:moveTo>
                      <a:pt x="0" y="7217"/>
                    </a:moveTo>
                    <a:lnTo>
                      <a:pt x="3429" y="0"/>
                    </a:lnTo>
                    <a:lnTo>
                      <a:pt x="9516" y="0"/>
                    </a:lnTo>
                    <a:lnTo>
                      <a:pt x="3844" y="7217"/>
                    </a:lnTo>
                    <a:lnTo>
                      <a:pt x="0" y="7217"/>
                    </a:lnTo>
                    <a:close/>
                    <a:moveTo>
                      <a:pt x="226" y="37969"/>
                    </a:moveTo>
                    <a:lnTo>
                      <a:pt x="226" y="10609"/>
                    </a:lnTo>
                    <a:lnTo>
                      <a:pt x="4862" y="10609"/>
                    </a:lnTo>
                    <a:lnTo>
                      <a:pt x="4862" y="37969"/>
                    </a:lnTo>
                    <a:lnTo>
                      <a:pt x="226" y="37969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64" name="Freihandform: Form 3463">
                <a:extLst>
                  <a:ext uri="{FF2B5EF4-FFF2-40B4-BE49-F238E27FC236}">
                    <a16:creationId xmlns:a16="http://schemas.microsoft.com/office/drawing/2014/main" id="{3E4AD76E-8EB8-F4B1-CDC2-7AEA519C4048}"/>
                  </a:ext>
                </a:extLst>
              </p:cNvPr>
              <p:cNvSpPr/>
              <p:nvPr/>
            </p:nvSpPr>
            <p:spPr>
              <a:xfrm>
                <a:off x="4416308" y="2791972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0" y="1507"/>
                      <a:pt x="9082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4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1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63" name="Grafik 21">
              <a:extLst>
                <a:ext uri="{FF2B5EF4-FFF2-40B4-BE49-F238E27FC236}">
                  <a16:creationId xmlns:a16="http://schemas.microsoft.com/office/drawing/2014/main" id="{06726897-CB39-AEA7-DD71-7C5C3D53DA5A}"/>
                </a:ext>
              </a:extLst>
            </p:cNvPr>
            <p:cNvGrpSpPr/>
            <p:nvPr/>
          </p:nvGrpSpPr>
          <p:grpSpPr>
            <a:xfrm>
              <a:off x="7966739" y="3677252"/>
              <a:ext cx="225498" cy="38402"/>
              <a:chOff x="7966739" y="3677252"/>
              <a:chExt cx="225498" cy="38402"/>
            </a:xfrm>
            <a:solidFill>
              <a:srgbClr val="000000"/>
            </a:solidFill>
          </p:grpSpPr>
          <p:sp>
            <p:nvSpPr>
              <p:cNvPr id="3451" name="Freihandform: Form 3450">
                <a:extLst>
                  <a:ext uri="{FF2B5EF4-FFF2-40B4-BE49-F238E27FC236}">
                    <a16:creationId xmlns:a16="http://schemas.microsoft.com/office/drawing/2014/main" id="{CEEF59BC-11AC-3109-79AB-7485DFBB85E5}"/>
                  </a:ext>
                </a:extLst>
              </p:cNvPr>
              <p:cNvSpPr/>
              <p:nvPr/>
            </p:nvSpPr>
            <p:spPr>
              <a:xfrm>
                <a:off x="7966739" y="3677252"/>
                <a:ext cx="36047" cy="37762"/>
              </a:xfrm>
              <a:custGeom>
                <a:avLst/>
                <a:gdLst>
                  <a:gd name="connsiteX0" fmla="*/ 0 w 36047"/>
                  <a:gd name="connsiteY0" fmla="*/ 37762 h 37762"/>
                  <a:gd name="connsiteX1" fmla="*/ 0 w 36047"/>
                  <a:gd name="connsiteY1" fmla="*/ 0 h 37762"/>
                  <a:gd name="connsiteX2" fmla="*/ 7518 w 36047"/>
                  <a:gd name="connsiteY2" fmla="*/ 0 h 37762"/>
                  <a:gd name="connsiteX3" fmla="*/ 16450 w 36047"/>
                  <a:gd name="connsiteY3" fmla="*/ 26739 h 37762"/>
                  <a:gd name="connsiteX4" fmla="*/ 18259 w 36047"/>
                  <a:gd name="connsiteY4" fmla="*/ 32335 h 37762"/>
                  <a:gd name="connsiteX5" fmla="*/ 20275 w 36047"/>
                  <a:gd name="connsiteY5" fmla="*/ 26287 h 37762"/>
                  <a:gd name="connsiteX6" fmla="*/ 29320 w 36047"/>
                  <a:gd name="connsiteY6" fmla="*/ 0 h 37762"/>
                  <a:gd name="connsiteX7" fmla="*/ 36047 w 36047"/>
                  <a:gd name="connsiteY7" fmla="*/ 0 h 37762"/>
                  <a:gd name="connsiteX8" fmla="*/ 36047 w 36047"/>
                  <a:gd name="connsiteY8" fmla="*/ 37762 h 37762"/>
                  <a:gd name="connsiteX9" fmla="*/ 31223 w 36047"/>
                  <a:gd name="connsiteY9" fmla="*/ 37762 h 37762"/>
                  <a:gd name="connsiteX10" fmla="*/ 31223 w 36047"/>
                  <a:gd name="connsiteY10" fmla="*/ 6143 h 37762"/>
                  <a:gd name="connsiteX11" fmla="*/ 20257 w 36047"/>
                  <a:gd name="connsiteY11" fmla="*/ 37762 h 37762"/>
                  <a:gd name="connsiteX12" fmla="*/ 15753 w 36047"/>
                  <a:gd name="connsiteY12" fmla="*/ 37762 h 37762"/>
                  <a:gd name="connsiteX13" fmla="*/ 4824 w 36047"/>
                  <a:gd name="connsiteY13" fmla="*/ 5615 h 37762"/>
                  <a:gd name="connsiteX14" fmla="*/ 4824 w 36047"/>
                  <a:gd name="connsiteY14" fmla="*/ 37762 h 37762"/>
                  <a:gd name="connsiteX15" fmla="*/ 0 w 36047"/>
                  <a:gd name="connsiteY15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6047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7518" y="0"/>
                    </a:lnTo>
                    <a:lnTo>
                      <a:pt x="16450" y="26739"/>
                    </a:lnTo>
                    <a:cubicBezTo>
                      <a:pt x="17279" y="29226"/>
                      <a:pt x="17882" y="31092"/>
                      <a:pt x="18259" y="32335"/>
                    </a:cubicBezTo>
                    <a:cubicBezTo>
                      <a:pt x="18692" y="30960"/>
                      <a:pt x="19352" y="28943"/>
                      <a:pt x="20275" y="26287"/>
                    </a:cubicBezTo>
                    <a:lnTo>
                      <a:pt x="29320" y="0"/>
                    </a:lnTo>
                    <a:lnTo>
                      <a:pt x="36047" y="0"/>
                    </a:lnTo>
                    <a:lnTo>
                      <a:pt x="36047" y="37762"/>
                    </a:lnTo>
                    <a:lnTo>
                      <a:pt x="31223" y="37762"/>
                    </a:lnTo>
                    <a:lnTo>
                      <a:pt x="31223" y="6143"/>
                    </a:lnTo>
                    <a:lnTo>
                      <a:pt x="20257" y="37762"/>
                    </a:lnTo>
                    <a:lnTo>
                      <a:pt x="15753" y="37762"/>
                    </a:lnTo>
                    <a:lnTo>
                      <a:pt x="4824" y="5615"/>
                    </a:lnTo>
                    <a:lnTo>
                      <a:pt x="4824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52" name="Freihandform: Form 3451">
                <a:extLst>
                  <a:ext uri="{FF2B5EF4-FFF2-40B4-BE49-F238E27FC236}">
                    <a16:creationId xmlns:a16="http://schemas.microsoft.com/office/drawing/2014/main" id="{8DDC94EB-AD37-125F-C3AA-DAC4397786E0}"/>
                  </a:ext>
                </a:extLst>
              </p:cNvPr>
              <p:cNvSpPr/>
              <p:nvPr/>
            </p:nvSpPr>
            <p:spPr>
              <a:xfrm>
                <a:off x="8008496" y="3687051"/>
                <a:ext cx="25646" cy="28604"/>
              </a:xfrm>
              <a:custGeom>
                <a:avLst/>
                <a:gdLst>
                  <a:gd name="connsiteX0" fmla="*/ 19 w 25646"/>
                  <a:gd name="connsiteY0" fmla="*/ 14283 h 28604"/>
                  <a:gd name="connsiteX1" fmla="*/ 4240 w 25646"/>
                  <a:gd name="connsiteY1" fmla="*/ 3034 h 28604"/>
                  <a:gd name="connsiteX2" fmla="*/ 12851 w 25646"/>
                  <a:gd name="connsiteY2" fmla="*/ 0 h 28604"/>
                  <a:gd name="connsiteX3" fmla="*/ 22066 w 25646"/>
                  <a:gd name="connsiteY3" fmla="*/ 3693 h 28604"/>
                  <a:gd name="connsiteX4" fmla="*/ 25646 w 25646"/>
                  <a:gd name="connsiteY4" fmla="*/ 13906 h 28604"/>
                  <a:gd name="connsiteX5" fmla="*/ 24063 w 25646"/>
                  <a:gd name="connsiteY5" fmla="*/ 22216 h 28604"/>
                  <a:gd name="connsiteX6" fmla="*/ 19446 w 25646"/>
                  <a:gd name="connsiteY6" fmla="*/ 26927 h 28604"/>
                  <a:gd name="connsiteX7" fmla="*/ 12832 w 25646"/>
                  <a:gd name="connsiteY7" fmla="*/ 28604 h 28604"/>
                  <a:gd name="connsiteX8" fmla="*/ 3542 w 25646"/>
                  <a:gd name="connsiteY8" fmla="*/ 24911 h 28604"/>
                  <a:gd name="connsiteX9" fmla="*/ 0 w 25646"/>
                  <a:gd name="connsiteY9" fmla="*/ 14302 h 28604"/>
                  <a:gd name="connsiteX10" fmla="*/ 4786 w 25646"/>
                  <a:gd name="connsiteY10" fmla="*/ 14283 h 28604"/>
                  <a:gd name="connsiteX11" fmla="*/ 7085 w 25646"/>
                  <a:gd name="connsiteY11" fmla="*/ 22160 h 28604"/>
                  <a:gd name="connsiteX12" fmla="*/ 12851 w 25646"/>
                  <a:gd name="connsiteY12" fmla="*/ 24779 h 28604"/>
                  <a:gd name="connsiteX13" fmla="*/ 18598 w 25646"/>
                  <a:gd name="connsiteY13" fmla="*/ 22160 h 28604"/>
                  <a:gd name="connsiteX14" fmla="*/ 20897 w 25646"/>
                  <a:gd name="connsiteY14" fmla="*/ 14151 h 28604"/>
                  <a:gd name="connsiteX15" fmla="*/ 18598 w 25646"/>
                  <a:gd name="connsiteY15" fmla="*/ 6463 h 28604"/>
                  <a:gd name="connsiteX16" fmla="*/ 12870 w 25646"/>
                  <a:gd name="connsiteY16" fmla="*/ 3844 h 28604"/>
                  <a:gd name="connsiteX17" fmla="*/ 7104 w 25646"/>
                  <a:gd name="connsiteY17" fmla="*/ 6444 h 28604"/>
                  <a:gd name="connsiteX18" fmla="*/ 4805 w 25646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6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2" y="25796"/>
                      <a:pt x="19446" y="26927"/>
                    </a:cubicBezTo>
                    <a:cubicBezTo>
                      <a:pt x="17430" y="28039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2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893"/>
                      <a:pt x="10534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1"/>
                      <a:pt x="20897" y="14151"/>
                    </a:cubicBezTo>
                    <a:cubicBezTo>
                      <a:pt x="20897" y="10759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53" name="Freihandform: Form 3452">
                <a:extLst>
                  <a:ext uri="{FF2B5EF4-FFF2-40B4-BE49-F238E27FC236}">
                    <a16:creationId xmlns:a16="http://schemas.microsoft.com/office/drawing/2014/main" id="{31B73D48-7808-8B17-8700-2D88FCF03FB7}"/>
                  </a:ext>
                </a:extLst>
              </p:cNvPr>
              <p:cNvSpPr/>
              <p:nvPr/>
            </p:nvSpPr>
            <p:spPr>
              <a:xfrm>
                <a:off x="8039569" y="3687032"/>
                <a:ext cx="37083" cy="27982"/>
              </a:xfrm>
              <a:custGeom>
                <a:avLst/>
                <a:gdLst>
                  <a:gd name="connsiteX0" fmla="*/ 19 w 37083"/>
                  <a:gd name="connsiteY0" fmla="*/ 27982 h 27982"/>
                  <a:gd name="connsiteX1" fmla="*/ 19 w 37083"/>
                  <a:gd name="connsiteY1" fmla="*/ 622 h 27982"/>
                  <a:gd name="connsiteX2" fmla="*/ 4164 w 37083"/>
                  <a:gd name="connsiteY2" fmla="*/ 622 h 27982"/>
                  <a:gd name="connsiteX3" fmla="*/ 4164 w 37083"/>
                  <a:gd name="connsiteY3" fmla="*/ 4466 h 27982"/>
                  <a:gd name="connsiteX4" fmla="*/ 7594 w 37083"/>
                  <a:gd name="connsiteY4" fmla="*/ 1225 h 27982"/>
                  <a:gd name="connsiteX5" fmla="*/ 12456 w 37083"/>
                  <a:gd name="connsiteY5" fmla="*/ 0 h 27982"/>
                  <a:gd name="connsiteX6" fmla="*/ 17449 w 37083"/>
                  <a:gd name="connsiteY6" fmla="*/ 1262 h 27982"/>
                  <a:gd name="connsiteX7" fmla="*/ 20200 w 37083"/>
                  <a:gd name="connsiteY7" fmla="*/ 4786 h 27982"/>
                  <a:gd name="connsiteX8" fmla="*/ 28642 w 37083"/>
                  <a:gd name="connsiteY8" fmla="*/ 0 h 27982"/>
                  <a:gd name="connsiteX9" fmla="*/ 34898 w 37083"/>
                  <a:gd name="connsiteY9" fmla="*/ 2261 h 27982"/>
                  <a:gd name="connsiteX10" fmla="*/ 37084 w 37083"/>
                  <a:gd name="connsiteY10" fmla="*/ 9196 h 27982"/>
                  <a:gd name="connsiteX11" fmla="*/ 37084 w 37083"/>
                  <a:gd name="connsiteY11" fmla="*/ 27982 h 27982"/>
                  <a:gd name="connsiteX12" fmla="*/ 32467 w 37083"/>
                  <a:gd name="connsiteY12" fmla="*/ 27982 h 27982"/>
                  <a:gd name="connsiteX13" fmla="*/ 32467 w 37083"/>
                  <a:gd name="connsiteY13" fmla="*/ 10741 h 27982"/>
                  <a:gd name="connsiteX14" fmla="*/ 32015 w 37083"/>
                  <a:gd name="connsiteY14" fmla="*/ 6727 h 27982"/>
                  <a:gd name="connsiteX15" fmla="*/ 30376 w 37083"/>
                  <a:gd name="connsiteY15" fmla="*/ 4749 h 27982"/>
                  <a:gd name="connsiteX16" fmla="*/ 27586 w 37083"/>
                  <a:gd name="connsiteY16" fmla="*/ 3995 h 27982"/>
                  <a:gd name="connsiteX17" fmla="*/ 22801 w 37083"/>
                  <a:gd name="connsiteY17" fmla="*/ 5917 h 27982"/>
                  <a:gd name="connsiteX18" fmla="*/ 20897 w 37083"/>
                  <a:gd name="connsiteY18" fmla="*/ 12060 h 27982"/>
                  <a:gd name="connsiteX19" fmla="*/ 20897 w 37083"/>
                  <a:gd name="connsiteY19" fmla="*/ 27963 h 27982"/>
                  <a:gd name="connsiteX20" fmla="*/ 16262 w 37083"/>
                  <a:gd name="connsiteY20" fmla="*/ 27963 h 27982"/>
                  <a:gd name="connsiteX21" fmla="*/ 16262 w 37083"/>
                  <a:gd name="connsiteY21" fmla="*/ 10194 h 27982"/>
                  <a:gd name="connsiteX22" fmla="*/ 15131 w 37083"/>
                  <a:gd name="connsiteY22" fmla="*/ 5559 h 27982"/>
                  <a:gd name="connsiteX23" fmla="*/ 11419 w 37083"/>
                  <a:gd name="connsiteY23" fmla="*/ 4014 h 27982"/>
                  <a:gd name="connsiteX24" fmla="*/ 7801 w 37083"/>
                  <a:gd name="connsiteY24" fmla="*/ 5050 h 27982"/>
                  <a:gd name="connsiteX25" fmla="*/ 5389 w 37083"/>
                  <a:gd name="connsiteY25" fmla="*/ 8065 h 27982"/>
                  <a:gd name="connsiteX26" fmla="*/ 4635 w 37083"/>
                  <a:gd name="connsiteY26" fmla="*/ 13793 h 27982"/>
                  <a:gd name="connsiteX27" fmla="*/ 4635 w 37083"/>
                  <a:gd name="connsiteY27" fmla="*/ 27982 h 27982"/>
                  <a:gd name="connsiteX28" fmla="*/ 0 w 37083"/>
                  <a:gd name="connsiteY28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7083" h="27982">
                    <a:moveTo>
                      <a:pt x="19" y="27982"/>
                    </a:moveTo>
                    <a:lnTo>
                      <a:pt x="19" y="622"/>
                    </a:lnTo>
                    <a:lnTo>
                      <a:pt x="4164" y="622"/>
                    </a:lnTo>
                    <a:lnTo>
                      <a:pt x="4164" y="4466"/>
                    </a:lnTo>
                    <a:cubicBezTo>
                      <a:pt x="5031" y="3128"/>
                      <a:pt x="6162" y="2054"/>
                      <a:pt x="7594" y="1225"/>
                    </a:cubicBezTo>
                    <a:cubicBezTo>
                      <a:pt x="9026" y="414"/>
                      <a:pt x="10646" y="0"/>
                      <a:pt x="12456" y="0"/>
                    </a:cubicBezTo>
                    <a:cubicBezTo>
                      <a:pt x="14490" y="0"/>
                      <a:pt x="16149" y="414"/>
                      <a:pt x="17449" y="1262"/>
                    </a:cubicBezTo>
                    <a:cubicBezTo>
                      <a:pt x="18749" y="2110"/>
                      <a:pt x="19654" y="3279"/>
                      <a:pt x="20200" y="4786"/>
                    </a:cubicBezTo>
                    <a:cubicBezTo>
                      <a:pt x="22367" y="1583"/>
                      <a:pt x="25175" y="0"/>
                      <a:pt x="28642" y="0"/>
                    </a:cubicBezTo>
                    <a:cubicBezTo>
                      <a:pt x="31355" y="0"/>
                      <a:pt x="33447" y="754"/>
                      <a:pt x="34898" y="2261"/>
                    </a:cubicBezTo>
                    <a:cubicBezTo>
                      <a:pt x="36368" y="3769"/>
                      <a:pt x="37084" y="6086"/>
                      <a:pt x="37084" y="9196"/>
                    </a:cubicBezTo>
                    <a:lnTo>
                      <a:pt x="37084" y="27982"/>
                    </a:lnTo>
                    <a:lnTo>
                      <a:pt x="32467" y="27982"/>
                    </a:lnTo>
                    <a:lnTo>
                      <a:pt x="32467" y="10741"/>
                    </a:lnTo>
                    <a:cubicBezTo>
                      <a:pt x="32467" y="8894"/>
                      <a:pt x="32316" y="7556"/>
                      <a:pt x="32015" y="6727"/>
                    </a:cubicBezTo>
                    <a:cubicBezTo>
                      <a:pt x="31714" y="5917"/>
                      <a:pt x="31167" y="5257"/>
                      <a:pt x="30376" y="4749"/>
                    </a:cubicBezTo>
                    <a:cubicBezTo>
                      <a:pt x="29584" y="4259"/>
                      <a:pt x="28661" y="3995"/>
                      <a:pt x="27586" y="3995"/>
                    </a:cubicBezTo>
                    <a:cubicBezTo>
                      <a:pt x="25665" y="3995"/>
                      <a:pt x="24063" y="4635"/>
                      <a:pt x="22801" y="5917"/>
                    </a:cubicBezTo>
                    <a:cubicBezTo>
                      <a:pt x="21538" y="7198"/>
                      <a:pt x="20897" y="9252"/>
                      <a:pt x="20897" y="12060"/>
                    </a:cubicBezTo>
                    <a:lnTo>
                      <a:pt x="20897" y="27963"/>
                    </a:lnTo>
                    <a:lnTo>
                      <a:pt x="16262" y="27963"/>
                    </a:lnTo>
                    <a:lnTo>
                      <a:pt x="16262" y="10194"/>
                    </a:lnTo>
                    <a:cubicBezTo>
                      <a:pt x="16262" y="8140"/>
                      <a:pt x="15885" y="6595"/>
                      <a:pt x="15131" y="5559"/>
                    </a:cubicBezTo>
                    <a:cubicBezTo>
                      <a:pt x="14377" y="4522"/>
                      <a:pt x="13134" y="4014"/>
                      <a:pt x="11419" y="4014"/>
                    </a:cubicBezTo>
                    <a:cubicBezTo>
                      <a:pt x="10119" y="4014"/>
                      <a:pt x="8913" y="4353"/>
                      <a:pt x="7801" y="5050"/>
                    </a:cubicBezTo>
                    <a:cubicBezTo>
                      <a:pt x="6689" y="5747"/>
                      <a:pt x="5898" y="6746"/>
                      <a:pt x="5389" y="8065"/>
                    </a:cubicBezTo>
                    <a:cubicBezTo>
                      <a:pt x="4899" y="9384"/>
                      <a:pt x="4635" y="11287"/>
                      <a:pt x="4635" y="13793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54" name="Freihandform: Form 3453">
                <a:extLst>
                  <a:ext uri="{FF2B5EF4-FFF2-40B4-BE49-F238E27FC236}">
                    <a16:creationId xmlns:a16="http://schemas.microsoft.com/office/drawing/2014/main" id="{59904810-A255-B83A-FCB1-FB02D8F7CA20}"/>
                  </a:ext>
                </a:extLst>
              </p:cNvPr>
              <p:cNvSpPr/>
              <p:nvPr/>
            </p:nvSpPr>
            <p:spPr>
              <a:xfrm>
                <a:off x="8083531" y="3677252"/>
                <a:ext cx="23742" cy="38383"/>
              </a:xfrm>
              <a:custGeom>
                <a:avLst/>
                <a:gdLst>
                  <a:gd name="connsiteX0" fmla="*/ 4296 w 23742"/>
                  <a:gd name="connsiteY0" fmla="*/ 37762 h 38383"/>
                  <a:gd name="connsiteX1" fmla="*/ 0 w 23742"/>
                  <a:gd name="connsiteY1" fmla="*/ 37762 h 38383"/>
                  <a:gd name="connsiteX2" fmla="*/ 0 w 23742"/>
                  <a:gd name="connsiteY2" fmla="*/ 0 h 38383"/>
                  <a:gd name="connsiteX3" fmla="*/ 4635 w 23742"/>
                  <a:gd name="connsiteY3" fmla="*/ 0 h 38383"/>
                  <a:gd name="connsiteX4" fmla="*/ 4635 w 23742"/>
                  <a:gd name="connsiteY4" fmla="*/ 13473 h 38383"/>
                  <a:gd name="connsiteX5" fmla="*/ 12135 w 23742"/>
                  <a:gd name="connsiteY5" fmla="*/ 9780 h 38383"/>
                  <a:gd name="connsiteX6" fmla="*/ 16921 w 23742"/>
                  <a:gd name="connsiteY6" fmla="*/ 10797 h 38383"/>
                  <a:gd name="connsiteX7" fmla="*/ 20633 w 23742"/>
                  <a:gd name="connsiteY7" fmla="*/ 13661 h 38383"/>
                  <a:gd name="connsiteX8" fmla="*/ 22913 w 23742"/>
                  <a:gd name="connsiteY8" fmla="*/ 18108 h 38383"/>
                  <a:gd name="connsiteX9" fmla="*/ 23742 w 23742"/>
                  <a:gd name="connsiteY9" fmla="*/ 23667 h 38383"/>
                  <a:gd name="connsiteX10" fmla="*/ 20257 w 23742"/>
                  <a:gd name="connsiteY10" fmla="*/ 34540 h 38383"/>
                  <a:gd name="connsiteX11" fmla="*/ 11909 w 23742"/>
                  <a:gd name="connsiteY11" fmla="*/ 38384 h 38383"/>
                  <a:gd name="connsiteX12" fmla="*/ 4315 w 23742"/>
                  <a:gd name="connsiteY12" fmla="*/ 34333 h 38383"/>
                  <a:gd name="connsiteX13" fmla="*/ 4315 w 23742"/>
                  <a:gd name="connsiteY13" fmla="*/ 37762 h 38383"/>
                  <a:gd name="connsiteX14" fmla="*/ 4240 w 23742"/>
                  <a:gd name="connsiteY14" fmla="*/ 23875 h 38383"/>
                  <a:gd name="connsiteX15" fmla="*/ 5578 w 23742"/>
                  <a:gd name="connsiteY15" fmla="*/ 30979 h 38383"/>
                  <a:gd name="connsiteX16" fmla="*/ 11494 w 23742"/>
                  <a:gd name="connsiteY16" fmla="*/ 34559 h 38383"/>
                  <a:gd name="connsiteX17" fmla="*/ 16752 w 23742"/>
                  <a:gd name="connsiteY17" fmla="*/ 31921 h 38383"/>
                  <a:gd name="connsiteX18" fmla="*/ 18975 w 23742"/>
                  <a:gd name="connsiteY18" fmla="*/ 24044 h 38383"/>
                  <a:gd name="connsiteX19" fmla="*/ 16846 w 23742"/>
                  <a:gd name="connsiteY19" fmla="*/ 16130 h 38383"/>
                  <a:gd name="connsiteX20" fmla="*/ 11702 w 23742"/>
                  <a:gd name="connsiteY20" fmla="*/ 13586 h 38383"/>
                  <a:gd name="connsiteX21" fmla="*/ 6444 w 23742"/>
                  <a:gd name="connsiteY21" fmla="*/ 16224 h 38383"/>
                  <a:gd name="connsiteX22" fmla="*/ 4221 w 23742"/>
                  <a:gd name="connsiteY22" fmla="*/ 23856 h 38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3742" h="38383">
                    <a:moveTo>
                      <a:pt x="4296" y="37762"/>
                    </a:moveTo>
                    <a:lnTo>
                      <a:pt x="0" y="37762"/>
                    </a:ln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473"/>
                    </a:lnTo>
                    <a:cubicBezTo>
                      <a:pt x="6595" y="11024"/>
                      <a:pt x="9101" y="9780"/>
                      <a:pt x="12135" y="9780"/>
                    </a:cubicBezTo>
                    <a:cubicBezTo>
                      <a:pt x="13812" y="9780"/>
                      <a:pt x="15414" y="10119"/>
                      <a:pt x="16921" y="10797"/>
                    </a:cubicBezTo>
                    <a:cubicBezTo>
                      <a:pt x="18429" y="11476"/>
                      <a:pt x="19654" y="12437"/>
                      <a:pt x="20633" y="13661"/>
                    </a:cubicBezTo>
                    <a:cubicBezTo>
                      <a:pt x="21594" y="14886"/>
                      <a:pt x="22367" y="16375"/>
                      <a:pt x="22913" y="18108"/>
                    </a:cubicBezTo>
                    <a:cubicBezTo>
                      <a:pt x="23460" y="19842"/>
                      <a:pt x="23742" y="21708"/>
                      <a:pt x="23742" y="23667"/>
                    </a:cubicBezTo>
                    <a:cubicBezTo>
                      <a:pt x="23742" y="28359"/>
                      <a:pt x="22574" y="31977"/>
                      <a:pt x="20257" y="34540"/>
                    </a:cubicBezTo>
                    <a:cubicBezTo>
                      <a:pt x="17939" y="37103"/>
                      <a:pt x="15150" y="38384"/>
                      <a:pt x="11909" y="38384"/>
                    </a:cubicBezTo>
                    <a:cubicBezTo>
                      <a:pt x="8668" y="38384"/>
                      <a:pt x="6143" y="37027"/>
                      <a:pt x="4315" y="34333"/>
                    </a:cubicBezTo>
                    <a:lnTo>
                      <a:pt x="4315" y="37762"/>
                    </a:lnTo>
                    <a:close/>
                    <a:moveTo>
                      <a:pt x="4240" y="23875"/>
                    </a:moveTo>
                    <a:cubicBezTo>
                      <a:pt x="4240" y="27153"/>
                      <a:pt x="4692" y="29528"/>
                      <a:pt x="5578" y="30979"/>
                    </a:cubicBezTo>
                    <a:cubicBezTo>
                      <a:pt x="7047" y="33372"/>
                      <a:pt x="9007" y="34559"/>
                      <a:pt x="11494" y="34559"/>
                    </a:cubicBezTo>
                    <a:cubicBezTo>
                      <a:pt x="13529" y="34559"/>
                      <a:pt x="15282" y="33673"/>
                      <a:pt x="16752" y="31921"/>
                    </a:cubicBezTo>
                    <a:cubicBezTo>
                      <a:pt x="18221" y="30168"/>
                      <a:pt x="18975" y="27530"/>
                      <a:pt x="18975" y="24044"/>
                    </a:cubicBezTo>
                    <a:cubicBezTo>
                      <a:pt x="18975" y="20558"/>
                      <a:pt x="18259" y="17845"/>
                      <a:pt x="16846" y="16130"/>
                    </a:cubicBezTo>
                    <a:cubicBezTo>
                      <a:pt x="15433" y="14415"/>
                      <a:pt x="13718" y="13586"/>
                      <a:pt x="11702" y="13586"/>
                    </a:cubicBezTo>
                    <a:cubicBezTo>
                      <a:pt x="9685" y="13586"/>
                      <a:pt x="7933" y="14472"/>
                      <a:pt x="6444" y="16224"/>
                    </a:cubicBezTo>
                    <a:cubicBezTo>
                      <a:pt x="4974" y="17977"/>
                      <a:pt x="4221" y="20539"/>
                      <a:pt x="4221" y="238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55" name="Freihandform: Form 3454">
                <a:extLst>
                  <a:ext uri="{FF2B5EF4-FFF2-40B4-BE49-F238E27FC236}">
                    <a16:creationId xmlns:a16="http://schemas.microsoft.com/office/drawing/2014/main" id="{AE528FEB-0DE1-09D8-A634-F30D60444010}"/>
                  </a:ext>
                </a:extLst>
              </p:cNvPr>
              <p:cNvSpPr/>
              <p:nvPr/>
            </p:nvSpPr>
            <p:spPr>
              <a:xfrm>
                <a:off x="8111306" y="3687013"/>
                <a:ext cx="25193" cy="28622"/>
              </a:xfrm>
              <a:custGeom>
                <a:avLst/>
                <a:gdLst>
                  <a:gd name="connsiteX0" fmla="*/ 19427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0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3 w 25193"/>
                  <a:gd name="connsiteY25" fmla="*/ 27963 h 28622"/>
                  <a:gd name="connsiteX26" fmla="*/ 20351 w 25193"/>
                  <a:gd name="connsiteY26" fmla="*/ 27963 h 28622"/>
                  <a:gd name="connsiteX27" fmla="*/ 19427 w 25193"/>
                  <a:gd name="connsiteY27" fmla="*/ 24590 h 28622"/>
                  <a:gd name="connsiteX28" fmla="*/ 19032 w 25193"/>
                  <a:gd name="connsiteY28" fmla="*/ 14264 h 28622"/>
                  <a:gd name="connsiteX29" fmla="*/ 11456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0 w 25193"/>
                  <a:gd name="connsiteY37" fmla="*/ 15979 h 28622"/>
                  <a:gd name="connsiteX38" fmla="*/ 19050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7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94" y="1376"/>
                      <a:pt x="21349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3" y="25834"/>
                      <a:pt x="24609" y="26927"/>
                      <a:pt x="25193" y="27963"/>
                    </a:cubicBezTo>
                    <a:lnTo>
                      <a:pt x="20351" y="27963"/>
                    </a:lnTo>
                    <a:cubicBezTo>
                      <a:pt x="19880" y="27002"/>
                      <a:pt x="19559" y="25872"/>
                      <a:pt x="19427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56" name="Freihandform: Form 3455">
                <a:extLst>
                  <a:ext uri="{FF2B5EF4-FFF2-40B4-BE49-F238E27FC236}">
                    <a16:creationId xmlns:a16="http://schemas.microsoft.com/office/drawing/2014/main" id="{AE48DD73-228A-6098-98A9-C816C8C83F40}"/>
                  </a:ext>
                </a:extLst>
              </p:cNvPr>
              <p:cNvSpPr/>
              <p:nvPr/>
            </p:nvSpPr>
            <p:spPr>
              <a:xfrm>
                <a:off x="8140381" y="3687069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3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2 w 22725"/>
                  <a:gd name="connsiteY10" fmla="*/ 7876 h 28585"/>
                  <a:gd name="connsiteX11" fmla="*/ 1621 w 22725"/>
                  <a:gd name="connsiteY11" fmla="*/ 4485 h 28585"/>
                  <a:gd name="connsiteX12" fmla="*/ 3901 w 22725"/>
                  <a:gd name="connsiteY12" fmla="*/ 1903 h 28585"/>
                  <a:gd name="connsiteX13" fmla="*/ 6859 w 22725"/>
                  <a:gd name="connsiteY13" fmla="*/ 546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29 h 28585"/>
                  <a:gd name="connsiteX17" fmla="*/ 21708 w 22725"/>
                  <a:gd name="connsiteY17" fmla="*/ 7669 h 28585"/>
                  <a:gd name="connsiteX18" fmla="*/ 17167 w 22725"/>
                  <a:gd name="connsiteY18" fmla="*/ 8291 h 28585"/>
                  <a:gd name="connsiteX19" fmla="*/ 15376 w 22725"/>
                  <a:gd name="connsiteY19" fmla="*/ 4993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2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29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9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0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0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7" y="16997"/>
                      <a:pt x="11853" y="16375"/>
                    </a:cubicBezTo>
                    <a:cubicBezTo>
                      <a:pt x="8461" y="15508"/>
                      <a:pt x="6105" y="14773"/>
                      <a:pt x="4786" y="14151"/>
                    </a:cubicBezTo>
                    <a:cubicBezTo>
                      <a:pt x="3467" y="13529"/>
                      <a:pt x="2469" y="12663"/>
                      <a:pt x="1790" y="11551"/>
                    </a:cubicBezTo>
                    <a:cubicBezTo>
                      <a:pt x="1112" y="10439"/>
                      <a:pt x="772" y="9214"/>
                      <a:pt x="772" y="7876"/>
                    </a:cubicBezTo>
                    <a:cubicBezTo>
                      <a:pt x="772" y="6652"/>
                      <a:pt x="1055" y="5521"/>
                      <a:pt x="1621" y="4485"/>
                    </a:cubicBezTo>
                    <a:cubicBezTo>
                      <a:pt x="2167" y="3448"/>
                      <a:pt x="2940" y="2582"/>
                      <a:pt x="3901" y="1903"/>
                    </a:cubicBezTo>
                    <a:cubicBezTo>
                      <a:pt x="4617" y="1376"/>
                      <a:pt x="5596" y="923"/>
                      <a:pt x="6859" y="546"/>
                    </a:cubicBezTo>
                    <a:cubicBezTo>
                      <a:pt x="8103" y="170"/>
                      <a:pt x="9441" y="0"/>
                      <a:pt x="10854" y="0"/>
                    </a:cubicBezTo>
                    <a:cubicBezTo>
                      <a:pt x="13002" y="0"/>
                      <a:pt x="14886" y="301"/>
                      <a:pt x="16507" y="923"/>
                    </a:cubicBezTo>
                    <a:cubicBezTo>
                      <a:pt x="18128" y="1545"/>
                      <a:pt x="19333" y="2374"/>
                      <a:pt x="20106" y="3429"/>
                    </a:cubicBezTo>
                    <a:cubicBezTo>
                      <a:pt x="20879" y="4485"/>
                      <a:pt x="21406" y="5898"/>
                      <a:pt x="21708" y="7669"/>
                    </a:cubicBezTo>
                    <a:lnTo>
                      <a:pt x="17167" y="8291"/>
                    </a:lnTo>
                    <a:cubicBezTo>
                      <a:pt x="16959" y="6878"/>
                      <a:pt x="16356" y="5785"/>
                      <a:pt x="15376" y="4993"/>
                    </a:cubicBezTo>
                    <a:cubicBezTo>
                      <a:pt x="14377" y="4202"/>
                      <a:pt x="12983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4" y="8480"/>
                      <a:pt x="5842" y="8951"/>
                    </a:cubicBezTo>
                    <a:cubicBezTo>
                      <a:pt x="6218" y="9441"/>
                      <a:pt x="6822" y="9855"/>
                      <a:pt x="7613" y="10194"/>
                    </a:cubicBezTo>
                    <a:cubicBezTo>
                      <a:pt x="8084" y="10364"/>
                      <a:pt x="9441" y="10759"/>
                      <a:pt x="11702" y="11381"/>
                    </a:cubicBezTo>
                    <a:cubicBezTo>
                      <a:pt x="14980" y="12248"/>
                      <a:pt x="17279" y="12983"/>
                      <a:pt x="18561" y="13529"/>
                    </a:cubicBezTo>
                    <a:cubicBezTo>
                      <a:pt x="19861" y="14095"/>
                      <a:pt x="20879" y="14905"/>
                      <a:pt x="21613" y="15960"/>
                    </a:cubicBezTo>
                    <a:cubicBezTo>
                      <a:pt x="22348" y="17034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9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8"/>
                      <a:pt x="13850" y="28585"/>
                      <a:pt x="11702" y="28585"/>
                    </a:cubicBezTo>
                    <a:cubicBezTo>
                      <a:pt x="8140" y="28585"/>
                      <a:pt x="5446" y="27850"/>
                      <a:pt x="3580" y="26362"/>
                    </a:cubicBezTo>
                    <a:cubicBezTo>
                      <a:pt x="1715" y="24892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57" name="Freihandform: Form 3456">
                <a:extLst>
                  <a:ext uri="{FF2B5EF4-FFF2-40B4-BE49-F238E27FC236}">
                    <a16:creationId xmlns:a16="http://schemas.microsoft.com/office/drawing/2014/main" id="{43B5A280-0E0B-62C9-DBBD-F74115AABB8F}"/>
                  </a:ext>
                </a:extLst>
              </p:cNvPr>
              <p:cNvSpPr/>
              <p:nvPr/>
            </p:nvSpPr>
            <p:spPr>
              <a:xfrm>
                <a:off x="8167044" y="3687013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6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9 w 25193"/>
                  <a:gd name="connsiteY8" fmla="*/ 12210 h 28622"/>
                  <a:gd name="connsiteX9" fmla="*/ 19051 w 25193"/>
                  <a:gd name="connsiteY9" fmla="*/ 10609 h 28622"/>
                  <a:gd name="connsiteX10" fmla="*/ 19070 w 25193"/>
                  <a:gd name="connsiteY10" fmla="*/ 9403 h 28622"/>
                  <a:gd name="connsiteX11" fmla="*/ 17751 w 25193"/>
                  <a:gd name="connsiteY11" fmla="*/ 5408 h 28622"/>
                  <a:gd name="connsiteX12" fmla="*/ 12475 w 25193"/>
                  <a:gd name="connsiteY12" fmla="*/ 3844 h 28622"/>
                  <a:gd name="connsiteX13" fmla="*/ 7651 w 25193"/>
                  <a:gd name="connsiteY13" fmla="*/ 4994 h 28622"/>
                  <a:gd name="connsiteX14" fmla="*/ 5352 w 25193"/>
                  <a:gd name="connsiteY14" fmla="*/ 9045 h 28622"/>
                  <a:gd name="connsiteX15" fmla="*/ 811 w 25193"/>
                  <a:gd name="connsiteY15" fmla="*/ 8423 h 28622"/>
                  <a:gd name="connsiteX16" fmla="*/ 2845 w 25193"/>
                  <a:gd name="connsiteY16" fmla="*/ 3712 h 28622"/>
                  <a:gd name="connsiteX17" fmla="*/ 6935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6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6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6" y="28623"/>
                    </a:cubicBezTo>
                    <a:cubicBezTo>
                      <a:pt x="6369" y="28623"/>
                      <a:pt x="4052" y="27888"/>
                      <a:pt x="2431" y="26418"/>
                    </a:cubicBezTo>
                    <a:cubicBezTo>
                      <a:pt x="811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9" y="12210"/>
                    </a:cubicBezTo>
                    <a:cubicBezTo>
                      <a:pt x="14529" y="11758"/>
                      <a:pt x="17280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9" y="3844"/>
                      <a:pt x="8687" y="4221"/>
                      <a:pt x="7651" y="4994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1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5" y="961"/>
                    </a:cubicBezTo>
                    <a:cubicBezTo>
                      <a:pt x="8725" y="320"/>
                      <a:pt x="10797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94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80" y="27002"/>
                      <a:pt x="19560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64" name="Grafik 21">
              <a:extLst>
                <a:ext uri="{FF2B5EF4-FFF2-40B4-BE49-F238E27FC236}">
                  <a16:creationId xmlns:a16="http://schemas.microsoft.com/office/drawing/2014/main" id="{C91D7873-A9AA-D9D1-52AF-AD421242B454}"/>
                </a:ext>
              </a:extLst>
            </p:cNvPr>
            <p:cNvGrpSpPr/>
            <p:nvPr/>
          </p:nvGrpSpPr>
          <p:grpSpPr>
            <a:xfrm>
              <a:off x="8495560" y="4304736"/>
              <a:ext cx="208087" cy="38403"/>
              <a:chOff x="8495560" y="4304736"/>
              <a:chExt cx="208087" cy="38403"/>
            </a:xfrm>
            <a:solidFill>
              <a:srgbClr val="000000"/>
            </a:solidFill>
          </p:grpSpPr>
          <p:sp>
            <p:nvSpPr>
              <p:cNvPr id="3442" name="Freihandform: Form 3441">
                <a:extLst>
                  <a:ext uri="{FF2B5EF4-FFF2-40B4-BE49-F238E27FC236}">
                    <a16:creationId xmlns:a16="http://schemas.microsoft.com/office/drawing/2014/main" id="{EFAD0344-92AB-A0CD-D2EF-58D11C428016}"/>
                  </a:ext>
                </a:extLst>
              </p:cNvPr>
              <p:cNvSpPr/>
              <p:nvPr/>
            </p:nvSpPr>
            <p:spPr>
              <a:xfrm>
                <a:off x="8495560" y="4304736"/>
                <a:ext cx="36047" cy="37762"/>
              </a:xfrm>
              <a:custGeom>
                <a:avLst/>
                <a:gdLst>
                  <a:gd name="connsiteX0" fmla="*/ 0 w 36047"/>
                  <a:gd name="connsiteY0" fmla="*/ 37762 h 37762"/>
                  <a:gd name="connsiteX1" fmla="*/ 0 w 36047"/>
                  <a:gd name="connsiteY1" fmla="*/ 0 h 37762"/>
                  <a:gd name="connsiteX2" fmla="*/ 7518 w 36047"/>
                  <a:gd name="connsiteY2" fmla="*/ 0 h 37762"/>
                  <a:gd name="connsiteX3" fmla="*/ 16450 w 36047"/>
                  <a:gd name="connsiteY3" fmla="*/ 26739 h 37762"/>
                  <a:gd name="connsiteX4" fmla="*/ 18259 w 36047"/>
                  <a:gd name="connsiteY4" fmla="*/ 32336 h 37762"/>
                  <a:gd name="connsiteX5" fmla="*/ 20275 w 36047"/>
                  <a:gd name="connsiteY5" fmla="*/ 26286 h 37762"/>
                  <a:gd name="connsiteX6" fmla="*/ 29320 w 36047"/>
                  <a:gd name="connsiteY6" fmla="*/ 0 h 37762"/>
                  <a:gd name="connsiteX7" fmla="*/ 36048 w 36047"/>
                  <a:gd name="connsiteY7" fmla="*/ 0 h 37762"/>
                  <a:gd name="connsiteX8" fmla="*/ 36048 w 36047"/>
                  <a:gd name="connsiteY8" fmla="*/ 37762 h 37762"/>
                  <a:gd name="connsiteX9" fmla="*/ 31224 w 36047"/>
                  <a:gd name="connsiteY9" fmla="*/ 37762 h 37762"/>
                  <a:gd name="connsiteX10" fmla="*/ 31224 w 36047"/>
                  <a:gd name="connsiteY10" fmla="*/ 6143 h 37762"/>
                  <a:gd name="connsiteX11" fmla="*/ 20257 w 36047"/>
                  <a:gd name="connsiteY11" fmla="*/ 37762 h 37762"/>
                  <a:gd name="connsiteX12" fmla="*/ 15753 w 36047"/>
                  <a:gd name="connsiteY12" fmla="*/ 37762 h 37762"/>
                  <a:gd name="connsiteX13" fmla="*/ 4824 w 36047"/>
                  <a:gd name="connsiteY13" fmla="*/ 5615 h 37762"/>
                  <a:gd name="connsiteX14" fmla="*/ 4824 w 36047"/>
                  <a:gd name="connsiteY14" fmla="*/ 37762 h 37762"/>
                  <a:gd name="connsiteX15" fmla="*/ 0 w 36047"/>
                  <a:gd name="connsiteY15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6047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7518" y="0"/>
                    </a:lnTo>
                    <a:lnTo>
                      <a:pt x="16450" y="26739"/>
                    </a:lnTo>
                    <a:cubicBezTo>
                      <a:pt x="17279" y="29226"/>
                      <a:pt x="17882" y="31092"/>
                      <a:pt x="18259" y="32336"/>
                    </a:cubicBezTo>
                    <a:cubicBezTo>
                      <a:pt x="18692" y="30960"/>
                      <a:pt x="19352" y="28944"/>
                      <a:pt x="20275" y="26286"/>
                    </a:cubicBezTo>
                    <a:lnTo>
                      <a:pt x="29320" y="0"/>
                    </a:lnTo>
                    <a:lnTo>
                      <a:pt x="36048" y="0"/>
                    </a:lnTo>
                    <a:lnTo>
                      <a:pt x="36048" y="37762"/>
                    </a:lnTo>
                    <a:lnTo>
                      <a:pt x="31224" y="37762"/>
                    </a:lnTo>
                    <a:lnTo>
                      <a:pt x="31224" y="6143"/>
                    </a:lnTo>
                    <a:lnTo>
                      <a:pt x="20257" y="37762"/>
                    </a:lnTo>
                    <a:lnTo>
                      <a:pt x="15753" y="37762"/>
                    </a:lnTo>
                    <a:lnTo>
                      <a:pt x="4824" y="5615"/>
                    </a:lnTo>
                    <a:lnTo>
                      <a:pt x="4824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43" name="Freihandform: Form 3442">
                <a:extLst>
                  <a:ext uri="{FF2B5EF4-FFF2-40B4-BE49-F238E27FC236}">
                    <a16:creationId xmlns:a16="http://schemas.microsoft.com/office/drawing/2014/main" id="{42A17879-42DE-669E-BB92-4C6367E8B7D3}"/>
                  </a:ext>
                </a:extLst>
              </p:cNvPr>
              <p:cNvSpPr/>
              <p:nvPr/>
            </p:nvSpPr>
            <p:spPr>
              <a:xfrm>
                <a:off x="8537486" y="4314497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1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0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4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3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7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5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3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80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1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3"/>
                      <a:pt x="19070" y="9403"/>
                    </a:cubicBezTo>
                    <a:cubicBezTo>
                      <a:pt x="19070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4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3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5" y="321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7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5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61" y="27003"/>
                      <a:pt x="19560" y="25872"/>
                      <a:pt x="19428" y="24591"/>
                    </a:cubicBezTo>
                    <a:close/>
                    <a:moveTo>
                      <a:pt x="19032" y="14265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80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3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6"/>
                      <a:pt x="17638" y="21972"/>
                      <a:pt x="18297" y="20615"/>
                    </a:cubicBezTo>
                    <a:cubicBezTo>
                      <a:pt x="18787" y="19560"/>
                      <a:pt x="19051" y="18014"/>
                      <a:pt x="19051" y="15980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44" name="Freihandform: Form 3443">
                <a:extLst>
                  <a:ext uri="{FF2B5EF4-FFF2-40B4-BE49-F238E27FC236}">
                    <a16:creationId xmlns:a16="http://schemas.microsoft.com/office/drawing/2014/main" id="{25FF7A83-F068-4C7C-D008-DBE3A6547E5D}"/>
                  </a:ext>
                </a:extLst>
              </p:cNvPr>
              <p:cNvSpPr/>
              <p:nvPr/>
            </p:nvSpPr>
            <p:spPr>
              <a:xfrm>
                <a:off x="8568314" y="4315100"/>
                <a:ext cx="22159" cy="28020"/>
              </a:xfrm>
              <a:custGeom>
                <a:avLst/>
                <a:gdLst>
                  <a:gd name="connsiteX0" fmla="*/ 18033 w 22159"/>
                  <a:gd name="connsiteY0" fmla="*/ 27398 h 28020"/>
                  <a:gd name="connsiteX1" fmla="*/ 18033 w 22159"/>
                  <a:gd name="connsiteY1" fmla="*/ 23385 h 28020"/>
                  <a:gd name="connsiteX2" fmla="*/ 9346 w 22159"/>
                  <a:gd name="connsiteY2" fmla="*/ 28020 h 28020"/>
                  <a:gd name="connsiteX3" fmla="*/ 4824 w 22159"/>
                  <a:gd name="connsiteY3" fmla="*/ 27097 h 28020"/>
                  <a:gd name="connsiteX4" fmla="*/ 1715 w 22159"/>
                  <a:gd name="connsiteY4" fmla="*/ 24760 h 28020"/>
                  <a:gd name="connsiteX5" fmla="*/ 282 w 22159"/>
                  <a:gd name="connsiteY5" fmla="*/ 21312 h 28020"/>
                  <a:gd name="connsiteX6" fmla="*/ 0 w 22159"/>
                  <a:gd name="connsiteY6" fmla="*/ 16978 h 28020"/>
                  <a:gd name="connsiteX7" fmla="*/ 0 w 22159"/>
                  <a:gd name="connsiteY7" fmla="*/ 19 h 28020"/>
                  <a:gd name="connsiteX8" fmla="*/ 4635 w 22159"/>
                  <a:gd name="connsiteY8" fmla="*/ 19 h 28020"/>
                  <a:gd name="connsiteX9" fmla="*/ 4635 w 22159"/>
                  <a:gd name="connsiteY9" fmla="*/ 15188 h 28020"/>
                  <a:gd name="connsiteX10" fmla="*/ 4918 w 22159"/>
                  <a:gd name="connsiteY10" fmla="*/ 20087 h 28020"/>
                  <a:gd name="connsiteX11" fmla="*/ 6764 w 22159"/>
                  <a:gd name="connsiteY11" fmla="*/ 22951 h 28020"/>
                  <a:gd name="connsiteX12" fmla="*/ 10270 w 22159"/>
                  <a:gd name="connsiteY12" fmla="*/ 23988 h 28020"/>
                  <a:gd name="connsiteX13" fmla="*/ 14189 w 22159"/>
                  <a:gd name="connsiteY13" fmla="*/ 22914 h 28020"/>
                  <a:gd name="connsiteX14" fmla="*/ 16770 w 22159"/>
                  <a:gd name="connsiteY14" fmla="*/ 20012 h 28020"/>
                  <a:gd name="connsiteX15" fmla="*/ 17524 w 22159"/>
                  <a:gd name="connsiteY15" fmla="*/ 14660 h 28020"/>
                  <a:gd name="connsiteX16" fmla="*/ 17524 w 22159"/>
                  <a:gd name="connsiteY16" fmla="*/ 0 h 28020"/>
                  <a:gd name="connsiteX17" fmla="*/ 22160 w 22159"/>
                  <a:gd name="connsiteY17" fmla="*/ 0 h 28020"/>
                  <a:gd name="connsiteX18" fmla="*/ 22160 w 22159"/>
                  <a:gd name="connsiteY18" fmla="*/ 27361 h 28020"/>
                  <a:gd name="connsiteX19" fmla="*/ 18014 w 22159"/>
                  <a:gd name="connsiteY19" fmla="*/ 27361 h 2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159" h="28020">
                    <a:moveTo>
                      <a:pt x="18033" y="27398"/>
                    </a:moveTo>
                    <a:lnTo>
                      <a:pt x="18033" y="23385"/>
                    </a:lnTo>
                    <a:cubicBezTo>
                      <a:pt x="15904" y="26475"/>
                      <a:pt x="13002" y="28020"/>
                      <a:pt x="9346" y="28020"/>
                    </a:cubicBezTo>
                    <a:cubicBezTo>
                      <a:pt x="7726" y="28020"/>
                      <a:pt x="6218" y="27719"/>
                      <a:pt x="4824" y="27097"/>
                    </a:cubicBezTo>
                    <a:cubicBezTo>
                      <a:pt x="3429" y="26475"/>
                      <a:pt x="2393" y="25703"/>
                      <a:pt x="1715" y="24760"/>
                    </a:cubicBezTo>
                    <a:cubicBezTo>
                      <a:pt x="1036" y="23818"/>
                      <a:pt x="565" y="22669"/>
                      <a:pt x="282" y="21312"/>
                    </a:cubicBezTo>
                    <a:cubicBezTo>
                      <a:pt x="94" y="20408"/>
                      <a:pt x="0" y="18957"/>
                      <a:pt x="0" y="16978"/>
                    </a:cubicBezTo>
                    <a:lnTo>
                      <a:pt x="0" y="19"/>
                    </a:lnTo>
                    <a:lnTo>
                      <a:pt x="4635" y="19"/>
                    </a:lnTo>
                    <a:lnTo>
                      <a:pt x="4635" y="15188"/>
                    </a:lnTo>
                    <a:cubicBezTo>
                      <a:pt x="4635" y="17619"/>
                      <a:pt x="4730" y="19239"/>
                      <a:pt x="4918" y="20087"/>
                    </a:cubicBezTo>
                    <a:cubicBezTo>
                      <a:pt x="5201" y="21312"/>
                      <a:pt x="5822" y="22273"/>
                      <a:pt x="6764" y="22951"/>
                    </a:cubicBezTo>
                    <a:cubicBezTo>
                      <a:pt x="7707" y="23649"/>
                      <a:pt x="8875" y="23988"/>
                      <a:pt x="10270" y="23988"/>
                    </a:cubicBezTo>
                    <a:cubicBezTo>
                      <a:pt x="11664" y="23988"/>
                      <a:pt x="12964" y="23630"/>
                      <a:pt x="14189" y="22914"/>
                    </a:cubicBezTo>
                    <a:cubicBezTo>
                      <a:pt x="15414" y="22198"/>
                      <a:pt x="16262" y="21237"/>
                      <a:pt x="16770" y="20012"/>
                    </a:cubicBezTo>
                    <a:cubicBezTo>
                      <a:pt x="17279" y="18787"/>
                      <a:pt x="17524" y="16997"/>
                      <a:pt x="17524" y="14660"/>
                    </a:cubicBezTo>
                    <a:lnTo>
                      <a:pt x="17524" y="0"/>
                    </a:lnTo>
                    <a:lnTo>
                      <a:pt x="22160" y="0"/>
                    </a:lnTo>
                    <a:lnTo>
                      <a:pt x="22160" y="27361"/>
                    </a:lnTo>
                    <a:lnTo>
                      <a:pt x="18014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45" name="Freihandform: Form 3444">
                <a:extLst>
                  <a:ext uri="{FF2B5EF4-FFF2-40B4-BE49-F238E27FC236}">
                    <a16:creationId xmlns:a16="http://schemas.microsoft.com/office/drawing/2014/main" id="{F6A194BA-3A9E-BC7E-E1F4-C7D6332AE5C3}"/>
                  </a:ext>
                </a:extLst>
              </p:cNvPr>
              <p:cNvSpPr/>
              <p:nvPr/>
            </p:nvSpPr>
            <p:spPr>
              <a:xfrm>
                <a:off x="8597709" y="4314516"/>
                <a:ext cx="14867" cy="27982"/>
              </a:xfrm>
              <a:custGeom>
                <a:avLst/>
                <a:gdLst>
                  <a:gd name="connsiteX0" fmla="*/ 0 w 14867"/>
                  <a:gd name="connsiteY0" fmla="*/ 27983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8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4 h 27982"/>
                  <a:gd name="connsiteX11" fmla="*/ 4635 w 14867"/>
                  <a:gd name="connsiteY11" fmla="*/ 13661 h 27982"/>
                  <a:gd name="connsiteX12" fmla="*/ 4635 w 14867"/>
                  <a:gd name="connsiteY12" fmla="*/ 27983 h 27982"/>
                  <a:gd name="connsiteX13" fmla="*/ 0 w 14867"/>
                  <a:gd name="connsiteY13" fmla="*/ 27983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3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8" y="1489"/>
                    </a:cubicBezTo>
                    <a:lnTo>
                      <a:pt x="13266" y="5785"/>
                    </a:lnTo>
                    <a:cubicBezTo>
                      <a:pt x="12135" y="5107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10"/>
                    </a:cubicBezTo>
                    <a:cubicBezTo>
                      <a:pt x="6332" y="6313"/>
                      <a:pt x="5766" y="7161"/>
                      <a:pt x="5408" y="8254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3"/>
                    </a:lnTo>
                    <a:lnTo>
                      <a:pt x="0" y="279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46" name="Freihandform: Form 3445">
                <a:extLst>
                  <a:ext uri="{FF2B5EF4-FFF2-40B4-BE49-F238E27FC236}">
                    <a16:creationId xmlns:a16="http://schemas.microsoft.com/office/drawing/2014/main" id="{4976E86A-0FFE-F01F-5278-ABD50A758425}"/>
                  </a:ext>
                </a:extLst>
              </p:cNvPr>
              <p:cNvSpPr/>
              <p:nvPr/>
            </p:nvSpPr>
            <p:spPr>
              <a:xfrm>
                <a:off x="8615347" y="4304736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5 w 4635"/>
                  <a:gd name="connsiteY7" fmla="*/ 10402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5" y="10402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47" name="Freihandform: Form 3446">
                <a:extLst>
                  <a:ext uri="{FF2B5EF4-FFF2-40B4-BE49-F238E27FC236}">
                    <a16:creationId xmlns:a16="http://schemas.microsoft.com/office/drawing/2014/main" id="{5076E2A7-9036-35DB-7F34-8DA543115879}"/>
                  </a:ext>
                </a:extLst>
              </p:cNvPr>
              <p:cNvSpPr/>
              <p:nvPr/>
            </p:nvSpPr>
            <p:spPr>
              <a:xfrm>
                <a:off x="8624505" y="4305584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1 h 37272"/>
                  <a:gd name="connsiteX7" fmla="*/ 0 w 13341"/>
                  <a:gd name="connsiteY7" fmla="*/ 13171 h 37272"/>
                  <a:gd name="connsiteX8" fmla="*/ 0 w 13341"/>
                  <a:gd name="connsiteY8" fmla="*/ 9573 h 37272"/>
                  <a:gd name="connsiteX9" fmla="*/ 3392 w 13341"/>
                  <a:gd name="connsiteY9" fmla="*/ 9573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4 w 13341"/>
                  <a:gd name="connsiteY17" fmla="*/ 31695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1"/>
                      <a:pt x="10873" y="37272"/>
                      <a:pt x="9836" y="37272"/>
                    </a:cubicBezTo>
                    <a:cubicBezTo>
                      <a:pt x="8159" y="37272"/>
                      <a:pt x="6840" y="37009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1" y="33522"/>
                      <a:pt x="3392" y="31695"/>
                      <a:pt x="3392" y="28906"/>
                    </a:cubicBezTo>
                    <a:lnTo>
                      <a:pt x="3392" y="13171"/>
                    </a:lnTo>
                    <a:lnTo>
                      <a:pt x="0" y="13171"/>
                    </a:lnTo>
                    <a:lnTo>
                      <a:pt x="0" y="9573"/>
                    </a:lnTo>
                    <a:lnTo>
                      <a:pt x="3392" y="9573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4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7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48" name="Freihandform: Form 3447">
                <a:extLst>
                  <a:ext uri="{FF2B5EF4-FFF2-40B4-BE49-F238E27FC236}">
                    <a16:creationId xmlns:a16="http://schemas.microsoft.com/office/drawing/2014/main" id="{F9CBB513-35D8-D1B8-C0B9-1F45EAC08ECC}"/>
                  </a:ext>
                </a:extLst>
              </p:cNvPr>
              <p:cNvSpPr/>
              <p:nvPr/>
            </p:nvSpPr>
            <p:spPr>
              <a:xfrm>
                <a:off x="8641728" y="4304736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5 w 4635"/>
                  <a:gd name="connsiteY7" fmla="*/ 10402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5" y="10402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49" name="Freihandform: Form 3448">
                <a:extLst>
                  <a:ext uri="{FF2B5EF4-FFF2-40B4-BE49-F238E27FC236}">
                    <a16:creationId xmlns:a16="http://schemas.microsoft.com/office/drawing/2014/main" id="{C9A45E3C-B643-5BC5-75BF-F7C52E5CBAD4}"/>
                  </a:ext>
                </a:extLst>
              </p:cNvPr>
              <p:cNvSpPr/>
              <p:nvPr/>
            </p:nvSpPr>
            <p:spPr>
              <a:xfrm>
                <a:off x="8653335" y="4315100"/>
                <a:ext cx="22159" cy="28020"/>
              </a:xfrm>
              <a:custGeom>
                <a:avLst/>
                <a:gdLst>
                  <a:gd name="connsiteX0" fmla="*/ 18033 w 22159"/>
                  <a:gd name="connsiteY0" fmla="*/ 27398 h 28020"/>
                  <a:gd name="connsiteX1" fmla="*/ 18033 w 22159"/>
                  <a:gd name="connsiteY1" fmla="*/ 23385 h 28020"/>
                  <a:gd name="connsiteX2" fmla="*/ 9346 w 22159"/>
                  <a:gd name="connsiteY2" fmla="*/ 28020 h 28020"/>
                  <a:gd name="connsiteX3" fmla="*/ 4824 w 22159"/>
                  <a:gd name="connsiteY3" fmla="*/ 27097 h 28020"/>
                  <a:gd name="connsiteX4" fmla="*/ 1715 w 22159"/>
                  <a:gd name="connsiteY4" fmla="*/ 24760 h 28020"/>
                  <a:gd name="connsiteX5" fmla="*/ 283 w 22159"/>
                  <a:gd name="connsiteY5" fmla="*/ 21312 h 28020"/>
                  <a:gd name="connsiteX6" fmla="*/ 0 w 22159"/>
                  <a:gd name="connsiteY6" fmla="*/ 16978 h 28020"/>
                  <a:gd name="connsiteX7" fmla="*/ 0 w 22159"/>
                  <a:gd name="connsiteY7" fmla="*/ 19 h 28020"/>
                  <a:gd name="connsiteX8" fmla="*/ 4635 w 22159"/>
                  <a:gd name="connsiteY8" fmla="*/ 19 h 28020"/>
                  <a:gd name="connsiteX9" fmla="*/ 4635 w 22159"/>
                  <a:gd name="connsiteY9" fmla="*/ 15188 h 28020"/>
                  <a:gd name="connsiteX10" fmla="*/ 4918 w 22159"/>
                  <a:gd name="connsiteY10" fmla="*/ 20087 h 28020"/>
                  <a:gd name="connsiteX11" fmla="*/ 6765 w 22159"/>
                  <a:gd name="connsiteY11" fmla="*/ 22951 h 28020"/>
                  <a:gd name="connsiteX12" fmla="*/ 10270 w 22159"/>
                  <a:gd name="connsiteY12" fmla="*/ 23988 h 28020"/>
                  <a:gd name="connsiteX13" fmla="*/ 14189 w 22159"/>
                  <a:gd name="connsiteY13" fmla="*/ 22914 h 28020"/>
                  <a:gd name="connsiteX14" fmla="*/ 16771 w 22159"/>
                  <a:gd name="connsiteY14" fmla="*/ 20012 h 28020"/>
                  <a:gd name="connsiteX15" fmla="*/ 17524 w 22159"/>
                  <a:gd name="connsiteY15" fmla="*/ 14660 h 28020"/>
                  <a:gd name="connsiteX16" fmla="*/ 17524 w 22159"/>
                  <a:gd name="connsiteY16" fmla="*/ 0 h 28020"/>
                  <a:gd name="connsiteX17" fmla="*/ 22160 w 22159"/>
                  <a:gd name="connsiteY17" fmla="*/ 0 h 28020"/>
                  <a:gd name="connsiteX18" fmla="*/ 22160 w 22159"/>
                  <a:gd name="connsiteY18" fmla="*/ 27361 h 28020"/>
                  <a:gd name="connsiteX19" fmla="*/ 18014 w 22159"/>
                  <a:gd name="connsiteY19" fmla="*/ 27361 h 2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159" h="28020">
                    <a:moveTo>
                      <a:pt x="18033" y="27398"/>
                    </a:moveTo>
                    <a:lnTo>
                      <a:pt x="18033" y="23385"/>
                    </a:lnTo>
                    <a:cubicBezTo>
                      <a:pt x="15904" y="26475"/>
                      <a:pt x="13002" y="28020"/>
                      <a:pt x="9346" y="28020"/>
                    </a:cubicBezTo>
                    <a:cubicBezTo>
                      <a:pt x="7726" y="28020"/>
                      <a:pt x="6218" y="27719"/>
                      <a:pt x="4824" y="27097"/>
                    </a:cubicBezTo>
                    <a:cubicBezTo>
                      <a:pt x="3430" y="26475"/>
                      <a:pt x="2393" y="25703"/>
                      <a:pt x="1715" y="24760"/>
                    </a:cubicBezTo>
                    <a:cubicBezTo>
                      <a:pt x="1036" y="23818"/>
                      <a:pt x="565" y="22669"/>
                      <a:pt x="283" y="21312"/>
                    </a:cubicBezTo>
                    <a:cubicBezTo>
                      <a:pt x="94" y="20408"/>
                      <a:pt x="0" y="18957"/>
                      <a:pt x="0" y="16978"/>
                    </a:cubicBezTo>
                    <a:lnTo>
                      <a:pt x="0" y="19"/>
                    </a:lnTo>
                    <a:lnTo>
                      <a:pt x="4635" y="19"/>
                    </a:lnTo>
                    <a:lnTo>
                      <a:pt x="4635" y="15188"/>
                    </a:lnTo>
                    <a:cubicBezTo>
                      <a:pt x="4635" y="17619"/>
                      <a:pt x="4730" y="19239"/>
                      <a:pt x="4918" y="20087"/>
                    </a:cubicBezTo>
                    <a:cubicBezTo>
                      <a:pt x="5201" y="21312"/>
                      <a:pt x="5823" y="22273"/>
                      <a:pt x="6765" y="22951"/>
                    </a:cubicBezTo>
                    <a:cubicBezTo>
                      <a:pt x="7707" y="23649"/>
                      <a:pt x="8875" y="23988"/>
                      <a:pt x="10270" y="23988"/>
                    </a:cubicBezTo>
                    <a:cubicBezTo>
                      <a:pt x="11664" y="23988"/>
                      <a:pt x="12964" y="23630"/>
                      <a:pt x="14189" y="22914"/>
                    </a:cubicBezTo>
                    <a:cubicBezTo>
                      <a:pt x="15414" y="22198"/>
                      <a:pt x="16262" y="21237"/>
                      <a:pt x="16771" y="20012"/>
                    </a:cubicBezTo>
                    <a:cubicBezTo>
                      <a:pt x="17279" y="18787"/>
                      <a:pt x="17524" y="16997"/>
                      <a:pt x="17524" y="14660"/>
                    </a:cubicBezTo>
                    <a:lnTo>
                      <a:pt x="17524" y="0"/>
                    </a:lnTo>
                    <a:lnTo>
                      <a:pt x="22160" y="0"/>
                    </a:lnTo>
                    <a:lnTo>
                      <a:pt x="22160" y="27361"/>
                    </a:lnTo>
                    <a:lnTo>
                      <a:pt x="18014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50" name="Freihandform: Form 3449">
                <a:extLst>
                  <a:ext uri="{FF2B5EF4-FFF2-40B4-BE49-F238E27FC236}">
                    <a16:creationId xmlns:a16="http://schemas.microsoft.com/office/drawing/2014/main" id="{EF94DF5A-3B3A-1CB7-37F8-F65440512A11}"/>
                  </a:ext>
                </a:extLst>
              </p:cNvPr>
              <p:cNvSpPr/>
              <p:nvPr/>
            </p:nvSpPr>
            <p:spPr>
              <a:xfrm>
                <a:off x="8680922" y="4314553"/>
                <a:ext cx="22724" cy="28585"/>
              </a:xfrm>
              <a:custGeom>
                <a:avLst/>
                <a:gdLst>
                  <a:gd name="connsiteX0" fmla="*/ 0 w 22724"/>
                  <a:gd name="connsiteY0" fmla="*/ 19786 h 28585"/>
                  <a:gd name="connsiteX1" fmla="*/ 4579 w 22724"/>
                  <a:gd name="connsiteY1" fmla="*/ 19070 h 28585"/>
                  <a:gd name="connsiteX2" fmla="*/ 6727 w 22724"/>
                  <a:gd name="connsiteY2" fmla="*/ 23291 h 28585"/>
                  <a:gd name="connsiteX3" fmla="*/ 11664 w 22724"/>
                  <a:gd name="connsiteY3" fmla="*/ 24760 h 28585"/>
                  <a:gd name="connsiteX4" fmla="*/ 16413 w 22724"/>
                  <a:gd name="connsiteY4" fmla="*/ 23460 h 28585"/>
                  <a:gd name="connsiteX5" fmla="*/ 17957 w 22724"/>
                  <a:gd name="connsiteY5" fmla="*/ 20408 h 28585"/>
                  <a:gd name="connsiteX6" fmla="*/ 16601 w 22724"/>
                  <a:gd name="connsiteY6" fmla="*/ 17939 h 28585"/>
                  <a:gd name="connsiteX7" fmla="*/ 11852 w 22724"/>
                  <a:gd name="connsiteY7" fmla="*/ 16375 h 28585"/>
                  <a:gd name="connsiteX8" fmla="*/ 4786 w 22724"/>
                  <a:gd name="connsiteY8" fmla="*/ 14151 h 28585"/>
                  <a:gd name="connsiteX9" fmla="*/ 1790 w 22724"/>
                  <a:gd name="connsiteY9" fmla="*/ 11551 h 28585"/>
                  <a:gd name="connsiteX10" fmla="*/ 772 w 22724"/>
                  <a:gd name="connsiteY10" fmla="*/ 7877 h 28585"/>
                  <a:gd name="connsiteX11" fmla="*/ 1601 w 22724"/>
                  <a:gd name="connsiteY11" fmla="*/ 4485 h 28585"/>
                  <a:gd name="connsiteX12" fmla="*/ 3881 w 22724"/>
                  <a:gd name="connsiteY12" fmla="*/ 1903 h 28585"/>
                  <a:gd name="connsiteX13" fmla="*/ 6840 w 22724"/>
                  <a:gd name="connsiteY13" fmla="*/ 547 h 28585"/>
                  <a:gd name="connsiteX14" fmla="*/ 10854 w 22724"/>
                  <a:gd name="connsiteY14" fmla="*/ 0 h 28585"/>
                  <a:gd name="connsiteX15" fmla="*/ 16507 w 22724"/>
                  <a:gd name="connsiteY15" fmla="*/ 923 h 28585"/>
                  <a:gd name="connsiteX16" fmla="*/ 20106 w 22724"/>
                  <a:gd name="connsiteY16" fmla="*/ 3430 h 28585"/>
                  <a:gd name="connsiteX17" fmla="*/ 21707 w 22724"/>
                  <a:gd name="connsiteY17" fmla="*/ 7669 h 28585"/>
                  <a:gd name="connsiteX18" fmla="*/ 17166 w 22724"/>
                  <a:gd name="connsiteY18" fmla="*/ 8291 h 28585"/>
                  <a:gd name="connsiteX19" fmla="*/ 15376 w 22724"/>
                  <a:gd name="connsiteY19" fmla="*/ 4994 h 28585"/>
                  <a:gd name="connsiteX20" fmla="*/ 11193 w 22724"/>
                  <a:gd name="connsiteY20" fmla="*/ 3806 h 28585"/>
                  <a:gd name="connsiteX21" fmla="*/ 6632 w 22724"/>
                  <a:gd name="connsiteY21" fmla="*/ 4862 h 28585"/>
                  <a:gd name="connsiteX22" fmla="*/ 5276 w 22724"/>
                  <a:gd name="connsiteY22" fmla="*/ 7330 h 28585"/>
                  <a:gd name="connsiteX23" fmla="*/ 5841 w 22724"/>
                  <a:gd name="connsiteY23" fmla="*/ 8951 h 28585"/>
                  <a:gd name="connsiteX24" fmla="*/ 7612 w 22724"/>
                  <a:gd name="connsiteY24" fmla="*/ 10195 h 28585"/>
                  <a:gd name="connsiteX25" fmla="*/ 11702 w 22724"/>
                  <a:gd name="connsiteY25" fmla="*/ 11381 h 28585"/>
                  <a:gd name="connsiteX26" fmla="*/ 18560 w 22724"/>
                  <a:gd name="connsiteY26" fmla="*/ 13530 h 28585"/>
                  <a:gd name="connsiteX27" fmla="*/ 21613 w 22724"/>
                  <a:gd name="connsiteY27" fmla="*/ 15960 h 28585"/>
                  <a:gd name="connsiteX28" fmla="*/ 22725 w 22724"/>
                  <a:gd name="connsiteY28" fmla="*/ 19936 h 28585"/>
                  <a:gd name="connsiteX29" fmla="*/ 21368 w 22724"/>
                  <a:gd name="connsiteY29" fmla="*/ 24308 h 28585"/>
                  <a:gd name="connsiteX30" fmla="*/ 17467 w 22724"/>
                  <a:gd name="connsiteY30" fmla="*/ 27474 h 28585"/>
                  <a:gd name="connsiteX31" fmla="*/ 11702 w 22724"/>
                  <a:gd name="connsiteY31" fmla="*/ 28586 h 28585"/>
                  <a:gd name="connsiteX32" fmla="*/ 3580 w 22724"/>
                  <a:gd name="connsiteY32" fmla="*/ 26362 h 28585"/>
                  <a:gd name="connsiteX33" fmla="*/ 19 w 22724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4" h="28585">
                    <a:moveTo>
                      <a:pt x="0" y="19786"/>
                    </a:moveTo>
                    <a:lnTo>
                      <a:pt x="4579" y="19070"/>
                    </a:lnTo>
                    <a:cubicBezTo>
                      <a:pt x="4842" y="20916"/>
                      <a:pt x="5559" y="22311"/>
                      <a:pt x="6727" y="23291"/>
                    </a:cubicBezTo>
                    <a:cubicBezTo>
                      <a:pt x="7895" y="24271"/>
                      <a:pt x="9553" y="24760"/>
                      <a:pt x="11664" y="24760"/>
                    </a:cubicBezTo>
                    <a:cubicBezTo>
                      <a:pt x="13774" y="24760"/>
                      <a:pt x="15376" y="24327"/>
                      <a:pt x="16413" y="23460"/>
                    </a:cubicBezTo>
                    <a:cubicBezTo>
                      <a:pt x="17449" y="22593"/>
                      <a:pt x="17957" y="21576"/>
                      <a:pt x="17957" y="20408"/>
                    </a:cubicBezTo>
                    <a:cubicBezTo>
                      <a:pt x="17957" y="19352"/>
                      <a:pt x="17505" y="18542"/>
                      <a:pt x="16601" y="17939"/>
                    </a:cubicBezTo>
                    <a:cubicBezTo>
                      <a:pt x="15960" y="17524"/>
                      <a:pt x="14377" y="16997"/>
                      <a:pt x="11852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8" y="12663"/>
                      <a:pt x="1790" y="11551"/>
                    </a:cubicBezTo>
                    <a:cubicBezTo>
                      <a:pt x="1111" y="10439"/>
                      <a:pt x="772" y="9215"/>
                      <a:pt x="772" y="7877"/>
                    </a:cubicBezTo>
                    <a:cubicBezTo>
                      <a:pt x="772" y="6652"/>
                      <a:pt x="1055" y="5521"/>
                      <a:pt x="1601" y="4485"/>
                    </a:cubicBezTo>
                    <a:cubicBezTo>
                      <a:pt x="2167" y="3448"/>
                      <a:pt x="2920" y="2582"/>
                      <a:pt x="3881" y="1903"/>
                    </a:cubicBezTo>
                    <a:cubicBezTo>
                      <a:pt x="4598" y="1376"/>
                      <a:pt x="5578" y="923"/>
                      <a:pt x="6840" y="547"/>
                    </a:cubicBezTo>
                    <a:cubicBezTo>
                      <a:pt x="8083" y="170"/>
                      <a:pt x="9422" y="0"/>
                      <a:pt x="10854" y="0"/>
                    </a:cubicBezTo>
                    <a:cubicBezTo>
                      <a:pt x="13002" y="0"/>
                      <a:pt x="14886" y="302"/>
                      <a:pt x="16507" y="923"/>
                    </a:cubicBezTo>
                    <a:cubicBezTo>
                      <a:pt x="18127" y="1545"/>
                      <a:pt x="19333" y="2374"/>
                      <a:pt x="20106" y="3430"/>
                    </a:cubicBezTo>
                    <a:cubicBezTo>
                      <a:pt x="20878" y="4485"/>
                      <a:pt x="21406" y="5898"/>
                      <a:pt x="21707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4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3" y="3806"/>
                      <a:pt x="7537" y="4164"/>
                      <a:pt x="6632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4" y="8480"/>
                      <a:pt x="5841" y="8951"/>
                    </a:cubicBezTo>
                    <a:cubicBezTo>
                      <a:pt x="6218" y="9441"/>
                      <a:pt x="6802" y="9855"/>
                      <a:pt x="7612" y="10195"/>
                    </a:cubicBezTo>
                    <a:cubicBezTo>
                      <a:pt x="8083" y="10364"/>
                      <a:pt x="9441" y="10759"/>
                      <a:pt x="11702" y="11381"/>
                    </a:cubicBezTo>
                    <a:cubicBezTo>
                      <a:pt x="14980" y="12248"/>
                      <a:pt x="17279" y="12983"/>
                      <a:pt x="18560" y="13530"/>
                    </a:cubicBezTo>
                    <a:cubicBezTo>
                      <a:pt x="19861" y="14095"/>
                      <a:pt x="20878" y="14905"/>
                      <a:pt x="21613" y="15960"/>
                    </a:cubicBezTo>
                    <a:cubicBezTo>
                      <a:pt x="22348" y="17034"/>
                      <a:pt x="22725" y="18353"/>
                      <a:pt x="22725" y="19936"/>
                    </a:cubicBezTo>
                    <a:cubicBezTo>
                      <a:pt x="22725" y="21519"/>
                      <a:pt x="22273" y="22933"/>
                      <a:pt x="21368" y="24308"/>
                    </a:cubicBezTo>
                    <a:cubicBezTo>
                      <a:pt x="20464" y="25684"/>
                      <a:pt x="19164" y="26739"/>
                      <a:pt x="17467" y="27474"/>
                    </a:cubicBezTo>
                    <a:cubicBezTo>
                      <a:pt x="15772" y="28208"/>
                      <a:pt x="13850" y="28586"/>
                      <a:pt x="11702" y="28586"/>
                    </a:cubicBezTo>
                    <a:cubicBezTo>
                      <a:pt x="8140" y="28586"/>
                      <a:pt x="5427" y="27851"/>
                      <a:pt x="3580" y="26362"/>
                    </a:cubicBezTo>
                    <a:cubicBezTo>
                      <a:pt x="1715" y="24892"/>
                      <a:pt x="527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65" name="Grafik 21">
              <a:extLst>
                <a:ext uri="{FF2B5EF4-FFF2-40B4-BE49-F238E27FC236}">
                  <a16:creationId xmlns:a16="http://schemas.microsoft.com/office/drawing/2014/main" id="{2F186EEA-8DFC-D978-57D0-CD523A882880}"/>
                </a:ext>
              </a:extLst>
            </p:cNvPr>
            <p:cNvGrpSpPr/>
            <p:nvPr/>
          </p:nvGrpSpPr>
          <p:grpSpPr>
            <a:xfrm>
              <a:off x="7634678" y="4506341"/>
              <a:ext cx="329422" cy="48917"/>
              <a:chOff x="7634678" y="4506341"/>
              <a:chExt cx="329422" cy="48917"/>
            </a:xfrm>
            <a:solidFill>
              <a:srgbClr val="000000"/>
            </a:solidFill>
          </p:grpSpPr>
          <p:sp>
            <p:nvSpPr>
              <p:cNvPr id="3430" name="Freihandform: Form 3429">
                <a:extLst>
                  <a:ext uri="{FF2B5EF4-FFF2-40B4-BE49-F238E27FC236}">
                    <a16:creationId xmlns:a16="http://schemas.microsoft.com/office/drawing/2014/main" id="{C3E20178-8F53-0185-040E-9743F8B82996}"/>
                  </a:ext>
                </a:extLst>
              </p:cNvPr>
              <p:cNvSpPr/>
              <p:nvPr/>
            </p:nvSpPr>
            <p:spPr>
              <a:xfrm>
                <a:off x="7634678" y="4506341"/>
                <a:ext cx="20786" cy="38421"/>
              </a:xfrm>
              <a:custGeom>
                <a:avLst/>
                <a:gdLst>
                  <a:gd name="connsiteX0" fmla="*/ 40 w 20786"/>
                  <a:gd name="connsiteY0" fmla="*/ 27059 h 38421"/>
                  <a:gd name="connsiteX1" fmla="*/ 4544 w 20786"/>
                  <a:gd name="connsiteY1" fmla="*/ 26437 h 38421"/>
                  <a:gd name="connsiteX2" fmla="*/ 6164 w 20786"/>
                  <a:gd name="connsiteY2" fmla="*/ 32354 h 38421"/>
                  <a:gd name="connsiteX3" fmla="*/ 10159 w 20786"/>
                  <a:gd name="connsiteY3" fmla="*/ 33956 h 38421"/>
                  <a:gd name="connsiteX4" fmla="*/ 13400 w 20786"/>
                  <a:gd name="connsiteY4" fmla="*/ 33089 h 38421"/>
                  <a:gd name="connsiteX5" fmla="*/ 15285 w 20786"/>
                  <a:gd name="connsiteY5" fmla="*/ 30753 h 38421"/>
                  <a:gd name="connsiteX6" fmla="*/ 15794 w 20786"/>
                  <a:gd name="connsiteY6" fmla="*/ 26023 h 38421"/>
                  <a:gd name="connsiteX7" fmla="*/ 15794 w 20786"/>
                  <a:gd name="connsiteY7" fmla="*/ 0 h 38421"/>
                  <a:gd name="connsiteX8" fmla="*/ 20787 w 20786"/>
                  <a:gd name="connsiteY8" fmla="*/ 0 h 38421"/>
                  <a:gd name="connsiteX9" fmla="*/ 20787 w 20786"/>
                  <a:gd name="connsiteY9" fmla="*/ 25740 h 38421"/>
                  <a:gd name="connsiteX10" fmla="*/ 19638 w 20786"/>
                  <a:gd name="connsiteY10" fmla="*/ 33089 h 38421"/>
                  <a:gd name="connsiteX11" fmla="*/ 16001 w 20786"/>
                  <a:gd name="connsiteY11" fmla="*/ 37065 h 38421"/>
                  <a:gd name="connsiteX12" fmla="*/ 10159 w 20786"/>
                  <a:gd name="connsiteY12" fmla="*/ 38422 h 38421"/>
                  <a:gd name="connsiteX13" fmla="*/ 2547 w 20786"/>
                  <a:gd name="connsiteY13" fmla="*/ 35558 h 38421"/>
                  <a:gd name="connsiteX14" fmla="*/ 3 w 20786"/>
                  <a:gd name="connsiteY14" fmla="*/ 27059 h 38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786" h="38421">
                    <a:moveTo>
                      <a:pt x="40" y="27059"/>
                    </a:moveTo>
                    <a:lnTo>
                      <a:pt x="4544" y="26437"/>
                    </a:lnTo>
                    <a:cubicBezTo>
                      <a:pt x="4657" y="29320"/>
                      <a:pt x="5203" y="31299"/>
                      <a:pt x="6164" y="32354"/>
                    </a:cubicBezTo>
                    <a:cubicBezTo>
                      <a:pt x="7125" y="33409"/>
                      <a:pt x="8464" y="33956"/>
                      <a:pt x="10159" y="33956"/>
                    </a:cubicBezTo>
                    <a:cubicBezTo>
                      <a:pt x="11422" y="33956"/>
                      <a:pt x="12496" y="33673"/>
                      <a:pt x="13400" y="33089"/>
                    </a:cubicBezTo>
                    <a:cubicBezTo>
                      <a:pt x="14305" y="32505"/>
                      <a:pt x="14946" y="31732"/>
                      <a:pt x="15285" y="30753"/>
                    </a:cubicBezTo>
                    <a:cubicBezTo>
                      <a:pt x="15624" y="29773"/>
                      <a:pt x="15794" y="28190"/>
                      <a:pt x="15794" y="26023"/>
                    </a:cubicBezTo>
                    <a:lnTo>
                      <a:pt x="15794" y="0"/>
                    </a:lnTo>
                    <a:lnTo>
                      <a:pt x="20787" y="0"/>
                    </a:lnTo>
                    <a:lnTo>
                      <a:pt x="20787" y="25740"/>
                    </a:lnTo>
                    <a:cubicBezTo>
                      <a:pt x="20787" y="28906"/>
                      <a:pt x="20410" y="31356"/>
                      <a:pt x="19638" y="33089"/>
                    </a:cubicBezTo>
                    <a:cubicBezTo>
                      <a:pt x="18865" y="34823"/>
                      <a:pt x="17659" y="36141"/>
                      <a:pt x="16001" y="37065"/>
                    </a:cubicBezTo>
                    <a:cubicBezTo>
                      <a:pt x="14343" y="37989"/>
                      <a:pt x="12402" y="38422"/>
                      <a:pt x="10159" y="38422"/>
                    </a:cubicBezTo>
                    <a:cubicBezTo>
                      <a:pt x="6843" y="38422"/>
                      <a:pt x="4299" y="37461"/>
                      <a:pt x="2547" y="35558"/>
                    </a:cubicBezTo>
                    <a:cubicBezTo>
                      <a:pt x="794" y="33654"/>
                      <a:pt x="-54" y="30809"/>
                      <a:pt x="3" y="27059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31" name="Freihandform: Form 3430">
                <a:extLst>
                  <a:ext uri="{FF2B5EF4-FFF2-40B4-BE49-F238E27FC236}">
                    <a16:creationId xmlns:a16="http://schemas.microsoft.com/office/drawing/2014/main" id="{9C590871-3B42-A3AD-560D-ACBAECB6F549}"/>
                  </a:ext>
                </a:extLst>
              </p:cNvPr>
              <p:cNvSpPr/>
              <p:nvPr/>
            </p:nvSpPr>
            <p:spPr>
              <a:xfrm>
                <a:off x="7661307" y="4516159"/>
                <a:ext cx="25646" cy="28604"/>
              </a:xfrm>
              <a:custGeom>
                <a:avLst/>
                <a:gdLst>
                  <a:gd name="connsiteX0" fmla="*/ 19 w 25646"/>
                  <a:gd name="connsiteY0" fmla="*/ 14283 h 28604"/>
                  <a:gd name="connsiteX1" fmla="*/ 4240 w 25646"/>
                  <a:gd name="connsiteY1" fmla="*/ 3034 h 28604"/>
                  <a:gd name="connsiteX2" fmla="*/ 12851 w 25646"/>
                  <a:gd name="connsiteY2" fmla="*/ 0 h 28604"/>
                  <a:gd name="connsiteX3" fmla="*/ 22066 w 25646"/>
                  <a:gd name="connsiteY3" fmla="*/ 3694 h 28604"/>
                  <a:gd name="connsiteX4" fmla="*/ 25646 w 25646"/>
                  <a:gd name="connsiteY4" fmla="*/ 13907 h 28604"/>
                  <a:gd name="connsiteX5" fmla="*/ 24063 w 25646"/>
                  <a:gd name="connsiteY5" fmla="*/ 22216 h 28604"/>
                  <a:gd name="connsiteX6" fmla="*/ 19446 w 25646"/>
                  <a:gd name="connsiteY6" fmla="*/ 26927 h 28604"/>
                  <a:gd name="connsiteX7" fmla="*/ 12832 w 25646"/>
                  <a:gd name="connsiteY7" fmla="*/ 28605 h 28604"/>
                  <a:gd name="connsiteX8" fmla="*/ 3542 w 25646"/>
                  <a:gd name="connsiteY8" fmla="*/ 24911 h 28604"/>
                  <a:gd name="connsiteX9" fmla="*/ 0 w 25646"/>
                  <a:gd name="connsiteY9" fmla="*/ 14302 h 28604"/>
                  <a:gd name="connsiteX10" fmla="*/ 4786 w 25646"/>
                  <a:gd name="connsiteY10" fmla="*/ 14283 h 28604"/>
                  <a:gd name="connsiteX11" fmla="*/ 7085 w 25646"/>
                  <a:gd name="connsiteY11" fmla="*/ 22160 h 28604"/>
                  <a:gd name="connsiteX12" fmla="*/ 12851 w 25646"/>
                  <a:gd name="connsiteY12" fmla="*/ 24779 h 28604"/>
                  <a:gd name="connsiteX13" fmla="*/ 18598 w 25646"/>
                  <a:gd name="connsiteY13" fmla="*/ 22160 h 28604"/>
                  <a:gd name="connsiteX14" fmla="*/ 20897 w 25646"/>
                  <a:gd name="connsiteY14" fmla="*/ 14151 h 28604"/>
                  <a:gd name="connsiteX15" fmla="*/ 18598 w 25646"/>
                  <a:gd name="connsiteY15" fmla="*/ 6464 h 28604"/>
                  <a:gd name="connsiteX16" fmla="*/ 12870 w 25646"/>
                  <a:gd name="connsiteY16" fmla="*/ 3844 h 28604"/>
                  <a:gd name="connsiteX17" fmla="*/ 7104 w 25646"/>
                  <a:gd name="connsiteY17" fmla="*/ 6445 h 28604"/>
                  <a:gd name="connsiteX18" fmla="*/ 4805 w 25646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6" h="28604">
                    <a:moveTo>
                      <a:pt x="19" y="14283"/>
                    </a:moveTo>
                    <a:cubicBezTo>
                      <a:pt x="19" y="9215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4"/>
                    </a:cubicBezTo>
                    <a:cubicBezTo>
                      <a:pt x="24440" y="6162"/>
                      <a:pt x="25646" y="9573"/>
                      <a:pt x="25646" y="13907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2" y="25797"/>
                      <a:pt x="19446" y="26927"/>
                    </a:cubicBezTo>
                    <a:cubicBezTo>
                      <a:pt x="17430" y="28058"/>
                      <a:pt x="15226" y="28605"/>
                      <a:pt x="12832" y="28605"/>
                    </a:cubicBezTo>
                    <a:cubicBezTo>
                      <a:pt x="9007" y="28605"/>
                      <a:pt x="5898" y="27379"/>
                      <a:pt x="3542" y="24911"/>
                    </a:cubicBezTo>
                    <a:cubicBezTo>
                      <a:pt x="1187" y="22443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8"/>
                      <a:pt x="7085" y="22160"/>
                    </a:cubicBezTo>
                    <a:cubicBezTo>
                      <a:pt x="8612" y="23913"/>
                      <a:pt x="10534" y="24779"/>
                      <a:pt x="12851" y="24779"/>
                    </a:cubicBezTo>
                    <a:cubicBezTo>
                      <a:pt x="15169" y="24779"/>
                      <a:pt x="17072" y="23913"/>
                      <a:pt x="18598" y="22160"/>
                    </a:cubicBezTo>
                    <a:cubicBezTo>
                      <a:pt x="20125" y="20408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4"/>
                    </a:cubicBezTo>
                    <a:cubicBezTo>
                      <a:pt x="17072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32" name="Freihandform: Form 3431">
                <a:extLst>
                  <a:ext uri="{FF2B5EF4-FFF2-40B4-BE49-F238E27FC236}">
                    <a16:creationId xmlns:a16="http://schemas.microsoft.com/office/drawing/2014/main" id="{E78911EF-8816-66E5-1A7C-E37986359CFD}"/>
                  </a:ext>
                </a:extLst>
              </p:cNvPr>
              <p:cNvSpPr/>
              <p:nvPr/>
            </p:nvSpPr>
            <p:spPr>
              <a:xfrm>
                <a:off x="7692398" y="4506360"/>
                <a:ext cx="22272" cy="37762"/>
              </a:xfrm>
              <a:custGeom>
                <a:avLst/>
                <a:gdLst>
                  <a:gd name="connsiteX0" fmla="*/ 0 w 22272"/>
                  <a:gd name="connsiteY0" fmla="*/ 37762 h 37762"/>
                  <a:gd name="connsiteX1" fmla="*/ 0 w 22272"/>
                  <a:gd name="connsiteY1" fmla="*/ 0 h 37762"/>
                  <a:gd name="connsiteX2" fmla="*/ 4635 w 22272"/>
                  <a:gd name="connsiteY2" fmla="*/ 0 h 37762"/>
                  <a:gd name="connsiteX3" fmla="*/ 4635 w 22272"/>
                  <a:gd name="connsiteY3" fmla="*/ 13548 h 37762"/>
                  <a:gd name="connsiteX4" fmla="*/ 12832 w 22272"/>
                  <a:gd name="connsiteY4" fmla="*/ 9780 h 37762"/>
                  <a:gd name="connsiteX5" fmla="*/ 18109 w 22272"/>
                  <a:gd name="connsiteY5" fmla="*/ 10986 h 37762"/>
                  <a:gd name="connsiteX6" fmla="*/ 21312 w 22272"/>
                  <a:gd name="connsiteY6" fmla="*/ 14302 h 37762"/>
                  <a:gd name="connsiteX7" fmla="*/ 22273 w 22272"/>
                  <a:gd name="connsiteY7" fmla="*/ 20426 h 37762"/>
                  <a:gd name="connsiteX8" fmla="*/ 22273 w 22272"/>
                  <a:gd name="connsiteY8" fmla="*/ 37762 h 37762"/>
                  <a:gd name="connsiteX9" fmla="*/ 17638 w 22272"/>
                  <a:gd name="connsiteY9" fmla="*/ 37762 h 37762"/>
                  <a:gd name="connsiteX10" fmla="*/ 17638 w 22272"/>
                  <a:gd name="connsiteY10" fmla="*/ 20426 h 37762"/>
                  <a:gd name="connsiteX11" fmla="*/ 16130 w 22272"/>
                  <a:gd name="connsiteY11" fmla="*/ 15358 h 37762"/>
                  <a:gd name="connsiteX12" fmla="*/ 11871 w 22272"/>
                  <a:gd name="connsiteY12" fmla="*/ 13775 h 37762"/>
                  <a:gd name="connsiteX13" fmla="*/ 7990 w 22272"/>
                  <a:gd name="connsiteY13" fmla="*/ 14849 h 37762"/>
                  <a:gd name="connsiteX14" fmla="*/ 5408 w 22272"/>
                  <a:gd name="connsiteY14" fmla="*/ 17750 h 37762"/>
                  <a:gd name="connsiteX15" fmla="*/ 4635 w 22272"/>
                  <a:gd name="connsiteY15" fmla="*/ 22801 h 37762"/>
                  <a:gd name="connsiteX16" fmla="*/ 4635 w 22272"/>
                  <a:gd name="connsiteY16" fmla="*/ 37762 h 37762"/>
                  <a:gd name="connsiteX17" fmla="*/ 0 w 22272"/>
                  <a:gd name="connsiteY17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272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548"/>
                    </a:lnTo>
                    <a:cubicBezTo>
                      <a:pt x="6803" y="11042"/>
                      <a:pt x="9535" y="9780"/>
                      <a:pt x="12832" y="9780"/>
                    </a:cubicBezTo>
                    <a:cubicBezTo>
                      <a:pt x="14867" y="9780"/>
                      <a:pt x="16620" y="10176"/>
                      <a:pt x="18109" y="10986"/>
                    </a:cubicBezTo>
                    <a:cubicBezTo>
                      <a:pt x="19597" y="11796"/>
                      <a:pt x="20671" y="12889"/>
                      <a:pt x="21312" y="14302"/>
                    </a:cubicBezTo>
                    <a:cubicBezTo>
                      <a:pt x="21952" y="15716"/>
                      <a:pt x="22273" y="17750"/>
                      <a:pt x="22273" y="20426"/>
                    </a:cubicBezTo>
                    <a:lnTo>
                      <a:pt x="22273" y="37762"/>
                    </a:lnTo>
                    <a:lnTo>
                      <a:pt x="17638" y="37762"/>
                    </a:lnTo>
                    <a:lnTo>
                      <a:pt x="17638" y="20426"/>
                    </a:lnTo>
                    <a:cubicBezTo>
                      <a:pt x="17638" y="18109"/>
                      <a:pt x="17129" y="16413"/>
                      <a:pt x="16130" y="15358"/>
                    </a:cubicBezTo>
                    <a:cubicBezTo>
                      <a:pt x="15131" y="14302"/>
                      <a:pt x="13699" y="13775"/>
                      <a:pt x="11871" y="13775"/>
                    </a:cubicBezTo>
                    <a:cubicBezTo>
                      <a:pt x="10496" y="13775"/>
                      <a:pt x="9195" y="14133"/>
                      <a:pt x="7990" y="14849"/>
                    </a:cubicBezTo>
                    <a:cubicBezTo>
                      <a:pt x="6784" y="15565"/>
                      <a:pt x="5917" y="16526"/>
                      <a:pt x="5408" y="17750"/>
                    </a:cubicBezTo>
                    <a:cubicBezTo>
                      <a:pt x="4899" y="18975"/>
                      <a:pt x="4635" y="20652"/>
                      <a:pt x="4635" y="22801"/>
                    </a:cubicBez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33" name="Freihandform: Form 3432">
                <a:extLst>
                  <a:ext uri="{FF2B5EF4-FFF2-40B4-BE49-F238E27FC236}">
                    <a16:creationId xmlns:a16="http://schemas.microsoft.com/office/drawing/2014/main" id="{3CA3E64B-E684-620E-7969-468F7A965C5B}"/>
                  </a:ext>
                </a:extLst>
              </p:cNvPr>
              <p:cNvSpPr/>
              <p:nvPr/>
            </p:nvSpPr>
            <p:spPr>
              <a:xfrm>
                <a:off x="7720155" y="4516121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1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0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4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3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7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5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3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80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1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3"/>
                      <a:pt x="19070" y="9403"/>
                    </a:cubicBezTo>
                    <a:cubicBezTo>
                      <a:pt x="19070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4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3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6" y="321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7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5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80" y="27003"/>
                      <a:pt x="19560" y="25872"/>
                      <a:pt x="19428" y="24591"/>
                    </a:cubicBezTo>
                    <a:close/>
                    <a:moveTo>
                      <a:pt x="19032" y="14265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80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3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6"/>
                      <a:pt x="17638" y="21972"/>
                      <a:pt x="18297" y="20615"/>
                    </a:cubicBezTo>
                    <a:cubicBezTo>
                      <a:pt x="18787" y="19560"/>
                      <a:pt x="19051" y="18014"/>
                      <a:pt x="19051" y="15980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34" name="Freihandform: Form 3433">
                <a:extLst>
                  <a:ext uri="{FF2B5EF4-FFF2-40B4-BE49-F238E27FC236}">
                    <a16:creationId xmlns:a16="http://schemas.microsoft.com/office/drawing/2014/main" id="{1234A591-7BF1-A43F-B6DA-4E0E01DB4348}"/>
                  </a:ext>
                </a:extLst>
              </p:cNvPr>
              <p:cNvSpPr/>
              <p:nvPr/>
            </p:nvSpPr>
            <p:spPr>
              <a:xfrm>
                <a:off x="7751077" y="4516140"/>
                <a:ext cx="22235" cy="28001"/>
              </a:xfrm>
              <a:custGeom>
                <a:avLst/>
                <a:gdLst>
                  <a:gd name="connsiteX0" fmla="*/ 0 w 22235"/>
                  <a:gd name="connsiteY0" fmla="*/ 27983 h 28001"/>
                  <a:gd name="connsiteX1" fmla="*/ 0 w 22235"/>
                  <a:gd name="connsiteY1" fmla="*/ 622 h 28001"/>
                  <a:gd name="connsiteX2" fmla="*/ 4165 w 22235"/>
                  <a:gd name="connsiteY2" fmla="*/ 622 h 28001"/>
                  <a:gd name="connsiteX3" fmla="*/ 4165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1 w 22235"/>
                  <a:gd name="connsiteY6" fmla="*/ 3223 h 28001"/>
                  <a:gd name="connsiteX7" fmla="*/ 21972 w 22235"/>
                  <a:gd name="connsiteY7" fmla="*/ 6652 h 28001"/>
                  <a:gd name="connsiteX8" fmla="*/ 22235 w 22235"/>
                  <a:gd name="connsiteY8" fmla="*/ 11156 h 28001"/>
                  <a:gd name="connsiteX9" fmla="*/ 22235 w 22235"/>
                  <a:gd name="connsiteY9" fmla="*/ 27983 h 28001"/>
                  <a:gd name="connsiteX10" fmla="*/ 17600 w 22235"/>
                  <a:gd name="connsiteY10" fmla="*/ 27983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6 w 22235"/>
                  <a:gd name="connsiteY16" fmla="*/ 13059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3"/>
                    </a:moveTo>
                    <a:lnTo>
                      <a:pt x="0" y="622"/>
                    </a:lnTo>
                    <a:lnTo>
                      <a:pt x="4165" y="622"/>
                    </a:lnTo>
                    <a:lnTo>
                      <a:pt x="4165" y="4504"/>
                    </a:lnTo>
                    <a:cubicBezTo>
                      <a:pt x="6181" y="1508"/>
                      <a:pt x="9083" y="0"/>
                      <a:pt x="12870" y="0"/>
                    </a:cubicBezTo>
                    <a:cubicBezTo>
                      <a:pt x="14529" y="0"/>
                      <a:pt x="16036" y="302"/>
                      <a:pt x="17411" y="886"/>
                    </a:cubicBezTo>
                    <a:cubicBezTo>
                      <a:pt x="18787" y="1470"/>
                      <a:pt x="19823" y="2262"/>
                      <a:pt x="20521" y="3223"/>
                    </a:cubicBezTo>
                    <a:cubicBezTo>
                      <a:pt x="21218" y="4184"/>
                      <a:pt x="21689" y="5333"/>
                      <a:pt x="21972" y="6652"/>
                    </a:cubicBezTo>
                    <a:cubicBezTo>
                      <a:pt x="22141" y="7518"/>
                      <a:pt x="22235" y="9007"/>
                      <a:pt x="22235" y="11156"/>
                    </a:cubicBezTo>
                    <a:lnTo>
                      <a:pt x="22235" y="27983"/>
                    </a:lnTo>
                    <a:lnTo>
                      <a:pt x="17600" y="27983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5"/>
                      <a:pt x="6784" y="5917"/>
                    </a:cubicBezTo>
                    <a:cubicBezTo>
                      <a:pt x="5352" y="7179"/>
                      <a:pt x="4636" y="9554"/>
                      <a:pt x="4636" y="13059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35" name="Freihandform: Form 3434">
                <a:extLst>
                  <a:ext uri="{FF2B5EF4-FFF2-40B4-BE49-F238E27FC236}">
                    <a16:creationId xmlns:a16="http://schemas.microsoft.com/office/drawing/2014/main" id="{E48BF463-A8BB-8AA2-A550-6D58E301E5A0}"/>
                  </a:ext>
                </a:extLst>
              </p:cNvPr>
              <p:cNvSpPr/>
              <p:nvPr/>
            </p:nvSpPr>
            <p:spPr>
              <a:xfrm>
                <a:off x="7780416" y="4516140"/>
                <a:ext cx="22235" cy="28001"/>
              </a:xfrm>
              <a:custGeom>
                <a:avLst/>
                <a:gdLst>
                  <a:gd name="connsiteX0" fmla="*/ 0 w 22235"/>
                  <a:gd name="connsiteY0" fmla="*/ 27983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1 w 22235"/>
                  <a:gd name="connsiteY6" fmla="*/ 3223 h 28001"/>
                  <a:gd name="connsiteX7" fmla="*/ 21971 w 22235"/>
                  <a:gd name="connsiteY7" fmla="*/ 6652 h 28001"/>
                  <a:gd name="connsiteX8" fmla="*/ 22235 w 22235"/>
                  <a:gd name="connsiteY8" fmla="*/ 11156 h 28001"/>
                  <a:gd name="connsiteX9" fmla="*/ 22235 w 22235"/>
                  <a:gd name="connsiteY9" fmla="*/ 27983 h 28001"/>
                  <a:gd name="connsiteX10" fmla="*/ 17600 w 22235"/>
                  <a:gd name="connsiteY10" fmla="*/ 27983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5 w 22235"/>
                  <a:gd name="connsiteY16" fmla="*/ 13059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3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8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2"/>
                      <a:pt x="20521" y="3223"/>
                    </a:cubicBezTo>
                    <a:cubicBezTo>
                      <a:pt x="21218" y="4184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6"/>
                    </a:cubicBezTo>
                    <a:lnTo>
                      <a:pt x="22235" y="27983"/>
                    </a:lnTo>
                    <a:lnTo>
                      <a:pt x="17600" y="27983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5"/>
                      <a:pt x="6784" y="5917"/>
                    </a:cubicBezTo>
                    <a:cubicBezTo>
                      <a:pt x="5352" y="7179"/>
                      <a:pt x="4635" y="9554"/>
                      <a:pt x="4635" y="13059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36" name="Freihandform: Form 3435">
                <a:extLst>
                  <a:ext uri="{FF2B5EF4-FFF2-40B4-BE49-F238E27FC236}">
                    <a16:creationId xmlns:a16="http://schemas.microsoft.com/office/drawing/2014/main" id="{D981065D-72D1-9DD8-9DB0-37815DE11DCF}"/>
                  </a:ext>
                </a:extLst>
              </p:cNvPr>
              <p:cNvSpPr/>
              <p:nvPr/>
            </p:nvSpPr>
            <p:spPr>
              <a:xfrm>
                <a:off x="7808210" y="4516140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39 w 25231"/>
                  <a:gd name="connsiteY3" fmla="*/ 28586 h 28585"/>
                  <a:gd name="connsiteX4" fmla="*/ 3524 w 25231"/>
                  <a:gd name="connsiteY4" fmla="*/ 24892 h 28585"/>
                  <a:gd name="connsiteX5" fmla="*/ 0 w 25231"/>
                  <a:gd name="connsiteY5" fmla="*/ 14529 h 28585"/>
                  <a:gd name="connsiteX6" fmla="*/ 3562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2 w 25231"/>
                  <a:gd name="connsiteY9" fmla="*/ 14246 h 28585"/>
                  <a:gd name="connsiteX10" fmla="*/ 25213 w 25231"/>
                  <a:gd name="connsiteY10" fmla="*/ 15490 h 28585"/>
                  <a:gd name="connsiteX11" fmla="*/ 4805 w 25231"/>
                  <a:gd name="connsiteY11" fmla="*/ 15490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2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9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6"/>
                      <a:pt x="22932" y="24723"/>
                      <a:pt x="20879" y="26268"/>
                    </a:cubicBezTo>
                    <a:cubicBezTo>
                      <a:pt x="18825" y="27813"/>
                      <a:pt x="16224" y="28586"/>
                      <a:pt x="13039" y="28586"/>
                    </a:cubicBezTo>
                    <a:cubicBezTo>
                      <a:pt x="9045" y="28586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9"/>
                    </a:cubicBezTo>
                    <a:cubicBezTo>
                      <a:pt x="0" y="10081"/>
                      <a:pt x="1187" y="6350"/>
                      <a:pt x="3562" y="3806"/>
                    </a:cubicBezTo>
                    <a:cubicBezTo>
                      <a:pt x="5936" y="1263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2" y="9723"/>
                      <a:pt x="25232" y="14246"/>
                    </a:cubicBezTo>
                    <a:cubicBezTo>
                      <a:pt x="25232" y="14529"/>
                      <a:pt x="25232" y="14924"/>
                      <a:pt x="25213" y="15490"/>
                    </a:cubicBezTo>
                    <a:lnTo>
                      <a:pt x="4805" y="15490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69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2"/>
                    </a:cubicBezTo>
                    <a:cubicBezTo>
                      <a:pt x="18636" y="22556"/>
                      <a:pt x="19579" y="21124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6"/>
                      <a:pt x="19560" y="7632"/>
                      <a:pt x="18599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3"/>
                      <a:pt x="7481" y="5936"/>
                    </a:cubicBezTo>
                    <a:cubicBezTo>
                      <a:pt x="6030" y="7349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37" name="Freihandform: Form 3436">
                <a:extLst>
                  <a:ext uri="{FF2B5EF4-FFF2-40B4-BE49-F238E27FC236}">
                    <a16:creationId xmlns:a16="http://schemas.microsoft.com/office/drawing/2014/main" id="{52A950F5-6466-27DD-FD44-2D1596C29BA9}"/>
                  </a:ext>
                </a:extLst>
              </p:cNvPr>
              <p:cNvSpPr/>
              <p:nvPr/>
            </p:nvSpPr>
            <p:spPr>
              <a:xfrm>
                <a:off x="7837247" y="4516178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70 h 28585"/>
                  <a:gd name="connsiteX2" fmla="*/ 6727 w 22725"/>
                  <a:gd name="connsiteY2" fmla="*/ 23291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8 h 28585"/>
                  <a:gd name="connsiteX6" fmla="*/ 16601 w 22725"/>
                  <a:gd name="connsiteY6" fmla="*/ 17939 h 28585"/>
                  <a:gd name="connsiteX7" fmla="*/ 11853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3 w 22725"/>
                  <a:gd name="connsiteY10" fmla="*/ 7877 h 28585"/>
                  <a:gd name="connsiteX11" fmla="*/ 1602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7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30 h 28585"/>
                  <a:gd name="connsiteX17" fmla="*/ 21708 w 22725"/>
                  <a:gd name="connsiteY17" fmla="*/ 7669 h 28585"/>
                  <a:gd name="connsiteX18" fmla="*/ 17167 w 22725"/>
                  <a:gd name="connsiteY18" fmla="*/ 8291 h 28585"/>
                  <a:gd name="connsiteX19" fmla="*/ 15376 w 22725"/>
                  <a:gd name="connsiteY19" fmla="*/ 4994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2 w 22725"/>
                  <a:gd name="connsiteY23" fmla="*/ 8951 h 28585"/>
                  <a:gd name="connsiteX24" fmla="*/ 7613 w 22725"/>
                  <a:gd name="connsiteY24" fmla="*/ 10195 h 28585"/>
                  <a:gd name="connsiteX25" fmla="*/ 11702 w 22725"/>
                  <a:gd name="connsiteY25" fmla="*/ 11381 h 28585"/>
                  <a:gd name="connsiteX26" fmla="*/ 18561 w 22725"/>
                  <a:gd name="connsiteY26" fmla="*/ 13530 h 28585"/>
                  <a:gd name="connsiteX27" fmla="*/ 21614 w 22725"/>
                  <a:gd name="connsiteY27" fmla="*/ 15960 h 28585"/>
                  <a:gd name="connsiteX28" fmla="*/ 22725 w 22725"/>
                  <a:gd name="connsiteY28" fmla="*/ 19936 h 28585"/>
                  <a:gd name="connsiteX29" fmla="*/ 21369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6 h 28585"/>
                  <a:gd name="connsiteX32" fmla="*/ 3581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70"/>
                    </a:lnTo>
                    <a:cubicBezTo>
                      <a:pt x="4843" y="20916"/>
                      <a:pt x="5559" y="22311"/>
                      <a:pt x="6727" y="23291"/>
                    </a:cubicBezTo>
                    <a:cubicBezTo>
                      <a:pt x="7896" y="24271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8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1" y="17524"/>
                      <a:pt x="14378" y="16997"/>
                      <a:pt x="11853" y="16375"/>
                    </a:cubicBezTo>
                    <a:cubicBezTo>
                      <a:pt x="8461" y="15508"/>
                      <a:pt x="6087" y="14773"/>
                      <a:pt x="4786" y="14151"/>
                    </a:cubicBezTo>
                    <a:cubicBezTo>
                      <a:pt x="3486" y="13530"/>
                      <a:pt x="2469" y="12663"/>
                      <a:pt x="1790" y="11551"/>
                    </a:cubicBezTo>
                    <a:cubicBezTo>
                      <a:pt x="1112" y="10439"/>
                      <a:pt x="773" y="9215"/>
                      <a:pt x="773" y="7877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48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7"/>
                    </a:cubicBezTo>
                    <a:cubicBezTo>
                      <a:pt x="8103" y="170"/>
                      <a:pt x="9422" y="0"/>
                      <a:pt x="10854" y="0"/>
                    </a:cubicBezTo>
                    <a:cubicBezTo>
                      <a:pt x="13002" y="0"/>
                      <a:pt x="14887" y="302"/>
                      <a:pt x="16507" y="923"/>
                    </a:cubicBezTo>
                    <a:cubicBezTo>
                      <a:pt x="18128" y="1545"/>
                      <a:pt x="19333" y="2374"/>
                      <a:pt x="20106" y="3430"/>
                    </a:cubicBezTo>
                    <a:cubicBezTo>
                      <a:pt x="20879" y="4485"/>
                      <a:pt x="21406" y="5898"/>
                      <a:pt x="21708" y="7669"/>
                    </a:cubicBezTo>
                    <a:lnTo>
                      <a:pt x="17167" y="8291"/>
                    </a:lnTo>
                    <a:cubicBezTo>
                      <a:pt x="16959" y="6878"/>
                      <a:pt x="16356" y="5785"/>
                      <a:pt x="15376" y="4994"/>
                    </a:cubicBezTo>
                    <a:cubicBezTo>
                      <a:pt x="14397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2" y="8951"/>
                    </a:cubicBezTo>
                    <a:cubicBezTo>
                      <a:pt x="6218" y="9441"/>
                      <a:pt x="6803" y="9855"/>
                      <a:pt x="7613" y="10195"/>
                    </a:cubicBezTo>
                    <a:cubicBezTo>
                      <a:pt x="8084" y="10364"/>
                      <a:pt x="9441" y="10759"/>
                      <a:pt x="11702" y="11381"/>
                    </a:cubicBezTo>
                    <a:cubicBezTo>
                      <a:pt x="14981" y="12248"/>
                      <a:pt x="17280" y="12983"/>
                      <a:pt x="18561" y="13530"/>
                    </a:cubicBezTo>
                    <a:cubicBezTo>
                      <a:pt x="19842" y="14076"/>
                      <a:pt x="20879" y="14905"/>
                      <a:pt x="21614" y="15960"/>
                    </a:cubicBezTo>
                    <a:cubicBezTo>
                      <a:pt x="22348" y="17016"/>
                      <a:pt x="22725" y="18353"/>
                      <a:pt x="22725" y="19936"/>
                    </a:cubicBezTo>
                    <a:cubicBezTo>
                      <a:pt x="22725" y="21519"/>
                      <a:pt x="22273" y="22933"/>
                      <a:pt x="21369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8"/>
                      <a:pt x="13850" y="28586"/>
                      <a:pt x="11702" y="28586"/>
                    </a:cubicBezTo>
                    <a:cubicBezTo>
                      <a:pt x="8140" y="28586"/>
                      <a:pt x="5446" y="27851"/>
                      <a:pt x="3581" y="26362"/>
                    </a:cubicBezTo>
                    <a:cubicBezTo>
                      <a:pt x="1715" y="24874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38" name="Freihandform: Form 3437">
                <a:extLst>
                  <a:ext uri="{FF2B5EF4-FFF2-40B4-BE49-F238E27FC236}">
                    <a16:creationId xmlns:a16="http://schemas.microsoft.com/office/drawing/2014/main" id="{D2FB9817-82A0-D412-BCF5-57ABD40EFFAD}"/>
                  </a:ext>
                </a:extLst>
              </p:cNvPr>
              <p:cNvSpPr/>
              <p:nvPr/>
            </p:nvSpPr>
            <p:spPr>
              <a:xfrm>
                <a:off x="7865475" y="4506360"/>
                <a:ext cx="23742" cy="38384"/>
              </a:xfrm>
              <a:custGeom>
                <a:avLst/>
                <a:gdLst>
                  <a:gd name="connsiteX0" fmla="*/ 4296 w 23742"/>
                  <a:gd name="connsiteY0" fmla="*/ 37762 h 38384"/>
                  <a:gd name="connsiteX1" fmla="*/ 0 w 23742"/>
                  <a:gd name="connsiteY1" fmla="*/ 37762 h 38384"/>
                  <a:gd name="connsiteX2" fmla="*/ 0 w 23742"/>
                  <a:gd name="connsiteY2" fmla="*/ 0 h 38384"/>
                  <a:gd name="connsiteX3" fmla="*/ 4635 w 23742"/>
                  <a:gd name="connsiteY3" fmla="*/ 0 h 38384"/>
                  <a:gd name="connsiteX4" fmla="*/ 4635 w 23742"/>
                  <a:gd name="connsiteY4" fmla="*/ 13473 h 38384"/>
                  <a:gd name="connsiteX5" fmla="*/ 12135 w 23742"/>
                  <a:gd name="connsiteY5" fmla="*/ 9780 h 38384"/>
                  <a:gd name="connsiteX6" fmla="*/ 16921 w 23742"/>
                  <a:gd name="connsiteY6" fmla="*/ 10797 h 38384"/>
                  <a:gd name="connsiteX7" fmla="*/ 20633 w 23742"/>
                  <a:gd name="connsiteY7" fmla="*/ 13661 h 38384"/>
                  <a:gd name="connsiteX8" fmla="*/ 22913 w 23742"/>
                  <a:gd name="connsiteY8" fmla="*/ 18109 h 38384"/>
                  <a:gd name="connsiteX9" fmla="*/ 23742 w 23742"/>
                  <a:gd name="connsiteY9" fmla="*/ 23667 h 38384"/>
                  <a:gd name="connsiteX10" fmla="*/ 20257 w 23742"/>
                  <a:gd name="connsiteY10" fmla="*/ 34540 h 38384"/>
                  <a:gd name="connsiteX11" fmla="*/ 11909 w 23742"/>
                  <a:gd name="connsiteY11" fmla="*/ 38384 h 38384"/>
                  <a:gd name="connsiteX12" fmla="*/ 4315 w 23742"/>
                  <a:gd name="connsiteY12" fmla="*/ 34333 h 38384"/>
                  <a:gd name="connsiteX13" fmla="*/ 4315 w 23742"/>
                  <a:gd name="connsiteY13" fmla="*/ 37762 h 38384"/>
                  <a:gd name="connsiteX14" fmla="*/ 4240 w 23742"/>
                  <a:gd name="connsiteY14" fmla="*/ 23874 h 38384"/>
                  <a:gd name="connsiteX15" fmla="*/ 5578 w 23742"/>
                  <a:gd name="connsiteY15" fmla="*/ 30978 h 38384"/>
                  <a:gd name="connsiteX16" fmla="*/ 11494 w 23742"/>
                  <a:gd name="connsiteY16" fmla="*/ 34559 h 38384"/>
                  <a:gd name="connsiteX17" fmla="*/ 16752 w 23742"/>
                  <a:gd name="connsiteY17" fmla="*/ 31921 h 38384"/>
                  <a:gd name="connsiteX18" fmla="*/ 18975 w 23742"/>
                  <a:gd name="connsiteY18" fmla="*/ 24044 h 38384"/>
                  <a:gd name="connsiteX19" fmla="*/ 16846 w 23742"/>
                  <a:gd name="connsiteY19" fmla="*/ 16130 h 38384"/>
                  <a:gd name="connsiteX20" fmla="*/ 11702 w 23742"/>
                  <a:gd name="connsiteY20" fmla="*/ 13586 h 38384"/>
                  <a:gd name="connsiteX21" fmla="*/ 6444 w 23742"/>
                  <a:gd name="connsiteY21" fmla="*/ 16224 h 38384"/>
                  <a:gd name="connsiteX22" fmla="*/ 4221 w 23742"/>
                  <a:gd name="connsiteY22" fmla="*/ 23856 h 38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3742" h="38384">
                    <a:moveTo>
                      <a:pt x="4296" y="37762"/>
                    </a:moveTo>
                    <a:lnTo>
                      <a:pt x="0" y="37762"/>
                    </a:ln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473"/>
                    </a:lnTo>
                    <a:cubicBezTo>
                      <a:pt x="6595" y="11024"/>
                      <a:pt x="9101" y="9780"/>
                      <a:pt x="12135" y="9780"/>
                    </a:cubicBezTo>
                    <a:cubicBezTo>
                      <a:pt x="13812" y="9780"/>
                      <a:pt x="15414" y="10119"/>
                      <a:pt x="16921" y="10797"/>
                    </a:cubicBezTo>
                    <a:cubicBezTo>
                      <a:pt x="18428" y="11476"/>
                      <a:pt x="19654" y="12437"/>
                      <a:pt x="20633" y="13661"/>
                    </a:cubicBezTo>
                    <a:cubicBezTo>
                      <a:pt x="21613" y="14887"/>
                      <a:pt x="22367" y="16375"/>
                      <a:pt x="22913" y="18109"/>
                    </a:cubicBezTo>
                    <a:cubicBezTo>
                      <a:pt x="23460" y="19842"/>
                      <a:pt x="23742" y="21708"/>
                      <a:pt x="23742" y="23667"/>
                    </a:cubicBezTo>
                    <a:cubicBezTo>
                      <a:pt x="23742" y="28359"/>
                      <a:pt x="22574" y="31977"/>
                      <a:pt x="20257" y="34540"/>
                    </a:cubicBezTo>
                    <a:cubicBezTo>
                      <a:pt x="17938" y="37102"/>
                      <a:pt x="15150" y="38384"/>
                      <a:pt x="11909" y="38384"/>
                    </a:cubicBezTo>
                    <a:cubicBezTo>
                      <a:pt x="8668" y="38384"/>
                      <a:pt x="6143" y="37028"/>
                      <a:pt x="4315" y="34333"/>
                    </a:cubicBezTo>
                    <a:lnTo>
                      <a:pt x="4315" y="37762"/>
                    </a:lnTo>
                    <a:close/>
                    <a:moveTo>
                      <a:pt x="4240" y="23874"/>
                    </a:moveTo>
                    <a:cubicBezTo>
                      <a:pt x="4240" y="27154"/>
                      <a:pt x="4692" y="29527"/>
                      <a:pt x="5578" y="30978"/>
                    </a:cubicBezTo>
                    <a:cubicBezTo>
                      <a:pt x="7029" y="33372"/>
                      <a:pt x="9007" y="34559"/>
                      <a:pt x="11494" y="34559"/>
                    </a:cubicBezTo>
                    <a:cubicBezTo>
                      <a:pt x="13529" y="34559"/>
                      <a:pt x="15263" y="33673"/>
                      <a:pt x="16752" y="31921"/>
                    </a:cubicBezTo>
                    <a:cubicBezTo>
                      <a:pt x="18240" y="30168"/>
                      <a:pt x="18975" y="27530"/>
                      <a:pt x="18975" y="24044"/>
                    </a:cubicBezTo>
                    <a:cubicBezTo>
                      <a:pt x="18975" y="20558"/>
                      <a:pt x="18259" y="17845"/>
                      <a:pt x="16846" y="16130"/>
                    </a:cubicBezTo>
                    <a:cubicBezTo>
                      <a:pt x="15433" y="14415"/>
                      <a:pt x="13718" y="13586"/>
                      <a:pt x="11702" y="13586"/>
                    </a:cubicBezTo>
                    <a:cubicBezTo>
                      <a:pt x="9685" y="13586"/>
                      <a:pt x="7933" y="14472"/>
                      <a:pt x="6444" y="16224"/>
                    </a:cubicBezTo>
                    <a:cubicBezTo>
                      <a:pt x="4956" y="17977"/>
                      <a:pt x="4221" y="20540"/>
                      <a:pt x="4221" y="238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39" name="Freihandform: Form 3438">
                <a:extLst>
                  <a:ext uri="{FF2B5EF4-FFF2-40B4-BE49-F238E27FC236}">
                    <a16:creationId xmlns:a16="http://schemas.microsoft.com/office/drawing/2014/main" id="{D8F7E0BB-30F4-F317-A779-95D6B59558D0}"/>
                  </a:ext>
                </a:extLst>
              </p:cNvPr>
              <p:cNvSpPr/>
              <p:nvPr/>
            </p:nvSpPr>
            <p:spPr>
              <a:xfrm>
                <a:off x="7894738" y="4516724"/>
                <a:ext cx="22159" cy="28020"/>
              </a:xfrm>
              <a:custGeom>
                <a:avLst/>
                <a:gdLst>
                  <a:gd name="connsiteX0" fmla="*/ 18033 w 22159"/>
                  <a:gd name="connsiteY0" fmla="*/ 27398 h 28020"/>
                  <a:gd name="connsiteX1" fmla="*/ 18033 w 22159"/>
                  <a:gd name="connsiteY1" fmla="*/ 23385 h 28020"/>
                  <a:gd name="connsiteX2" fmla="*/ 9347 w 22159"/>
                  <a:gd name="connsiteY2" fmla="*/ 28020 h 28020"/>
                  <a:gd name="connsiteX3" fmla="*/ 4824 w 22159"/>
                  <a:gd name="connsiteY3" fmla="*/ 27097 h 28020"/>
                  <a:gd name="connsiteX4" fmla="*/ 1715 w 22159"/>
                  <a:gd name="connsiteY4" fmla="*/ 24760 h 28020"/>
                  <a:gd name="connsiteX5" fmla="*/ 283 w 22159"/>
                  <a:gd name="connsiteY5" fmla="*/ 21312 h 28020"/>
                  <a:gd name="connsiteX6" fmla="*/ 0 w 22159"/>
                  <a:gd name="connsiteY6" fmla="*/ 16978 h 28020"/>
                  <a:gd name="connsiteX7" fmla="*/ 0 w 22159"/>
                  <a:gd name="connsiteY7" fmla="*/ 19 h 28020"/>
                  <a:gd name="connsiteX8" fmla="*/ 4636 w 22159"/>
                  <a:gd name="connsiteY8" fmla="*/ 19 h 28020"/>
                  <a:gd name="connsiteX9" fmla="*/ 4636 w 22159"/>
                  <a:gd name="connsiteY9" fmla="*/ 15188 h 28020"/>
                  <a:gd name="connsiteX10" fmla="*/ 4918 w 22159"/>
                  <a:gd name="connsiteY10" fmla="*/ 20087 h 28020"/>
                  <a:gd name="connsiteX11" fmla="*/ 6765 w 22159"/>
                  <a:gd name="connsiteY11" fmla="*/ 22951 h 28020"/>
                  <a:gd name="connsiteX12" fmla="*/ 10270 w 22159"/>
                  <a:gd name="connsiteY12" fmla="*/ 23988 h 28020"/>
                  <a:gd name="connsiteX13" fmla="*/ 14189 w 22159"/>
                  <a:gd name="connsiteY13" fmla="*/ 22914 h 28020"/>
                  <a:gd name="connsiteX14" fmla="*/ 16771 w 22159"/>
                  <a:gd name="connsiteY14" fmla="*/ 20012 h 28020"/>
                  <a:gd name="connsiteX15" fmla="*/ 17524 w 22159"/>
                  <a:gd name="connsiteY15" fmla="*/ 14660 h 28020"/>
                  <a:gd name="connsiteX16" fmla="*/ 17524 w 22159"/>
                  <a:gd name="connsiteY16" fmla="*/ 0 h 28020"/>
                  <a:gd name="connsiteX17" fmla="*/ 22160 w 22159"/>
                  <a:gd name="connsiteY17" fmla="*/ 0 h 28020"/>
                  <a:gd name="connsiteX18" fmla="*/ 22160 w 22159"/>
                  <a:gd name="connsiteY18" fmla="*/ 27361 h 28020"/>
                  <a:gd name="connsiteX19" fmla="*/ 18014 w 22159"/>
                  <a:gd name="connsiteY19" fmla="*/ 27361 h 2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159" h="28020">
                    <a:moveTo>
                      <a:pt x="18033" y="27398"/>
                    </a:moveTo>
                    <a:lnTo>
                      <a:pt x="18033" y="23385"/>
                    </a:lnTo>
                    <a:cubicBezTo>
                      <a:pt x="15904" y="26475"/>
                      <a:pt x="13002" y="28020"/>
                      <a:pt x="9347" y="28020"/>
                    </a:cubicBezTo>
                    <a:cubicBezTo>
                      <a:pt x="7726" y="28020"/>
                      <a:pt x="6218" y="27719"/>
                      <a:pt x="4824" y="27097"/>
                    </a:cubicBezTo>
                    <a:cubicBezTo>
                      <a:pt x="3430" y="26475"/>
                      <a:pt x="2393" y="25703"/>
                      <a:pt x="1715" y="24760"/>
                    </a:cubicBezTo>
                    <a:cubicBezTo>
                      <a:pt x="1036" y="23818"/>
                      <a:pt x="565" y="22669"/>
                      <a:pt x="283" y="21312"/>
                    </a:cubicBezTo>
                    <a:cubicBezTo>
                      <a:pt x="94" y="20408"/>
                      <a:pt x="0" y="18957"/>
                      <a:pt x="0" y="16978"/>
                    </a:cubicBezTo>
                    <a:lnTo>
                      <a:pt x="0" y="19"/>
                    </a:lnTo>
                    <a:lnTo>
                      <a:pt x="4636" y="19"/>
                    </a:lnTo>
                    <a:lnTo>
                      <a:pt x="4636" y="15188"/>
                    </a:lnTo>
                    <a:cubicBezTo>
                      <a:pt x="4636" y="17619"/>
                      <a:pt x="4730" y="19239"/>
                      <a:pt x="4918" y="20087"/>
                    </a:cubicBezTo>
                    <a:cubicBezTo>
                      <a:pt x="5220" y="21312"/>
                      <a:pt x="5823" y="22273"/>
                      <a:pt x="6765" y="22951"/>
                    </a:cubicBezTo>
                    <a:cubicBezTo>
                      <a:pt x="7707" y="23630"/>
                      <a:pt x="8876" y="23988"/>
                      <a:pt x="10270" y="23988"/>
                    </a:cubicBezTo>
                    <a:cubicBezTo>
                      <a:pt x="11664" y="23988"/>
                      <a:pt x="12964" y="23630"/>
                      <a:pt x="14189" y="22914"/>
                    </a:cubicBezTo>
                    <a:cubicBezTo>
                      <a:pt x="15414" y="22198"/>
                      <a:pt x="16281" y="21237"/>
                      <a:pt x="16771" y="20012"/>
                    </a:cubicBezTo>
                    <a:cubicBezTo>
                      <a:pt x="17261" y="18787"/>
                      <a:pt x="17524" y="16997"/>
                      <a:pt x="17524" y="14660"/>
                    </a:cubicBezTo>
                    <a:lnTo>
                      <a:pt x="17524" y="0"/>
                    </a:lnTo>
                    <a:lnTo>
                      <a:pt x="22160" y="0"/>
                    </a:lnTo>
                    <a:lnTo>
                      <a:pt x="22160" y="27361"/>
                    </a:lnTo>
                    <a:lnTo>
                      <a:pt x="18014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40" name="Freihandform: Form 3439">
                <a:extLst>
                  <a:ext uri="{FF2B5EF4-FFF2-40B4-BE49-F238E27FC236}">
                    <a16:creationId xmlns:a16="http://schemas.microsoft.com/office/drawing/2014/main" id="{60FF0C34-CAEB-E690-1509-3E4E91E85286}"/>
                  </a:ext>
                </a:extLst>
              </p:cNvPr>
              <p:cNvSpPr/>
              <p:nvPr/>
            </p:nvSpPr>
            <p:spPr>
              <a:xfrm>
                <a:off x="7924134" y="4516140"/>
                <a:ext cx="14867" cy="27982"/>
              </a:xfrm>
              <a:custGeom>
                <a:avLst/>
                <a:gdLst>
                  <a:gd name="connsiteX0" fmla="*/ 0 w 14867"/>
                  <a:gd name="connsiteY0" fmla="*/ 27983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4 h 27982"/>
                  <a:gd name="connsiteX11" fmla="*/ 4635 w 14867"/>
                  <a:gd name="connsiteY11" fmla="*/ 13661 h 27982"/>
                  <a:gd name="connsiteX12" fmla="*/ 4635 w 14867"/>
                  <a:gd name="connsiteY12" fmla="*/ 27983 h 27982"/>
                  <a:gd name="connsiteX13" fmla="*/ 0 w 14867"/>
                  <a:gd name="connsiteY13" fmla="*/ 27983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3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39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7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10"/>
                    </a:cubicBezTo>
                    <a:cubicBezTo>
                      <a:pt x="6332" y="6332"/>
                      <a:pt x="5766" y="7161"/>
                      <a:pt x="5408" y="8254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3"/>
                    </a:lnTo>
                    <a:lnTo>
                      <a:pt x="0" y="279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41" name="Freihandform: Form 3440">
                <a:extLst>
                  <a:ext uri="{FF2B5EF4-FFF2-40B4-BE49-F238E27FC236}">
                    <a16:creationId xmlns:a16="http://schemas.microsoft.com/office/drawing/2014/main" id="{10985A2E-0B5D-C601-D564-37DF33B77E4A}"/>
                  </a:ext>
                </a:extLst>
              </p:cNvPr>
              <p:cNvSpPr/>
              <p:nvPr/>
            </p:nvSpPr>
            <p:spPr>
              <a:xfrm>
                <a:off x="7939981" y="4516159"/>
                <a:ext cx="24119" cy="39099"/>
              </a:xfrm>
              <a:custGeom>
                <a:avLst/>
                <a:gdLst>
                  <a:gd name="connsiteX0" fmla="*/ 923 w 24119"/>
                  <a:gd name="connsiteY0" fmla="*/ 30225 h 39099"/>
                  <a:gd name="connsiteX1" fmla="*/ 5427 w 24119"/>
                  <a:gd name="connsiteY1" fmla="*/ 30903 h 39099"/>
                  <a:gd name="connsiteX2" fmla="*/ 6991 w 24119"/>
                  <a:gd name="connsiteY2" fmla="*/ 33937 h 39099"/>
                  <a:gd name="connsiteX3" fmla="*/ 11702 w 24119"/>
                  <a:gd name="connsiteY3" fmla="*/ 35219 h 39099"/>
                  <a:gd name="connsiteX4" fmla="*/ 16677 w 24119"/>
                  <a:gd name="connsiteY4" fmla="*/ 33937 h 39099"/>
                  <a:gd name="connsiteX5" fmla="*/ 19051 w 24119"/>
                  <a:gd name="connsiteY5" fmla="*/ 30338 h 39099"/>
                  <a:gd name="connsiteX6" fmla="*/ 19390 w 24119"/>
                  <a:gd name="connsiteY6" fmla="*/ 24384 h 39099"/>
                  <a:gd name="connsiteX7" fmla="*/ 11815 w 24119"/>
                  <a:gd name="connsiteY7" fmla="*/ 27964 h 39099"/>
                  <a:gd name="connsiteX8" fmla="*/ 3091 w 24119"/>
                  <a:gd name="connsiteY8" fmla="*/ 23894 h 39099"/>
                  <a:gd name="connsiteX9" fmla="*/ 0 w 24119"/>
                  <a:gd name="connsiteY9" fmla="*/ 14133 h 39099"/>
                  <a:gd name="connsiteX10" fmla="*/ 1413 w 24119"/>
                  <a:gd name="connsiteY10" fmla="*/ 6916 h 39099"/>
                  <a:gd name="connsiteX11" fmla="*/ 5521 w 24119"/>
                  <a:gd name="connsiteY11" fmla="*/ 1809 h 39099"/>
                  <a:gd name="connsiteX12" fmla="*/ 11853 w 24119"/>
                  <a:gd name="connsiteY12" fmla="*/ 0 h 39099"/>
                  <a:gd name="connsiteX13" fmla="*/ 19842 w 24119"/>
                  <a:gd name="connsiteY13" fmla="*/ 3920 h 39099"/>
                  <a:gd name="connsiteX14" fmla="*/ 19842 w 24119"/>
                  <a:gd name="connsiteY14" fmla="*/ 622 h 39099"/>
                  <a:gd name="connsiteX15" fmla="*/ 24120 w 24119"/>
                  <a:gd name="connsiteY15" fmla="*/ 622 h 39099"/>
                  <a:gd name="connsiteX16" fmla="*/ 24120 w 24119"/>
                  <a:gd name="connsiteY16" fmla="*/ 24271 h 39099"/>
                  <a:gd name="connsiteX17" fmla="*/ 22820 w 24119"/>
                  <a:gd name="connsiteY17" fmla="*/ 33334 h 39099"/>
                  <a:gd name="connsiteX18" fmla="*/ 18693 w 24119"/>
                  <a:gd name="connsiteY18" fmla="*/ 37555 h 39099"/>
                  <a:gd name="connsiteX19" fmla="*/ 11758 w 24119"/>
                  <a:gd name="connsiteY19" fmla="*/ 39100 h 39099"/>
                  <a:gd name="connsiteX20" fmla="*/ 3844 w 24119"/>
                  <a:gd name="connsiteY20" fmla="*/ 36895 h 39099"/>
                  <a:gd name="connsiteX21" fmla="*/ 942 w 24119"/>
                  <a:gd name="connsiteY21" fmla="*/ 30263 h 39099"/>
                  <a:gd name="connsiteX22" fmla="*/ 4767 w 24119"/>
                  <a:gd name="connsiteY22" fmla="*/ 13793 h 39099"/>
                  <a:gd name="connsiteX23" fmla="*/ 6897 w 24119"/>
                  <a:gd name="connsiteY23" fmla="*/ 21651 h 39099"/>
                  <a:gd name="connsiteX24" fmla="*/ 12248 w 24119"/>
                  <a:gd name="connsiteY24" fmla="*/ 24120 h 39099"/>
                  <a:gd name="connsiteX25" fmla="*/ 17600 w 24119"/>
                  <a:gd name="connsiteY25" fmla="*/ 21651 h 39099"/>
                  <a:gd name="connsiteX26" fmla="*/ 19767 w 24119"/>
                  <a:gd name="connsiteY26" fmla="*/ 13944 h 39099"/>
                  <a:gd name="connsiteX27" fmla="*/ 17543 w 24119"/>
                  <a:gd name="connsiteY27" fmla="*/ 6369 h 39099"/>
                  <a:gd name="connsiteX28" fmla="*/ 12173 w 24119"/>
                  <a:gd name="connsiteY28" fmla="*/ 3825 h 39099"/>
                  <a:gd name="connsiteX29" fmla="*/ 6916 w 24119"/>
                  <a:gd name="connsiteY29" fmla="*/ 6332 h 39099"/>
                  <a:gd name="connsiteX30" fmla="*/ 4749 w 24119"/>
                  <a:gd name="connsiteY30" fmla="*/ 13793 h 39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19" h="39099">
                    <a:moveTo>
                      <a:pt x="923" y="30225"/>
                    </a:moveTo>
                    <a:lnTo>
                      <a:pt x="5427" y="30903"/>
                    </a:lnTo>
                    <a:cubicBezTo>
                      <a:pt x="5615" y="32298"/>
                      <a:pt x="6143" y="33315"/>
                      <a:pt x="6991" y="33937"/>
                    </a:cubicBezTo>
                    <a:cubicBezTo>
                      <a:pt x="8140" y="34804"/>
                      <a:pt x="9705" y="35219"/>
                      <a:pt x="11702" y="35219"/>
                    </a:cubicBezTo>
                    <a:cubicBezTo>
                      <a:pt x="13850" y="35219"/>
                      <a:pt x="15508" y="34785"/>
                      <a:pt x="16677" y="33937"/>
                    </a:cubicBezTo>
                    <a:cubicBezTo>
                      <a:pt x="17845" y="33089"/>
                      <a:pt x="18636" y="31883"/>
                      <a:pt x="19051" y="30338"/>
                    </a:cubicBezTo>
                    <a:cubicBezTo>
                      <a:pt x="19296" y="29396"/>
                      <a:pt x="19409" y="27417"/>
                      <a:pt x="19390" y="24384"/>
                    </a:cubicBezTo>
                    <a:cubicBezTo>
                      <a:pt x="17355" y="26777"/>
                      <a:pt x="14830" y="27964"/>
                      <a:pt x="11815" y="27964"/>
                    </a:cubicBezTo>
                    <a:cubicBezTo>
                      <a:pt x="8046" y="27964"/>
                      <a:pt x="5144" y="26607"/>
                      <a:pt x="3091" y="23894"/>
                    </a:cubicBezTo>
                    <a:cubicBezTo>
                      <a:pt x="1036" y="21180"/>
                      <a:pt x="0" y="17920"/>
                      <a:pt x="0" y="14133"/>
                    </a:cubicBezTo>
                    <a:cubicBezTo>
                      <a:pt x="0" y="11514"/>
                      <a:pt x="471" y="9120"/>
                      <a:pt x="1413" y="6916"/>
                    </a:cubicBezTo>
                    <a:cubicBezTo>
                      <a:pt x="2355" y="4711"/>
                      <a:pt x="3731" y="2996"/>
                      <a:pt x="5521" y="1809"/>
                    </a:cubicBezTo>
                    <a:cubicBezTo>
                      <a:pt x="7311" y="622"/>
                      <a:pt x="9422" y="0"/>
                      <a:pt x="11853" y="0"/>
                    </a:cubicBezTo>
                    <a:cubicBezTo>
                      <a:pt x="15075" y="0"/>
                      <a:pt x="17751" y="1301"/>
                      <a:pt x="19842" y="3920"/>
                    </a:cubicBezTo>
                    <a:lnTo>
                      <a:pt x="19842" y="622"/>
                    </a:lnTo>
                    <a:lnTo>
                      <a:pt x="24120" y="622"/>
                    </a:lnTo>
                    <a:lnTo>
                      <a:pt x="24120" y="24271"/>
                    </a:lnTo>
                    <a:cubicBezTo>
                      <a:pt x="24120" y="28529"/>
                      <a:pt x="23686" y="31544"/>
                      <a:pt x="22820" y="33334"/>
                    </a:cubicBezTo>
                    <a:cubicBezTo>
                      <a:pt x="21953" y="35124"/>
                      <a:pt x="20577" y="36519"/>
                      <a:pt x="18693" y="37555"/>
                    </a:cubicBezTo>
                    <a:cubicBezTo>
                      <a:pt x="16809" y="38591"/>
                      <a:pt x="14491" y="39100"/>
                      <a:pt x="11758" y="39100"/>
                    </a:cubicBezTo>
                    <a:cubicBezTo>
                      <a:pt x="8498" y="39100"/>
                      <a:pt x="5860" y="38365"/>
                      <a:pt x="3844" y="36895"/>
                    </a:cubicBezTo>
                    <a:cubicBezTo>
                      <a:pt x="1828" y="35426"/>
                      <a:pt x="867" y="33221"/>
                      <a:pt x="942" y="30263"/>
                    </a:cubicBezTo>
                    <a:close/>
                    <a:moveTo>
                      <a:pt x="4767" y="13793"/>
                    </a:moveTo>
                    <a:cubicBezTo>
                      <a:pt x="4767" y="17392"/>
                      <a:pt x="5484" y="19993"/>
                      <a:pt x="6897" y="21651"/>
                    </a:cubicBezTo>
                    <a:cubicBezTo>
                      <a:pt x="8310" y="23309"/>
                      <a:pt x="10100" y="24120"/>
                      <a:pt x="12248" y="24120"/>
                    </a:cubicBezTo>
                    <a:cubicBezTo>
                      <a:pt x="14397" y="24120"/>
                      <a:pt x="16168" y="23291"/>
                      <a:pt x="17600" y="21651"/>
                    </a:cubicBezTo>
                    <a:cubicBezTo>
                      <a:pt x="19032" y="20012"/>
                      <a:pt x="19767" y="17430"/>
                      <a:pt x="19767" y="13944"/>
                    </a:cubicBezTo>
                    <a:cubicBezTo>
                      <a:pt x="19767" y="10458"/>
                      <a:pt x="19032" y="8065"/>
                      <a:pt x="17543" y="6369"/>
                    </a:cubicBezTo>
                    <a:cubicBezTo>
                      <a:pt x="16055" y="4673"/>
                      <a:pt x="14265" y="3825"/>
                      <a:pt x="12173" y="3825"/>
                    </a:cubicBezTo>
                    <a:cubicBezTo>
                      <a:pt x="10081" y="3825"/>
                      <a:pt x="8367" y="4654"/>
                      <a:pt x="6916" y="6332"/>
                    </a:cubicBezTo>
                    <a:cubicBezTo>
                      <a:pt x="5465" y="8008"/>
                      <a:pt x="4749" y="10496"/>
                      <a:pt x="4749" y="1379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66" name="Grafik 21">
              <a:extLst>
                <a:ext uri="{FF2B5EF4-FFF2-40B4-BE49-F238E27FC236}">
                  <a16:creationId xmlns:a16="http://schemas.microsoft.com/office/drawing/2014/main" id="{7CF4DA61-85A7-F5E0-CC44-1105DC5F9F5F}"/>
                </a:ext>
              </a:extLst>
            </p:cNvPr>
            <p:cNvGrpSpPr/>
            <p:nvPr/>
          </p:nvGrpSpPr>
          <p:grpSpPr>
            <a:xfrm>
              <a:off x="2369880" y="835672"/>
              <a:ext cx="225310" cy="38402"/>
              <a:chOff x="2369880" y="835672"/>
              <a:chExt cx="225310" cy="38402"/>
            </a:xfrm>
            <a:solidFill>
              <a:srgbClr val="000000"/>
            </a:solidFill>
          </p:grpSpPr>
          <p:sp>
            <p:nvSpPr>
              <p:cNvPr id="3421" name="Freihandform: Form 3420">
                <a:extLst>
                  <a:ext uri="{FF2B5EF4-FFF2-40B4-BE49-F238E27FC236}">
                    <a16:creationId xmlns:a16="http://schemas.microsoft.com/office/drawing/2014/main" id="{ECD77E53-37B1-0867-B0C6-522E544C4EB2}"/>
                  </a:ext>
                </a:extLst>
              </p:cNvPr>
              <p:cNvSpPr/>
              <p:nvPr/>
            </p:nvSpPr>
            <p:spPr>
              <a:xfrm>
                <a:off x="2369880" y="835672"/>
                <a:ext cx="25476" cy="37799"/>
              </a:xfrm>
              <a:custGeom>
                <a:avLst/>
                <a:gdLst>
                  <a:gd name="connsiteX0" fmla="*/ 0 w 25476"/>
                  <a:gd name="connsiteY0" fmla="*/ 37762 h 37799"/>
                  <a:gd name="connsiteX1" fmla="*/ 0 w 25476"/>
                  <a:gd name="connsiteY1" fmla="*/ 0 h 37799"/>
                  <a:gd name="connsiteX2" fmla="*/ 25476 w 25476"/>
                  <a:gd name="connsiteY2" fmla="*/ 0 h 37799"/>
                  <a:gd name="connsiteX3" fmla="*/ 25476 w 25476"/>
                  <a:gd name="connsiteY3" fmla="*/ 4466 h 37799"/>
                  <a:gd name="connsiteX4" fmla="*/ 4993 w 25476"/>
                  <a:gd name="connsiteY4" fmla="*/ 4466 h 37799"/>
                  <a:gd name="connsiteX5" fmla="*/ 4993 w 25476"/>
                  <a:gd name="connsiteY5" fmla="*/ 16168 h 37799"/>
                  <a:gd name="connsiteX6" fmla="*/ 22725 w 25476"/>
                  <a:gd name="connsiteY6" fmla="*/ 16168 h 37799"/>
                  <a:gd name="connsiteX7" fmla="*/ 22725 w 25476"/>
                  <a:gd name="connsiteY7" fmla="*/ 20633 h 37799"/>
                  <a:gd name="connsiteX8" fmla="*/ 4993 w 25476"/>
                  <a:gd name="connsiteY8" fmla="*/ 20633 h 37799"/>
                  <a:gd name="connsiteX9" fmla="*/ 4993 w 25476"/>
                  <a:gd name="connsiteY9" fmla="*/ 37800 h 37799"/>
                  <a:gd name="connsiteX10" fmla="*/ 0 w 25476"/>
                  <a:gd name="connsiteY10" fmla="*/ 37800 h 37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476" h="37799">
                    <a:moveTo>
                      <a:pt x="0" y="37762"/>
                    </a:moveTo>
                    <a:lnTo>
                      <a:pt x="0" y="0"/>
                    </a:lnTo>
                    <a:lnTo>
                      <a:pt x="25476" y="0"/>
                    </a:lnTo>
                    <a:lnTo>
                      <a:pt x="25476" y="4466"/>
                    </a:lnTo>
                    <a:lnTo>
                      <a:pt x="4993" y="4466"/>
                    </a:lnTo>
                    <a:lnTo>
                      <a:pt x="4993" y="16168"/>
                    </a:lnTo>
                    <a:lnTo>
                      <a:pt x="22725" y="16168"/>
                    </a:lnTo>
                    <a:lnTo>
                      <a:pt x="22725" y="20633"/>
                    </a:lnTo>
                    <a:lnTo>
                      <a:pt x="4993" y="20633"/>
                    </a:lnTo>
                    <a:lnTo>
                      <a:pt x="4993" y="37800"/>
                    </a:lnTo>
                    <a:lnTo>
                      <a:pt x="0" y="37800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22" name="Freihandform: Form 3421">
                <a:extLst>
                  <a:ext uri="{FF2B5EF4-FFF2-40B4-BE49-F238E27FC236}">
                    <a16:creationId xmlns:a16="http://schemas.microsoft.com/office/drawing/2014/main" id="{13E20A80-D443-7EB6-428D-D0C8D95EA05F}"/>
                  </a:ext>
                </a:extLst>
              </p:cNvPr>
              <p:cNvSpPr/>
              <p:nvPr/>
            </p:nvSpPr>
            <p:spPr>
              <a:xfrm>
                <a:off x="2399690" y="845432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9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4"/>
                    </a:cubicBezTo>
                    <a:lnTo>
                      <a:pt x="20351" y="27964"/>
                    </a:lnTo>
                    <a:cubicBezTo>
                      <a:pt x="19861" y="27003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23" name="Freihandform: Form 3422">
                <a:extLst>
                  <a:ext uri="{FF2B5EF4-FFF2-40B4-BE49-F238E27FC236}">
                    <a16:creationId xmlns:a16="http://schemas.microsoft.com/office/drawing/2014/main" id="{73B2D015-A413-862F-822A-200F443033CE}"/>
                  </a:ext>
                </a:extLst>
              </p:cNvPr>
              <p:cNvSpPr/>
              <p:nvPr/>
            </p:nvSpPr>
            <p:spPr>
              <a:xfrm>
                <a:off x="2430631" y="835672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5 w 4635"/>
                  <a:gd name="connsiteY7" fmla="*/ 10402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5" y="10402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24" name="Freihandform: Form 3423">
                <a:extLst>
                  <a:ext uri="{FF2B5EF4-FFF2-40B4-BE49-F238E27FC236}">
                    <a16:creationId xmlns:a16="http://schemas.microsoft.com/office/drawing/2014/main" id="{39E29841-5B06-2EB1-9DDE-87BD94A927E2}"/>
                  </a:ext>
                </a:extLst>
              </p:cNvPr>
              <p:cNvSpPr/>
              <p:nvPr/>
            </p:nvSpPr>
            <p:spPr>
              <a:xfrm>
                <a:off x="2442276" y="845451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7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10"/>
                    </a:cubicBezTo>
                    <a:cubicBezTo>
                      <a:pt x="6331" y="6313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25" name="Freihandform: Form 3424">
                <a:extLst>
                  <a:ext uri="{FF2B5EF4-FFF2-40B4-BE49-F238E27FC236}">
                    <a16:creationId xmlns:a16="http://schemas.microsoft.com/office/drawing/2014/main" id="{F7618F04-A045-BB1D-587C-80769B84415E}"/>
                  </a:ext>
                </a:extLst>
              </p:cNvPr>
              <p:cNvSpPr/>
              <p:nvPr/>
            </p:nvSpPr>
            <p:spPr>
              <a:xfrm>
                <a:off x="2459876" y="835672"/>
                <a:ext cx="23742" cy="38383"/>
              </a:xfrm>
              <a:custGeom>
                <a:avLst/>
                <a:gdLst>
                  <a:gd name="connsiteX0" fmla="*/ 4296 w 23742"/>
                  <a:gd name="connsiteY0" fmla="*/ 37762 h 38383"/>
                  <a:gd name="connsiteX1" fmla="*/ 0 w 23742"/>
                  <a:gd name="connsiteY1" fmla="*/ 37762 h 38383"/>
                  <a:gd name="connsiteX2" fmla="*/ 0 w 23742"/>
                  <a:gd name="connsiteY2" fmla="*/ 0 h 38383"/>
                  <a:gd name="connsiteX3" fmla="*/ 4635 w 23742"/>
                  <a:gd name="connsiteY3" fmla="*/ 0 h 38383"/>
                  <a:gd name="connsiteX4" fmla="*/ 4635 w 23742"/>
                  <a:gd name="connsiteY4" fmla="*/ 13473 h 38383"/>
                  <a:gd name="connsiteX5" fmla="*/ 12135 w 23742"/>
                  <a:gd name="connsiteY5" fmla="*/ 9780 h 38383"/>
                  <a:gd name="connsiteX6" fmla="*/ 16921 w 23742"/>
                  <a:gd name="connsiteY6" fmla="*/ 10797 h 38383"/>
                  <a:gd name="connsiteX7" fmla="*/ 20633 w 23742"/>
                  <a:gd name="connsiteY7" fmla="*/ 13661 h 38383"/>
                  <a:gd name="connsiteX8" fmla="*/ 22914 w 23742"/>
                  <a:gd name="connsiteY8" fmla="*/ 18108 h 38383"/>
                  <a:gd name="connsiteX9" fmla="*/ 23743 w 23742"/>
                  <a:gd name="connsiteY9" fmla="*/ 23667 h 38383"/>
                  <a:gd name="connsiteX10" fmla="*/ 20257 w 23742"/>
                  <a:gd name="connsiteY10" fmla="*/ 34540 h 38383"/>
                  <a:gd name="connsiteX11" fmla="*/ 11909 w 23742"/>
                  <a:gd name="connsiteY11" fmla="*/ 38384 h 38383"/>
                  <a:gd name="connsiteX12" fmla="*/ 4315 w 23742"/>
                  <a:gd name="connsiteY12" fmla="*/ 34333 h 38383"/>
                  <a:gd name="connsiteX13" fmla="*/ 4315 w 23742"/>
                  <a:gd name="connsiteY13" fmla="*/ 37762 h 38383"/>
                  <a:gd name="connsiteX14" fmla="*/ 4240 w 23742"/>
                  <a:gd name="connsiteY14" fmla="*/ 23875 h 38383"/>
                  <a:gd name="connsiteX15" fmla="*/ 5578 w 23742"/>
                  <a:gd name="connsiteY15" fmla="*/ 30978 h 38383"/>
                  <a:gd name="connsiteX16" fmla="*/ 11494 w 23742"/>
                  <a:gd name="connsiteY16" fmla="*/ 34559 h 38383"/>
                  <a:gd name="connsiteX17" fmla="*/ 16752 w 23742"/>
                  <a:gd name="connsiteY17" fmla="*/ 31921 h 38383"/>
                  <a:gd name="connsiteX18" fmla="*/ 18975 w 23742"/>
                  <a:gd name="connsiteY18" fmla="*/ 24044 h 38383"/>
                  <a:gd name="connsiteX19" fmla="*/ 16846 w 23742"/>
                  <a:gd name="connsiteY19" fmla="*/ 16130 h 38383"/>
                  <a:gd name="connsiteX20" fmla="*/ 11702 w 23742"/>
                  <a:gd name="connsiteY20" fmla="*/ 13586 h 38383"/>
                  <a:gd name="connsiteX21" fmla="*/ 6444 w 23742"/>
                  <a:gd name="connsiteY21" fmla="*/ 16224 h 38383"/>
                  <a:gd name="connsiteX22" fmla="*/ 4221 w 23742"/>
                  <a:gd name="connsiteY22" fmla="*/ 23856 h 38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3742" h="38383">
                    <a:moveTo>
                      <a:pt x="4296" y="37762"/>
                    </a:moveTo>
                    <a:lnTo>
                      <a:pt x="0" y="37762"/>
                    </a:ln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473"/>
                    </a:lnTo>
                    <a:cubicBezTo>
                      <a:pt x="6595" y="11023"/>
                      <a:pt x="9101" y="9780"/>
                      <a:pt x="12135" y="9780"/>
                    </a:cubicBezTo>
                    <a:cubicBezTo>
                      <a:pt x="13812" y="9780"/>
                      <a:pt x="15414" y="10119"/>
                      <a:pt x="16921" y="10797"/>
                    </a:cubicBezTo>
                    <a:cubicBezTo>
                      <a:pt x="18429" y="11476"/>
                      <a:pt x="19654" y="12437"/>
                      <a:pt x="20633" y="13661"/>
                    </a:cubicBezTo>
                    <a:cubicBezTo>
                      <a:pt x="21595" y="14886"/>
                      <a:pt x="22367" y="16375"/>
                      <a:pt x="22914" y="18108"/>
                    </a:cubicBezTo>
                    <a:cubicBezTo>
                      <a:pt x="23460" y="19842"/>
                      <a:pt x="23743" y="21708"/>
                      <a:pt x="23743" y="23667"/>
                    </a:cubicBezTo>
                    <a:cubicBezTo>
                      <a:pt x="23743" y="28359"/>
                      <a:pt x="22574" y="31977"/>
                      <a:pt x="20257" y="34540"/>
                    </a:cubicBezTo>
                    <a:cubicBezTo>
                      <a:pt x="17939" y="37103"/>
                      <a:pt x="15150" y="38384"/>
                      <a:pt x="11909" y="38384"/>
                    </a:cubicBezTo>
                    <a:cubicBezTo>
                      <a:pt x="8668" y="38384"/>
                      <a:pt x="6143" y="37027"/>
                      <a:pt x="4315" y="34333"/>
                    </a:cubicBezTo>
                    <a:lnTo>
                      <a:pt x="4315" y="37762"/>
                    </a:lnTo>
                    <a:close/>
                    <a:moveTo>
                      <a:pt x="4240" y="23875"/>
                    </a:moveTo>
                    <a:cubicBezTo>
                      <a:pt x="4240" y="27153"/>
                      <a:pt x="4692" y="29528"/>
                      <a:pt x="5578" y="30978"/>
                    </a:cubicBezTo>
                    <a:cubicBezTo>
                      <a:pt x="7029" y="33372"/>
                      <a:pt x="9007" y="34559"/>
                      <a:pt x="11494" y="34559"/>
                    </a:cubicBezTo>
                    <a:cubicBezTo>
                      <a:pt x="13530" y="34559"/>
                      <a:pt x="15263" y="33673"/>
                      <a:pt x="16752" y="31921"/>
                    </a:cubicBezTo>
                    <a:cubicBezTo>
                      <a:pt x="18222" y="30168"/>
                      <a:pt x="18975" y="27530"/>
                      <a:pt x="18975" y="24044"/>
                    </a:cubicBezTo>
                    <a:cubicBezTo>
                      <a:pt x="18975" y="20558"/>
                      <a:pt x="18259" y="17845"/>
                      <a:pt x="16846" y="16130"/>
                    </a:cubicBezTo>
                    <a:cubicBezTo>
                      <a:pt x="15433" y="14415"/>
                      <a:pt x="13718" y="13586"/>
                      <a:pt x="11702" y="13586"/>
                    </a:cubicBezTo>
                    <a:cubicBezTo>
                      <a:pt x="9685" y="13586"/>
                      <a:pt x="7914" y="14472"/>
                      <a:pt x="6444" y="16224"/>
                    </a:cubicBezTo>
                    <a:cubicBezTo>
                      <a:pt x="4975" y="17977"/>
                      <a:pt x="4221" y="20539"/>
                      <a:pt x="4221" y="238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26" name="Freihandform: Form 3425">
                <a:extLst>
                  <a:ext uri="{FF2B5EF4-FFF2-40B4-BE49-F238E27FC236}">
                    <a16:creationId xmlns:a16="http://schemas.microsoft.com/office/drawing/2014/main" id="{A6AF543F-BAFB-57CD-4F33-527B5328442E}"/>
                  </a:ext>
                </a:extLst>
              </p:cNvPr>
              <p:cNvSpPr/>
              <p:nvPr/>
            </p:nvSpPr>
            <p:spPr>
              <a:xfrm>
                <a:off x="2487670" y="845432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9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4"/>
                    </a:cubicBezTo>
                    <a:lnTo>
                      <a:pt x="20351" y="27964"/>
                    </a:lnTo>
                    <a:cubicBezTo>
                      <a:pt x="19861" y="27003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27" name="Freihandform: Form 3426">
                <a:extLst>
                  <a:ext uri="{FF2B5EF4-FFF2-40B4-BE49-F238E27FC236}">
                    <a16:creationId xmlns:a16="http://schemas.microsoft.com/office/drawing/2014/main" id="{FE1584AA-633A-7739-090F-B0B23A524425}"/>
                  </a:ext>
                </a:extLst>
              </p:cNvPr>
              <p:cNvSpPr/>
              <p:nvPr/>
            </p:nvSpPr>
            <p:spPr>
              <a:xfrm>
                <a:off x="2518592" y="845451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7"/>
                      <a:pt x="9082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9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2" y="7179"/>
                      <a:pt x="4635" y="9554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28" name="Freihandform: Form 3427">
                <a:extLst>
                  <a:ext uri="{FF2B5EF4-FFF2-40B4-BE49-F238E27FC236}">
                    <a16:creationId xmlns:a16="http://schemas.microsoft.com/office/drawing/2014/main" id="{7A4C8C17-AF7A-DF44-0594-237D292B1CF8}"/>
                  </a:ext>
                </a:extLst>
              </p:cNvPr>
              <p:cNvSpPr/>
              <p:nvPr/>
            </p:nvSpPr>
            <p:spPr>
              <a:xfrm>
                <a:off x="2547931" y="835672"/>
                <a:ext cx="22687" cy="37780"/>
              </a:xfrm>
              <a:custGeom>
                <a:avLst/>
                <a:gdLst>
                  <a:gd name="connsiteX0" fmla="*/ 19 w 22687"/>
                  <a:gd name="connsiteY0" fmla="*/ 37762 h 37780"/>
                  <a:gd name="connsiteX1" fmla="*/ 19 w 22687"/>
                  <a:gd name="connsiteY1" fmla="*/ 0 h 37780"/>
                  <a:gd name="connsiteX2" fmla="*/ 4654 w 22687"/>
                  <a:gd name="connsiteY2" fmla="*/ 0 h 37780"/>
                  <a:gd name="connsiteX3" fmla="*/ 4654 w 22687"/>
                  <a:gd name="connsiteY3" fmla="*/ 21538 h 37780"/>
                  <a:gd name="connsiteX4" fmla="*/ 15621 w 22687"/>
                  <a:gd name="connsiteY4" fmla="*/ 10402 h 37780"/>
                  <a:gd name="connsiteX5" fmla="*/ 21632 w 22687"/>
                  <a:gd name="connsiteY5" fmla="*/ 10402 h 37780"/>
                  <a:gd name="connsiteX6" fmla="*/ 11174 w 22687"/>
                  <a:gd name="connsiteY6" fmla="*/ 20558 h 37780"/>
                  <a:gd name="connsiteX7" fmla="*/ 22687 w 22687"/>
                  <a:gd name="connsiteY7" fmla="*/ 37762 h 37780"/>
                  <a:gd name="connsiteX8" fmla="*/ 16959 w 22687"/>
                  <a:gd name="connsiteY8" fmla="*/ 37762 h 37780"/>
                  <a:gd name="connsiteX9" fmla="*/ 7914 w 22687"/>
                  <a:gd name="connsiteY9" fmla="*/ 23780 h 37780"/>
                  <a:gd name="connsiteX10" fmla="*/ 4635 w 22687"/>
                  <a:gd name="connsiteY10" fmla="*/ 26927 h 37780"/>
                  <a:gd name="connsiteX11" fmla="*/ 4635 w 22687"/>
                  <a:gd name="connsiteY11" fmla="*/ 37781 h 37780"/>
                  <a:gd name="connsiteX12" fmla="*/ 0 w 22687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687" h="37780">
                    <a:moveTo>
                      <a:pt x="19" y="37762"/>
                    </a:moveTo>
                    <a:lnTo>
                      <a:pt x="19" y="0"/>
                    </a:lnTo>
                    <a:lnTo>
                      <a:pt x="4654" y="0"/>
                    </a:lnTo>
                    <a:lnTo>
                      <a:pt x="4654" y="21538"/>
                    </a:lnTo>
                    <a:lnTo>
                      <a:pt x="15621" y="10402"/>
                    </a:lnTo>
                    <a:lnTo>
                      <a:pt x="21632" y="10402"/>
                    </a:lnTo>
                    <a:lnTo>
                      <a:pt x="11174" y="20558"/>
                    </a:lnTo>
                    <a:lnTo>
                      <a:pt x="22687" y="37762"/>
                    </a:lnTo>
                    <a:lnTo>
                      <a:pt x="16959" y="37762"/>
                    </a:lnTo>
                    <a:lnTo>
                      <a:pt x="7914" y="23780"/>
                    </a:lnTo>
                    <a:lnTo>
                      <a:pt x="4635" y="26927"/>
                    </a:lnTo>
                    <a:lnTo>
                      <a:pt x="4635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29" name="Freihandform: Form 3428">
                <a:extLst>
                  <a:ext uri="{FF2B5EF4-FFF2-40B4-BE49-F238E27FC236}">
                    <a16:creationId xmlns:a16="http://schemas.microsoft.com/office/drawing/2014/main" id="{DF11CCCF-DBB3-06A8-F60F-542B9497695C}"/>
                  </a:ext>
                </a:extLst>
              </p:cNvPr>
              <p:cNvSpPr/>
              <p:nvPr/>
            </p:nvSpPr>
            <p:spPr>
              <a:xfrm>
                <a:off x="2572465" y="845489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2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3 w 22725"/>
                  <a:gd name="connsiteY10" fmla="*/ 7877 h 28585"/>
                  <a:gd name="connsiteX11" fmla="*/ 1602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6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30 h 28585"/>
                  <a:gd name="connsiteX17" fmla="*/ 21708 w 22725"/>
                  <a:gd name="connsiteY17" fmla="*/ 7669 h 28585"/>
                  <a:gd name="connsiteX18" fmla="*/ 17166 w 22725"/>
                  <a:gd name="connsiteY18" fmla="*/ 8291 h 28585"/>
                  <a:gd name="connsiteX19" fmla="*/ 15376 w 22725"/>
                  <a:gd name="connsiteY19" fmla="*/ 4994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1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30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8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0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5" y="18542"/>
                      <a:pt x="16601" y="17939"/>
                    </a:cubicBezTo>
                    <a:cubicBezTo>
                      <a:pt x="15960" y="17524"/>
                      <a:pt x="14377" y="16997"/>
                      <a:pt x="11852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8" y="12663"/>
                      <a:pt x="1790" y="11551"/>
                    </a:cubicBezTo>
                    <a:cubicBezTo>
                      <a:pt x="1112" y="10439"/>
                      <a:pt x="773" y="9214"/>
                      <a:pt x="773" y="7877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67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6"/>
                    </a:cubicBezTo>
                    <a:cubicBezTo>
                      <a:pt x="8084" y="170"/>
                      <a:pt x="9422" y="0"/>
                      <a:pt x="10854" y="0"/>
                    </a:cubicBezTo>
                    <a:cubicBezTo>
                      <a:pt x="13002" y="0"/>
                      <a:pt x="14886" y="302"/>
                      <a:pt x="16507" y="923"/>
                    </a:cubicBezTo>
                    <a:cubicBezTo>
                      <a:pt x="18127" y="1545"/>
                      <a:pt x="19333" y="2374"/>
                      <a:pt x="20106" y="3430"/>
                    </a:cubicBezTo>
                    <a:cubicBezTo>
                      <a:pt x="20878" y="4485"/>
                      <a:pt x="21406" y="5898"/>
                      <a:pt x="21708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4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1" y="8951"/>
                    </a:cubicBezTo>
                    <a:cubicBezTo>
                      <a:pt x="6218" y="9441"/>
                      <a:pt x="6802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0" y="12248"/>
                      <a:pt x="17279" y="12983"/>
                      <a:pt x="18561" y="13530"/>
                    </a:cubicBezTo>
                    <a:cubicBezTo>
                      <a:pt x="19861" y="14095"/>
                      <a:pt x="20878" y="14905"/>
                      <a:pt x="21613" y="15960"/>
                    </a:cubicBezTo>
                    <a:cubicBezTo>
                      <a:pt x="22348" y="17034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46" y="27851"/>
                      <a:pt x="3580" y="26362"/>
                    </a:cubicBezTo>
                    <a:cubicBezTo>
                      <a:pt x="1715" y="24892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67" name="Grafik 21">
              <a:extLst>
                <a:ext uri="{FF2B5EF4-FFF2-40B4-BE49-F238E27FC236}">
                  <a16:creationId xmlns:a16="http://schemas.microsoft.com/office/drawing/2014/main" id="{664DAD6C-8397-1F00-CBA0-D847AB9BCE02}"/>
                </a:ext>
              </a:extLst>
            </p:cNvPr>
            <p:cNvGrpSpPr/>
            <p:nvPr/>
          </p:nvGrpSpPr>
          <p:grpSpPr>
            <a:xfrm>
              <a:off x="2354711" y="1031643"/>
              <a:ext cx="253066" cy="48898"/>
              <a:chOff x="2354711" y="1031643"/>
              <a:chExt cx="253066" cy="48898"/>
            </a:xfrm>
            <a:solidFill>
              <a:srgbClr val="000000"/>
            </a:solidFill>
          </p:grpSpPr>
          <p:sp>
            <p:nvSpPr>
              <p:cNvPr id="3412" name="Freihandform: Form 3411">
                <a:extLst>
                  <a:ext uri="{FF2B5EF4-FFF2-40B4-BE49-F238E27FC236}">
                    <a16:creationId xmlns:a16="http://schemas.microsoft.com/office/drawing/2014/main" id="{83FBF6C6-7B13-CEBB-7CC4-5DA777D61B2B}"/>
                  </a:ext>
                </a:extLst>
              </p:cNvPr>
              <p:cNvSpPr/>
              <p:nvPr/>
            </p:nvSpPr>
            <p:spPr>
              <a:xfrm>
                <a:off x="2354711" y="1031643"/>
                <a:ext cx="35350" cy="37762"/>
              </a:xfrm>
              <a:custGeom>
                <a:avLst/>
                <a:gdLst>
                  <a:gd name="connsiteX0" fmla="*/ 0 w 35350"/>
                  <a:gd name="connsiteY0" fmla="*/ 37762 h 37762"/>
                  <a:gd name="connsiteX1" fmla="*/ 14509 w 35350"/>
                  <a:gd name="connsiteY1" fmla="*/ 0 h 37762"/>
                  <a:gd name="connsiteX2" fmla="*/ 19899 w 35350"/>
                  <a:gd name="connsiteY2" fmla="*/ 0 h 37762"/>
                  <a:gd name="connsiteX3" fmla="*/ 35350 w 35350"/>
                  <a:gd name="connsiteY3" fmla="*/ 37762 h 37762"/>
                  <a:gd name="connsiteX4" fmla="*/ 29659 w 35350"/>
                  <a:gd name="connsiteY4" fmla="*/ 37762 h 37762"/>
                  <a:gd name="connsiteX5" fmla="*/ 25250 w 35350"/>
                  <a:gd name="connsiteY5" fmla="*/ 26324 h 37762"/>
                  <a:gd name="connsiteX6" fmla="*/ 9459 w 35350"/>
                  <a:gd name="connsiteY6" fmla="*/ 26324 h 37762"/>
                  <a:gd name="connsiteX7" fmla="*/ 5314 w 35350"/>
                  <a:gd name="connsiteY7" fmla="*/ 37762 h 37762"/>
                  <a:gd name="connsiteX8" fmla="*/ 0 w 35350"/>
                  <a:gd name="connsiteY8" fmla="*/ 37762 h 37762"/>
                  <a:gd name="connsiteX9" fmla="*/ 10891 w 35350"/>
                  <a:gd name="connsiteY9" fmla="*/ 22254 h 37762"/>
                  <a:gd name="connsiteX10" fmla="*/ 23686 w 35350"/>
                  <a:gd name="connsiteY10" fmla="*/ 22254 h 37762"/>
                  <a:gd name="connsiteX11" fmla="*/ 19748 w 35350"/>
                  <a:gd name="connsiteY11" fmla="*/ 11796 h 37762"/>
                  <a:gd name="connsiteX12" fmla="*/ 17072 w 35350"/>
                  <a:gd name="connsiteY12" fmla="*/ 3957 h 37762"/>
                  <a:gd name="connsiteX13" fmla="*/ 15037 w 35350"/>
                  <a:gd name="connsiteY13" fmla="*/ 11174 h 37762"/>
                  <a:gd name="connsiteX14" fmla="*/ 10891 w 35350"/>
                  <a:gd name="connsiteY14" fmla="*/ 22254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5350" h="37762">
                    <a:moveTo>
                      <a:pt x="0" y="37762"/>
                    </a:moveTo>
                    <a:lnTo>
                      <a:pt x="14509" y="0"/>
                    </a:lnTo>
                    <a:lnTo>
                      <a:pt x="19899" y="0"/>
                    </a:lnTo>
                    <a:lnTo>
                      <a:pt x="35350" y="37762"/>
                    </a:lnTo>
                    <a:lnTo>
                      <a:pt x="29659" y="37762"/>
                    </a:lnTo>
                    <a:lnTo>
                      <a:pt x="25250" y="26324"/>
                    </a:lnTo>
                    <a:lnTo>
                      <a:pt x="9459" y="26324"/>
                    </a:lnTo>
                    <a:lnTo>
                      <a:pt x="5314" y="37762"/>
                    </a:lnTo>
                    <a:lnTo>
                      <a:pt x="0" y="37762"/>
                    </a:lnTo>
                    <a:close/>
                    <a:moveTo>
                      <a:pt x="10891" y="22254"/>
                    </a:moveTo>
                    <a:lnTo>
                      <a:pt x="23686" y="22254"/>
                    </a:lnTo>
                    <a:lnTo>
                      <a:pt x="19748" y="11796"/>
                    </a:lnTo>
                    <a:cubicBezTo>
                      <a:pt x="18542" y="8611"/>
                      <a:pt x="17656" y="6011"/>
                      <a:pt x="17072" y="3957"/>
                    </a:cubicBezTo>
                    <a:cubicBezTo>
                      <a:pt x="16601" y="6388"/>
                      <a:pt x="15904" y="8781"/>
                      <a:pt x="15037" y="11174"/>
                    </a:cubicBezTo>
                    <a:lnTo>
                      <a:pt x="10891" y="22254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13" name="Freihandform: Form 3412">
                <a:extLst>
                  <a:ext uri="{FF2B5EF4-FFF2-40B4-BE49-F238E27FC236}">
                    <a16:creationId xmlns:a16="http://schemas.microsoft.com/office/drawing/2014/main" id="{D5A01878-16E7-A3B9-B192-EC3924C0F232}"/>
                  </a:ext>
                </a:extLst>
              </p:cNvPr>
              <p:cNvSpPr/>
              <p:nvPr/>
            </p:nvSpPr>
            <p:spPr>
              <a:xfrm>
                <a:off x="2393453" y="1041422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8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218" y="4183"/>
                      <a:pt x="21689" y="5333"/>
                      <a:pt x="21971" y="6652"/>
                    </a:cubicBezTo>
                    <a:cubicBezTo>
                      <a:pt x="22141" y="7519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2" y="7179"/>
                      <a:pt x="4635" y="9554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14" name="Freihandform: Form 3413">
                <a:extLst>
                  <a:ext uri="{FF2B5EF4-FFF2-40B4-BE49-F238E27FC236}">
                    <a16:creationId xmlns:a16="http://schemas.microsoft.com/office/drawing/2014/main" id="{9B3B8D0D-F235-5A96-AF5D-C5E2A245160C}"/>
                  </a:ext>
                </a:extLst>
              </p:cNvPr>
              <p:cNvSpPr/>
              <p:nvPr/>
            </p:nvSpPr>
            <p:spPr>
              <a:xfrm>
                <a:off x="2421398" y="1041422"/>
                <a:ext cx="23818" cy="28604"/>
              </a:xfrm>
              <a:custGeom>
                <a:avLst/>
                <a:gdLst>
                  <a:gd name="connsiteX0" fmla="*/ 19258 w 23818"/>
                  <a:gd name="connsiteY0" fmla="*/ 17958 h 28604"/>
                  <a:gd name="connsiteX1" fmla="*/ 23818 w 23818"/>
                  <a:gd name="connsiteY1" fmla="*/ 18542 h 28604"/>
                  <a:gd name="connsiteX2" fmla="*/ 19993 w 23818"/>
                  <a:gd name="connsiteY2" fmla="*/ 25928 h 28604"/>
                  <a:gd name="connsiteX3" fmla="*/ 12437 w 23818"/>
                  <a:gd name="connsiteY3" fmla="*/ 28604 h 28604"/>
                  <a:gd name="connsiteX4" fmla="*/ 3411 w 23818"/>
                  <a:gd name="connsiteY4" fmla="*/ 24930 h 28604"/>
                  <a:gd name="connsiteX5" fmla="*/ 0 w 23818"/>
                  <a:gd name="connsiteY5" fmla="*/ 14415 h 28604"/>
                  <a:gd name="connsiteX6" fmla="*/ 1470 w 23818"/>
                  <a:gd name="connsiteY6" fmla="*/ 6652 h 28604"/>
                  <a:gd name="connsiteX7" fmla="*/ 5936 w 23818"/>
                  <a:gd name="connsiteY7" fmla="*/ 1658 h 28604"/>
                  <a:gd name="connsiteX8" fmla="*/ 12474 w 23818"/>
                  <a:gd name="connsiteY8" fmla="*/ 0 h 28604"/>
                  <a:gd name="connsiteX9" fmla="*/ 19767 w 23818"/>
                  <a:gd name="connsiteY9" fmla="*/ 2261 h 28604"/>
                  <a:gd name="connsiteX10" fmla="*/ 23403 w 23818"/>
                  <a:gd name="connsiteY10" fmla="*/ 8668 h 28604"/>
                  <a:gd name="connsiteX11" fmla="*/ 18900 w 23818"/>
                  <a:gd name="connsiteY11" fmla="*/ 9365 h 28604"/>
                  <a:gd name="connsiteX12" fmla="*/ 16620 w 23818"/>
                  <a:gd name="connsiteY12" fmla="*/ 5220 h 28604"/>
                  <a:gd name="connsiteX13" fmla="*/ 12663 w 23818"/>
                  <a:gd name="connsiteY13" fmla="*/ 3825 h 28604"/>
                  <a:gd name="connsiteX14" fmla="*/ 6972 w 23818"/>
                  <a:gd name="connsiteY14" fmla="*/ 6331 h 28604"/>
                  <a:gd name="connsiteX15" fmla="*/ 4786 w 23818"/>
                  <a:gd name="connsiteY15" fmla="*/ 14283 h 28604"/>
                  <a:gd name="connsiteX16" fmla="*/ 6897 w 23818"/>
                  <a:gd name="connsiteY16" fmla="*/ 22292 h 28604"/>
                  <a:gd name="connsiteX17" fmla="*/ 12418 w 23818"/>
                  <a:gd name="connsiteY17" fmla="*/ 24798 h 28604"/>
                  <a:gd name="connsiteX18" fmla="*/ 16978 w 23818"/>
                  <a:gd name="connsiteY18" fmla="*/ 23121 h 28604"/>
                  <a:gd name="connsiteX19" fmla="*/ 19296 w 23818"/>
                  <a:gd name="connsiteY19" fmla="*/ 17977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818" h="28604">
                    <a:moveTo>
                      <a:pt x="19258" y="17958"/>
                    </a:moveTo>
                    <a:lnTo>
                      <a:pt x="23818" y="18542"/>
                    </a:lnTo>
                    <a:cubicBezTo>
                      <a:pt x="23328" y="21689"/>
                      <a:pt x="22047" y="24138"/>
                      <a:pt x="19993" y="25928"/>
                    </a:cubicBezTo>
                    <a:cubicBezTo>
                      <a:pt x="17939" y="27719"/>
                      <a:pt x="15414" y="28604"/>
                      <a:pt x="12437" y="28604"/>
                    </a:cubicBezTo>
                    <a:cubicBezTo>
                      <a:pt x="8687" y="28604"/>
                      <a:pt x="5691" y="27379"/>
                      <a:pt x="3411" y="24930"/>
                    </a:cubicBezTo>
                    <a:cubicBezTo>
                      <a:pt x="1131" y="22480"/>
                      <a:pt x="0" y="18975"/>
                      <a:pt x="0" y="14415"/>
                    </a:cubicBezTo>
                    <a:cubicBezTo>
                      <a:pt x="0" y="11457"/>
                      <a:pt x="490" y="8875"/>
                      <a:pt x="1470" y="6652"/>
                    </a:cubicBezTo>
                    <a:cubicBezTo>
                      <a:pt x="2450" y="4428"/>
                      <a:pt x="3938" y="2770"/>
                      <a:pt x="5936" y="1658"/>
                    </a:cubicBezTo>
                    <a:cubicBezTo>
                      <a:pt x="7933" y="546"/>
                      <a:pt x="10119" y="0"/>
                      <a:pt x="12474" y="0"/>
                    </a:cubicBezTo>
                    <a:cubicBezTo>
                      <a:pt x="15452" y="0"/>
                      <a:pt x="17882" y="754"/>
                      <a:pt x="19767" y="2261"/>
                    </a:cubicBezTo>
                    <a:cubicBezTo>
                      <a:pt x="21651" y="3769"/>
                      <a:pt x="22876" y="5898"/>
                      <a:pt x="23403" y="8668"/>
                    </a:cubicBezTo>
                    <a:lnTo>
                      <a:pt x="18900" y="9365"/>
                    </a:lnTo>
                    <a:cubicBezTo>
                      <a:pt x="18467" y="7519"/>
                      <a:pt x="17713" y="6143"/>
                      <a:pt x="16620" y="5220"/>
                    </a:cubicBezTo>
                    <a:cubicBezTo>
                      <a:pt x="15527" y="4296"/>
                      <a:pt x="14208" y="3825"/>
                      <a:pt x="12663" y="3825"/>
                    </a:cubicBezTo>
                    <a:cubicBezTo>
                      <a:pt x="10326" y="3825"/>
                      <a:pt x="8423" y="4654"/>
                      <a:pt x="6972" y="6331"/>
                    </a:cubicBezTo>
                    <a:cubicBezTo>
                      <a:pt x="5521" y="8008"/>
                      <a:pt x="4786" y="10646"/>
                      <a:pt x="4786" y="14283"/>
                    </a:cubicBezTo>
                    <a:cubicBezTo>
                      <a:pt x="4786" y="17920"/>
                      <a:pt x="5483" y="20634"/>
                      <a:pt x="6897" y="22292"/>
                    </a:cubicBezTo>
                    <a:cubicBezTo>
                      <a:pt x="8310" y="23950"/>
                      <a:pt x="10138" y="24798"/>
                      <a:pt x="12418" y="24798"/>
                    </a:cubicBezTo>
                    <a:cubicBezTo>
                      <a:pt x="14246" y="24798"/>
                      <a:pt x="15753" y="24233"/>
                      <a:pt x="16978" y="23121"/>
                    </a:cubicBezTo>
                    <a:cubicBezTo>
                      <a:pt x="18203" y="22009"/>
                      <a:pt x="18975" y="20294"/>
                      <a:pt x="19296" y="1797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15" name="Freihandform: Form 3414">
                <a:extLst>
                  <a:ext uri="{FF2B5EF4-FFF2-40B4-BE49-F238E27FC236}">
                    <a16:creationId xmlns:a16="http://schemas.microsoft.com/office/drawing/2014/main" id="{A9A593A1-175F-0D0C-828F-A1DC15DD7546}"/>
                  </a:ext>
                </a:extLst>
              </p:cNvPr>
              <p:cNvSpPr/>
              <p:nvPr/>
            </p:nvSpPr>
            <p:spPr>
              <a:xfrm>
                <a:off x="2449173" y="1031643"/>
                <a:ext cx="22272" cy="37762"/>
              </a:xfrm>
              <a:custGeom>
                <a:avLst/>
                <a:gdLst>
                  <a:gd name="connsiteX0" fmla="*/ 0 w 22272"/>
                  <a:gd name="connsiteY0" fmla="*/ 37762 h 37762"/>
                  <a:gd name="connsiteX1" fmla="*/ 0 w 22272"/>
                  <a:gd name="connsiteY1" fmla="*/ 0 h 37762"/>
                  <a:gd name="connsiteX2" fmla="*/ 4635 w 22272"/>
                  <a:gd name="connsiteY2" fmla="*/ 0 h 37762"/>
                  <a:gd name="connsiteX3" fmla="*/ 4635 w 22272"/>
                  <a:gd name="connsiteY3" fmla="*/ 13548 h 37762"/>
                  <a:gd name="connsiteX4" fmla="*/ 12832 w 22272"/>
                  <a:gd name="connsiteY4" fmla="*/ 9780 h 37762"/>
                  <a:gd name="connsiteX5" fmla="*/ 18108 w 22272"/>
                  <a:gd name="connsiteY5" fmla="*/ 10986 h 37762"/>
                  <a:gd name="connsiteX6" fmla="*/ 21312 w 22272"/>
                  <a:gd name="connsiteY6" fmla="*/ 14302 h 37762"/>
                  <a:gd name="connsiteX7" fmla="*/ 22273 w 22272"/>
                  <a:gd name="connsiteY7" fmla="*/ 20426 h 37762"/>
                  <a:gd name="connsiteX8" fmla="*/ 22273 w 22272"/>
                  <a:gd name="connsiteY8" fmla="*/ 37762 h 37762"/>
                  <a:gd name="connsiteX9" fmla="*/ 17637 w 22272"/>
                  <a:gd name="connsiteY9" fmla="*/ 37762 h 37762"/>
                  <a:gd name="connsiteX10" fmla="*/ 17637 w 22272"/>
                  <a:gd name="connsiteY10" fmla="*/ 20426 h 37762"/>
                  <a:gd name="connsiteX11" fmla="*/ 16130 w 22272"/>
                  <a:gd name="connsiteY11" fmla="*/ 15357 h 37762"/>
                  <a:gd name="connsiteX12" fmla="*/ 11871 w 22272"/>
                  <a:gd name="connsiteY12" fmla="*/ 13775 h 37762"/>
                  <a:gd name="connsiteX13" fmla="*/ 7990 w 22272"/>
                  <a:gd name="connsiteY13" fmla="*/ 14849 h 37762"/>
                  <a:gd name="connsiteX14" fmla="*/ 5408 w 22272"/>
                  <a:gd name="connsiteY14" fmla="*/ 17750 h 37762"/>
                  <a:gd name="connsiteX15" fmla="*/ 4635 w 22272"/>
                  <a:gd name="connsiteY15" fmla="*/ 22800 h 37762"/>
                  <a:gd name="connsiteX16" fmla="*/ 4635 w 22272"/>
                  <a:gd name="connsiteY16" fmla="*/ 37762 h 37762"/>
                  <a:gd name="connsiteX17" fmla="*/ 0 w 22272"/>
                  <a:gd name="connsiteY17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272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548"/>
                    </a:lnTo>
                    <a:cubicBezTo>
                      <a:pt x="6802" y="11042"/>
                      <a:pt x="9535" y="9780"/>
                      <a:pt x="12832" y="9780"/>
                    </a:cubicBezTo>
                    <a:cubicBezTo>
                      <a:pt x="14867" y="9780"/>
                      <a:pt x="16620" y="10175"/>
                      <a:pt x="18108" y="10986"/>
                    </a:cubicBezTo>
                    <a:cubicBezTo>
                      <a:pt x="19597" y="11796"/>
                      <a:pt x="20671" y="12889"/>
                      <a:pt x="21312" y="14302"/>
                    </a:cubicBezTo>
                    <a:cubicBezTo>
                      <a:pt x="21953" y="15715"/>
                      <a:pt x="22273" y="17750"/>
                      <a:pt x="22273" y="20426"/>
                    </a:cubicBezTo>
                    <a:lnTo>
                      <a:pt x="22273" y="37762"/>
                    </a:lnTo>
                    <a:lnTo>
                      <a:pt x="17637" y="37762"/>
                    </a:lnTo>
                    <a:lnTo>
                      <a:pt x="17637" y="20426"/>
                    </a:lnTo>
                    <a:cubicBezTo>
                      <a:pt x="17637" y="18109"/>
                      <a:pt x="17129" y="16413"/>
                      <a:pt x="16130" y="15357"/>
                    </a:cubicBezTo>
                    <a:cubicBezTo>
                      <a:pt x="15131" y="14302"/>
                      <a:pt x="13699" y="13775"/>
                      <a:pt x="11871" y="13775"/>
                    </a:cubicBezTo>
                    <a:cubicBezTo>
                      <a:pt x="10496" y="13775"/>
                      <a:pt x="9196" y="14133"/>
                      <a:pt x="7990" y="14849"/>
                    </a:cubicBezTo>
                    <a:cubicBezTo>
                      <a:pt x="6784" y="15565"/>
                      <a:pt x="5917" y="16526"/>
                      <a:pt x="5408" y="17750"/>
                    </a:cubicBezTo>
                    <a:cubicBezTo>
                      <a:pt x="4899" y="18975"/>
                      <a:pt x="4635" y="20652"/>
                      <a:pt x="4635" y="22800"/>
                    </a:cubicBez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16" name="Freihandform: Form 3415">
                <a:extLst>
                  <a:ext uri="{FF2B5EF4-FFF2-40B4-BE49-F238E27FC236}">
                    <a16:creationId xmlns:a16="http://schemas.microsoft.com/office/drawing/2014/main" id="{A83588DB-9C38-5706-B460-39D1E5D8FB55}"/>
                  </a:ext>
                </a:extLst>
              </p:cNvPr>
              <p:cNvSpPr/>
              <p:nvPr/>
            </p:nvSpPr>
            <p:spPr>
              <a:xfrm>
                <a:off x="2476779" y="1041441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40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58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42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912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72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17" name="Freihandform: Form 3416">
                <a:extLst>
                  <a:ext uri="{FF2B5EF4-FFF2-40B4-BE49-F238E27FC236}">
                    <a16:creationId xmlns:a16="http://schemas.microsoft.com/office/drawing/2014/main" id="{3E828C32-EE49-95AC-325E-775858864A15}"/>
                  </a:ext>
                </a:extLst>
              </p:cNvPr>
              <p:cNvSpPr/>
              <p:nvPr/>
            </p:nvSpPr>
            <p:spPr>
              <a:xfrm>
                <a:off x="2507814" y="1041422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38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7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10"/>
                    </a:cubicBezTo>
                    <a:cubicBezTo>
                      <a:pt x="6331" y="6331"/>
                      <a:pt x="5766" y="7161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18" name="Freihandform: Form 3417">
                <a:extLst>
                  <a:ext uri="{FF2B5EF4-FFF2-40B4-BE49-F238E27FC236}">
                    <a16:creationId xmlns:a16="http://schemas.microsoft.com/office/drawing/2014/main" id="{E0C292DC-91EC-438B-EAF5-B5EBE80C4B18}"/>
                  </a:ext>
                </a:extLst>
              </p:cNvPr>
              <p:cNvSpPr/>
              <p:nvPr/>
            </p:nvSpPr>
            <p:spPr>
              <a:xfrm>
                <a:off x="2523849" y="1041404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09" y="26927"/>
                      <a:pt x="25194" y="27964"/>
                    </a:cubicBezTo>
                    <a:lnTo>
                      <a:pt x="20351" y="27964"/>
                    </a:lnTo>
                    <a:cubicBezTo>
                      <a:pt x="19880" y="27003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19" name="Freihandform: Form 3418">
                <a:extLst>
                  <a:ext uri="{FF2B5EF4-FFF2-40B4-BE49-F238E27FC236}">
                    <a16:creationId xmlns:a16="http://schemas.microsoft.com/office/drawing/2014/main" id="{139C4290-B6DF-6D0E-96C4-443528F0309E}"/>
                  </a:ext>
                </a:extLst>
              </p:cNvPr>
              <p:cNvSpPr/>
              <p:nvPr/>
            </p:nvSpPr>
            <p:spPr>
              <a:xfrm>
                <a:off x="2553000" y="1041441"/>
                <a:ext cx="24119" cy="39099"/>
              </a:xfrm>
              <a:custGeom>
                <a:avLst/>
                <a:gdLst>
                  <a:gd name="connsiteX0" fmla="*/ 923 w 24119"/>
                  <a:gd name="connsiteY0" fmla="*/ 30225 h 39099"/>
                  <a:gd name="connsiteX1" fmla="*/ 5427 w 24119"/>
                  <a:gd name="connsiteY1" fmla="*/ 30903 h 39099"/>
                  <a:gd name="connsiteX2" fmla="*/ 6991 w 24119"/>
                  <a:gd name="connsiteY2" fmla="*/ 33937 h 39099"/>
                  <a:gd name="connsiteX3" fmla="*/ 11702 w 24119"/>
                  <a:gd name="connsiteY3" fmla="*/ 35218 h 39099"/>
                  <a:gd name="connsiteX4" fmla="*/ 16676 w 24119"/>
                  <a:gd name="connsiteY4" fmla="*/ 33937 h 39099"/>
                  <a:gd name="connsiteX5" fmla="*/ 19051 w 24119"/>
                  <a:gd name="connsiteY5" fmla="*/ 30338 h 39099"/>
                  <a:gd name="connsiteX6" fmla="*/ 19390 w 24119"/>
                  <a:gd name="connsiteY6" fmla="*/ 24383 h 39099"/>
                  <a:gd name="connsiteX7" fmla="*/ 11815 w 24119"/>
                  <a:gd name="connsiteY7" fmla="*/ 27964 h 39099"/>
                  <a:gd name="connsiteX8" fmla="*/ 3090 w 24119"/>
                  <a:gd name="connsiteY8" fmla="*/ 23893 h 39099"/>
                  <a:gd name="connsiteX9" fmla="*/ 0 w 24119"/>
                  <a:gd name="connsiteY9" fmla="*/ 14133 h 39099"/>
                  <a:gd name="connsiteX10" fmla="*/ 1413 w 24119"/>
                  <a:gd name="connsiteY10" fmla="*/ 6915 h 39099"/>
                  <a:gd name="connsiteX11" fmla="*/ 5521 w 24119"/>
                  <a:gd name="connsiteY11" fmla="*/ 1809 h 39099"/>
                  <a:gd name="connsiteX12" fmla="*/ 11852 w 24119"/>
                  <a:gd name="connsiteY12" fmla="*/ 0 h 39099"/>
                  <a:gd name="connsiteX13" fmla="*/ 19842 w 24119"/>
                  <a:gd name="connsiteY13" fmla="*/ 3919 h 39099"/>
                  <a:gd name="connsiteX14" fmla="*/ 19842 w 24119"/>
                  <a:gd name="connsiteY14" fmla="*/ 622 h 39099"/>
                  <a:gd name="connsiteX15" fmla="*/ 24120 w 24119"/>
                  <a:gd name="connsiteY15" fmla="*/ 622 h 39099"/>
                  <a:gd name="connsiteX16" fmla="*/ 24120 w 24119"/>
                  <a:gd name="connsiteY16" fmla="*/ 24270 h 39099"/>
                  <a:gd name="connsiteX17" fmla="*/ 22819 w 24119"/>
                  <a:gd name="connsiteY17" fmla="*/ 33334 h 39099"/>
                  <a:gd name="connsiteX18" fmla="*/ 18693 w 24119"/>
                  <a:gd name="connsiteY18" fmla="*/ 37555 h 39099"/>
                  <a:gd name="connsiteX19" fmla="*/ 11758 w 24119"/>
                  <a:gd name="connsiteY19" fmla="*/ 39100 h 39099"/>
                  <a:gd name="connsiteX20" fmla="*/ 3844 w 24119"/>
                  <a:gd name="connsiteY20" fmla="*/ 36895 h 39099"/>
                  <a:gd name="connsiteX21" fmla="*/ 942 w 24119"/>
                  <a:gd name="connsiteY21" fmla="*/ 30262 h 39099"/>
                  <a:gd name="connsiteX22" fmla="*/ 4767 w 24119"/>
                  <a:gd name="connsiteY22" fmla="*/ 13793 h 39099"/>
                  <a:gd name="connsiteX23" fmla="*/ 6897 w 24119"/>
                  <a:gd name="connsiteY23" fmla="*/ 21651 h 39099"/>
                  <a:gd name="connsiteX24" fmla="*/ 12248 w 24119"/>
                  <a:gd name="connsiteY24" fmla="*/ 24119 h 39099"/>
                  <a:gd name="connsiteX25" fmla="*/ 17600 w 24119"/>
                  <a:gd name="connsiteY25" fmla="*/ 21651 h 39099"/>
                  <a:gd name="connsiteX26" fmla="*/ 19767 w 24119"/>
                  <a:gd name="connsiteY26" fmla="*/ 13944 h 39099"/>
                  <a:gd name="connsiteX27" fmla="*/ 17543 w 24119"/>
                  <a:gd name="connsiteY27" fmla="*/ 6369 h 39099"/>
                  <a:gd name="connsiteX28" fmla="*/ 12173 w 24119"/>
                  <a:gd name="connsiteY28" fmla="*/ 3825 h 39099"/>
                  <a:gd name="connsiteX29" fmla="*/ 6916 w 24119"/>
                  <a:gd name="connsiteY29" fmla="*/ 6331 h 39099"/>
                  <a:gd name="connsiteX30" fmla="*/ 4749 w 24119"/>
                  <a:gd name="connsiteY30" fmla="*/ 13793 h 39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19" h="39099">
                    <a:moveTo>
                      <a:pt x="923" y="30225"/>
                    </a:moveTo>
                    <a:lnTo>
                      <a:pt x="5427" y="30903"/>
                    </a:lnTo>
                    <a:cubicBezTo>
                      <a:pt x="5615" y="32298"/>
                      <a:pt x="6143" y="33315"/>
                      <a:pt x="6991" y="33937"/>
                    </a:cubicBezTo>
                    <a:cubicBezTo>
                      <a:pt x="8140" y="34804"/>
                      <a:pt x="9704" y="35218"/>
                      <a:pt x="11702" y="35218"/>
                    </a:cubicBezTo>
                    <a:cubicBezTo>
                      <a:pt x="13850" y="35218"/>
                      <a:pt x="15508" y="34785"/>
                      <a:pt x="16676" y="33937"/>
                    </a:cubicBezTo>
                    <a:cubicBezTo>
                      <a:pt x="17845" y="33089"/>
                      <a:pt x="18636" y="31883"/>
                      <a:pt x="19051" y="30338"/>
                    </a:cubicBezTo>
                    <a:cubicBezTo>
                      <a:pt x="19296" y="29396"/>
                      <a:pt x="19409" y="27417"/>
                      <a:pt x="19390" y="24383"/>
                    </a:cubicBezTo>
                    <a:cubicBezTo>
                      <a:pt x="17355" y="26776"/>
                      <a:pt x="14830" y="27964"/>
                      <a:pt x="11815" y="27964"/>
                    </a:cubicBezTo>
                    <a:cubicBezTo>
                      <a:pt x="8046" y="27964"/>
                      <a:pt x="5144" y="26607"/>
                      <a:pt x="3090" y="23893"/>
                    </a:cubicBezTo>
                    <a:cubicBezTo>
                      <a:pt x="1036" y="21180"/>
                      <a:pt x="0" y="17920"/>
                      <a:pt x="0" y="14133"/>
                    </a:cubicBezTo>
                    <a:cubicBezTo>
                      <a:pt x="0" y="11513"/>
                      <a:pt x="471" y="9120"/>
                      <a:pt x="1413" y="6915"/>
                    </a:cubicBezTo>
                    <a:cubicBezTo>
                      <a:pt x="2355" y="4711"/>
                      <a:pt x="3731" y="2996"/>
                      <a:pt x="5521" y="1809"/>
                    </a:cubicBezTo>
                    <a:cubicBezTo>
                      <a:pt x="7311" y="622"/>
                      <a:pt x="9422" y="0"/>
                      <a:pt x="11852" y="0"/>
                    </a:cubicBezTo>
                    <a:cubicBezTo>
                      <a:pt x="15075" y="0"/>
                      <a:pt x="17750" y="1300"/>
                      <a:pt x="19842" y="3919"/>
                    </a:cubicBezTo>
                    <a:lnTo>
                      <a:pt x="19842" y="622"/>
                    </a:lnTo>
                    <a:lnTo>
                      <a:pt x="24120" y="622"/>
                    </a:lnTo>
                    <a:lnTo>
                      <a:pt x="24120" y="24270"/>
                    </a:lnTo>
                    <a:cubicBezTo>
                      <a:pt x="24120" y="28529"/>
                      <a:pt x="23686" y="31544"/>
                      <a:pt x="22819" y="33334"/>
                    </a:cubicBezTo>
                    <a:cubicBezTo>
                      <a:pt x="21953" y="35124"/>
                      <a:pt x="20577" y="36518"/>
                      <a:pt x="18693" y="37555"/>
                    </a:cubicBezTo>
                    <a:cubicBezTo>
                      <a:pt x="16808" y="38591"/>
                      <a:pt x="14491" y="39100"/>
                      <a:pt x="11758" y="39100"/>
                    </a:cubicBezTo>
                    <a:cubicBezTo>
                      <a:pt x="8498" y="39100"/>
                      <a:pt x="5860" y="38365"/>
                      <a:pt x="3844" y="36895"/>
                    </a:cubicBezTo>
                    <a:cubicBezTo>
                      <a:pt x="1828" y="35426"/>
                      <a:pt x="867" y="33221"/>
                      <a:pt x="942" y="30262"/>
                    </a:cubicBezTo>
                    <a:close/>
                    <a:moveTo>
                      <a:pt x="4767" y="13793"/>
                    </a:moveTo>
                    <a:cubicBezTo>
                      <a:pt x="4767" y="17392"/>
                      <a:pt x="5483" y="19993"/>
                      <a:pt x="6897" y="21651"/>
                    </a:cubicBezTo>
                    <a:cubicBezTo>
                      <a:pt x="8310" y="23309"/>
                      <a:pt x="10100" y="24119"/>
                      <a:pt x="12248" y="24119"/>
                    </a:cubicBezTo>
                    <a:cubicBezTo>
                      <a:pt x="14396" y="24119"/>
                      <a:pt x="16168" y="23290"/>
                      <a:pt x="17600" y="21651"/>
                    </a:cubicBezTo>
                    <a:cubicBezTo>
                      <a:pt x="19032" y="20012"/>
                      <a:pt x="19767" y="17430"/>
                      <a:pt x="19767" y="13944"/>
                    </a:cubicBezTo>
                    <a:cubicBezTo>
                      <a:pt x="19767" y="10458"/>
                      <a:pt x="19032" y="8065"/>
                      <a:pt x="17543" y="6369"/>
                    </a:cubicBezTo>
                    <a:cubicBezTo>
                      <a:pt x="16055" y="4673"/>
                      <a:pt x="14264" y="3825"/>
                      <a:pt x="12173" y="3825"/>
                    </a:cubicBezTo>
                    <a:cubicBezTo>
                      <a:pt x="10081" y="3825"/>
                      <a:pt x="8366" y="4654"/>
                      <a:pt x="6916" y="6331"/>
                    </a:cubicBezTo>
                    <a:cubicBezTo>
                      <a:pt x="5465" y="8008"/>
                      <a:pt x="4749" y="10496"/>
                      <a:pt x="4749" y="1379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20" name="Freihandform: Form 3419">
                <a:extLst>
                  <a:ext uri="{FF2B5EF4-FFF2-40B4-BE49-F238E27FC236}">
                    <a16:creationId xmlns:a16="http://schemas.microsoft.com/office/drawing/2014/main" id="{7C424086-6022-CD73-83DE-C864CF73E358}"/>
                  </a:ext>
                </a:extLst>
              </p:cNvPr>
              <p:cNvSpPr/>
              <p:nvPr/>
            </p:nvSpPr>
            <p:spPr>
              <a:xfrm>
                <a:off x="2582546" y="1041422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6"/>
                      <a:pt x="22932" y="24722"/>
                      <a:pt x="20878" y="26268"/>
                    </a:cubicBezTo>
                    <a:cubicBezTo>
                      <a:pt x="18825" y="27813"/>
                      <a:pt x="16224" y="28585"/>
                      <a:pt x="13040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3"/>
                      <a:pt x="9007" y="0"/>
                      <a:pt x="12776" y="0"/>
                    </a:cubicBezTo>
                    <a:cubicBezTo>
                      <a:pt x="16544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69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6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49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68" name="Grafik 21">
              <a:extLst>
                <a:ext uri="{FF2B5EF4-FFF2-40B4-BE49-F238E27FC236}">
                  <a16:creationId xmlns:a16="http://schemas.microsoft.com/office/drawing/2014/main" id="{73E853D1-C2E0-EFB9-D0FC-F1F5139AD535}"/>
                </a:ext>
              </a:extLst>
            </p:cNvPr>
            <p:cNvGrpSpPr/>
            <p:nvPr/>
          </p:nvGrpSpPr>
          <p:grpSpPr>
            <a:xfrm>
              <a:off x="2785829" y="1044814"/>
              <a:ext cx="264014" cy="38421"/>
              <a:chOff x="2785829" y="1044814"/>
              <a:chExt cx="264014" cy="38421"/>
            </a:xfrm>
            <a:solidFill>
              <a:srgbClr val="000000"/>
            </a:solidFill>
          </p:grpSpPr>
          <p:sp>
            <p:nvSpPr>
              <p:cNvPr id="3402" name="Freihandform: Form 3401">
                <a:extLst>
                  <a:ext uri="{FF2B5EF4-FFF2-40B4-BE49-F238E27FC236}">
                    <a16:creationId xmlns:a16="http://schemas.microsoft.com/office/drawing/2014/main" id="{1FFDD1BC-5103-C4D1-7DBC-4466D7697B9F}"/>
                  </a:ext>
                </a:extLst>
              </p:cNvPr>
              <p:cNvSpPr/>
              <p:nvPr/>
            </p:nvSpPr>
            <p:spPr>
              <a:xfrm>
                <a:off x="2785829" y="1044814"/>
                <a:ext cx="48559" cy="37780"/>
              </a:xfrm>
              <a:custGeom>
                <a:avLst/>
                <a:gdLst>
                  <a:gd name="connsiteX0" fmla="*/ 10025 w 48559"/>
                  <a:gd name="connsiteY0" fmla="*/ 37781 h 37780"/>
                  <a:gd name="connsiteX1" fmla="*/ 0 w 48559"/>
                  <a:gd name="connsiteY1" fmla="*/ 19 h 37780"/>
                  <a:gd name="connsiteX2" fmla="*/ 5125 w 48559"/>
                  <a:gd name="connsiteY2" fmla="*/ 19 h 37780"/>
                  <a:gd name="connsiteX3" fmla="*/ 10873 w 48559"/>
                  <a:gd name="connsiteY3" fmla="*/ 24779 h 37780"/>
                  <a:gd name="connsiteX4" fmla="*/ 12474 w 48559"/>
                  <a:gd name="connsiteY4" fmla="*/ 32505 h 37780"/>
                  <a:gd name="connsiteX5" fmla="*/ 14170 w 48559"/>
                  <a:gd name="connsiteY5" fmla="*/ 25514 h 37780"/>
                  <a:gd name="connsiteX6" fmla="*/ 21350 w 48559"/>
                  <a:gd name="connsiteY6" fmla="*/ 0 h 37780"/>
                  <a:gd name="connsiteX7" fmla="*/ 27379 w 48559"/>
                  <a:gd name="connsiteY7" fmla="*/ 0 h 37780"/>
                  <a:gd name="connsiteX8" fmla="*/ 32787 w 48559"/>
                  <a:gd name="connsiteY8" fmla="*/ 19107 h 37780"/>
                  <a:gd name="connsiteX9" fmla="*/ 35727 w 48559"/>
                  <a:gd name="connsiteY9" fmla="*/ 32486 h 37780"/>
                  <a:gd name="connsiteX10" fmla="*/ 37611 w 48559"/>
                  <a:gd name="connsiteY10" fmla="*/ 24270 h 37780"/>
                  <a:gd name="connsiteX11" fmla="*/ 43528 w 48559"/>
                  <a:gd name="connsiteY11" fmla="*/ 0 h 37780"/>
                  <a:gd name="connsiteX12" fmla="*/ 48559 w 48559"/>
                  <a:gd name="connsiteY12" fmla="*/ 0 h 37780"/>
                  <a:gd name="connsiteX13" fmla="*/ 38196 w 48559"/>
                  <a:gd name="connsiteY13" fmla="*/ 37762 h 37780"/>
                  <a:gd name="connsiteX14" fmla="*/ 33372 w 48559"/>
                  <a:gd name="connsiteY14" fmla="*/ 37762 h 37780"/>
                  <a:gd name="connsiteX15" fmla="*/ 25420 w 48559"/>
                  <a:gd name="connsiteY15" fmla="*/ 8988 h 37780"/>
                  <a:gd name="connsiteX16" fmla="*/ 24233 w 48559"/>
                  <a:gd name="connsiteY16" fmla="*/ 4560 h 37780"/>
                  <a:gd name="connsiteX17" fmla="*/ 23121 w 48559"/>
                  <a:gd name="connsiteY17" fmla="*/ 8988 h 37780"/>
                  <a:gd name="connsiteX18" fmla="*/ 15112 w 48559"/>
                  <a:gd name="connsiteY18" fmla="*/ 37762 h 37780"/>
                  <a:gd name="connsiteX19" fmla="*/ 10006 w 48559"/>
                  <a:gd name="connsiteY19" fmla="*/ 37762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8559" h="37780">
                    <a:moveTo>
                      <a:pt x="10025" y="37781"/>
                    </a:moveTo>
                    <a:lnTo>
                      <a:pt x="0" y="19"/>
                    </a:lnTo>
                    <a:lnTo>
                      <a:pt x="5125" y="19"/>
                    </a:lnTo>
                    <a:lnTo>
                      <a:pt x="10873" y="24779"/>
                    </a:lnTo>
                    <a:cubicBezTo>
                      <a:pt x="11494" y="27379"/>
                      <a:pt x="12022" y="29942"/>
                      <a:pt x="12474" y="32505"/>
                    </a:cubicBezTo>
                    <a:cubicBezTo>
                      <a:pt x="13435" y="28472"/>
                      <a:pt x="14001" y="26136"/>
                      <a:pt x="14170" y="25514"/>
                    </a:cubicBezTo>
                    <a:lnTo>
                      <a:pt x="21350" y="0"/>
                    </a:lnTo>
                    <a:lnTo>
                      <a:pt x="27379" y="0"/>
                    </a:lnTo>
                    <a:lnTo>
                      <a:pt x="32787" y="19107"/>
                    </a:lnTo>
                    <a:cubicBezTo>
                      <a:pt x="34144" y="23856"/>
                      <a:pt x="35124" y="28303"/>
                      <a:pt x="35727" y="32486"/>
                    </a:cubicBezTo>
                    <a:cubicBezTo>
                      <a:pt x="36198" y="30093"/>
                      <a:pt x="36839" y="27361"/>
                      <a:pt x="37611" y="24270"/>
                    </a:cubicBezTo>
                    <a:lnTo>
                      <a:pt x="43528" y="0"/>
                    </a:lnTo>
                    <a:lnTo>
                      <a:pt x="48559" y="0"/>
                    </a:lnTo>
                    <a:lnTo>
                      <a:pt x="38196" y="37762"/>
                    </a:lnTo>
                    <a:lnTo>
                      <a:pt x="33372" y="37762"/>
                    </a:lnTo>
                    <a:lnTo>
                      <a:pt x="25420" y="8988"/>
                    </a:lnTo>
                    <a:cubicBezTo>
                      <a:pt x="24741" y="6576"/>
                      <a:pt x="24346" y="5107"/>
                      <a:pt x="24233" y="4560"/>
                    </a:cubicBezTo>
                    <a:cubicBezTo>
                      <a:pt x="23837" y="6294"/>
                      <a:pt x="23460" y="7763"/>
                      <a:pt x="23121" y="8988"/>
                    </a:cubicBezTo>
                    <a:lnTo>
                      <a:pt x="15112" y="37762"/>
                    </a:lnTo>
                    <a:lnTo>
                      <a:pt x="10006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03" name="Freihandform: Form 3402">
                <a:extLst>
                  <a:ext uri="{FF2B5EF4-FFF2-40B4-BE49-F238E27FC236}">
                    <a16:creationId xmlns:a16="http://schemas.microsoft.com/office/drawing/2014/main" id="{11795140-D431-6204-6F79-04FAA4A2F304}"/>
                  </a:ext>
                </a:extLst>
              </p:cNvPr>
              <p:cNvSpPr/>
              <p:nvPr/>
            </p:nvSpPr>
            <p:spPr>
              <a:xfrm>
                <a:off x="2838477" y="1044833"/>
                <a:ext cx="22272" cy="37762"/>
              </a:xfrm>
              <a:custGeom>
                <a:avLst/>
                <a:gdLst>
                  <a:gd name="connsiteX0" fmla="*/ 0 w 22272"/>
                  <a:gd name="connsiteY0" fmla="*/ 37762 h 37762"/>
                  <a:gd name="connsiteX1" fmla="*/ 0 w 22272"/>
                  <a:gd name="connsiteY1" fmla="*/ 0 h 37762"/>
                  <a:gd name="connsiteX2" fmla="*/ 4636 w 22272"/>
                  <a:gd name="connsiteY2" fmla="*/ 0 h 37762"/>
                  <a:gd name="connsiteX3" fmla="*/ 4636 w 22272"/>
                  <a:gd name="connsiteY3" fmla="*/ 13548 h 37762"/>
                  <a:gd name="connsiteX4" fmla="*/ 12832 w 22272"/>
                  <a:gd name="connsiteY4" fmla="*/ 9780 h 37762"/>
                  <a:gd name="connsiteX5" fmla="*/ 18109 w 22272"/>
                  <a:gd name="connsiteY5" fmla="*/ 10986 h 37762"/>
                  <a:gd name="connsiteX6" fmla="*/ 21312 w 22272"/>
                  <a:gd name="connsiteY6" fmla="*/ 14302 h 37762"/>
                  <a:gd name="connsiteX7" fmla="*/ 22273 w 22272"/>
                  <a:gd name="connsiteY7" fmla="*/ 20426 h 37762"/>
                  <a:gd name="connsiteX8" fmla="*/ 22273 w 22272"/>
                  <a:gd name="connsiteY8" fmla="*/ 37762 h 37762"/>
                  <a:gd name="connsiteX9" fmla="*/ 17637 w 22272"/>
                  <a:gd name="connsiteY9" fmla="*/ 37762 h 37762"/>
                  <a:gd name="connsiteX10" fmla="*/ 17637 w 22272"/>
                  <a:gd name="connsiteY10" fmla="*/ 20426 h 37762"/>
                  <a:gd name="connsiteX11" fmla="*/ 16130 w 22272"/>
                  <a:gd name="connsiteY11" fmla="*/ 15357 h 37762"/>
                  <a:gd name="connsiteX12" fmla="*/ 11871 w 22272"/>
                  <a:gd name="connsiteY12" fmla="*/ 13775 h 37762"/>
                  <a:gd name="connsiteX13" fmla="*/ 7990 w 22272"/>
                  <a:gd name="connsiteY13" fmla="*/ 14849 h 37762"/>
                  <a:gd name="connsiteX14" fmla="*/ 5408 w 22272"/>
                  <a:gd name="connsiteY14" fmla="*/ 17750 h 37762"/>
                  <a:gd name="connsiteX15" fmla="*/ 4636 w 22272"/>
                  <a:gd name="connsiteY15" fmla="*/ 22800 h 37762"/>
                  <a:gd name="connsiteX16" fmla="*/ 4636 w 22272"/>
                  <a:gd name="connsiteY16" fmla="*/ 37762 h 37762"/>
                  <a:gd name="connsiteX17" fmla="*/ 0 w 22272"/>
                  <a:gd name="connsiteY17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272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13548"/>
                    </a:lnTo>
                    <a:cubicBezTo>
                      <a:pt x="6802" y="11042"/>
                      <a:pt x="9535" y="9780"/>
                      <a:pt x="12832" y="9780"/>
                    </a:cubicBezTo>
                    <a:cubicBezTo>
                      <a:pt x="14867" y="9780"/>
                      <a:pt x="16620" y="10175"/>
                      <a:pt x="18109" y="10986"/>
                    </a:cubicBezTo>
                    <a:cubicBezTo>
                      <a:pt x="19597" y="11796"/>
                      <a:pt x="20671" y="12889"/>
                      <a:pt x="21312" y="14302"/>
                    </a:cubicBezTo>
                    <a:cubicBezTo>
                      <a:pt x="21953" y="15715"/>
                      <a:pt x="22273" y="17750"/>
                      <a:pt x="22273" y="20426"/>
                    </a:cubicBezTo>
                    <a:lnTo>
                      <a:pt x="22273" y="37762"/>
                    </a:lnTo>
                    <a:lnTo>
                      <a:pt x="17637" y="37762"/>
                    </a:lnTo>
                    <a:lnTo>
                      <a:pt x="17637" y="20426"/>
                    </a:lnTo>
                    <a:cubicBezTo>
                      <a:pt x="17637" y="18109"/>
                      <a:pt x="17129" y="16413"/>
                      <a:pt x="16130" y="15357"/>
                    </a:cubicBezTo>
                    <a:cubicBezTo>
                      <a:pt x="15131" y="14302"/>
                      <a:pt x="13699" y="13775"/>
                      <a:pt x="11871" y="13775"/>
                    </a:cubicBezTo>
                    <a:cubicBezTo>
                      <a:pt x="10496" y="13775"/>
                      <a:pt x="9196" y="14133"/>
                      <a:pt x="7990" y="14849"/>
                    </a:cubicBezTo>
                    <a:cubicBezTo>
                      <a:pt x="6784" y="15565"/>
                      <a:pt x="5917" y="16526"/>
                      <a:pt x="5408" y="17750"/>
                    </a:cubicBezTo>
                    <a:cubicBezTo>
                      <a:pt x="4899" y="18975"/>
                      <a:pt x="4636" y="20652"/>
                      <a:pt x="4636" y="22800"/>
                    </a:cubicBez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04" name="Freihandform: Form 3403">
                <a:extLst>
                  <a:ext uri="{FF2B5EF4-FFF2-40B4-BE49-F238E27FC236}">
                    <a16:creationId xmlns:a16="http://schemas.microsoft.com/office/drawing/2014/main" id="{BAB9739D-51A2-DE3E-34E6-45F7E2B5EFBB}"/>
                  </a:ext>
                </a:extLst>
              </p:cNvPr>
              <p:cNvSpPr/>
              <p:nvPr/>
            </p:nvSpPr>
            <p:spPr>
              <a:xfrm>
                <a:off x="2867835" y="1044833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5 w 4635"/>
                  <a:gd name="connsiteY7" fmla="*/ 10402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5" y="10402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05" name="Freihandform: Form 3404">
                <a:extLst>
                  <a:ext uri="{FF2B5EF4-FFF2-40B4-BE49-F238E27FC236}">
                    <a16:creationId xmlns:a16="http://schemas.microsoft.com/office/drawing/2014/main" id="{0A0FDF8D-8C24-0923-7BCD-648F67D32235}"/>
                  </a:ext>
                </a:extLst>
              </p:cNvPr>
              <p:cNvSpPr/>
              <p:nvPr/>
            </p:nvSpPr>
            <p:spPr>
              <a:xfrm>
                <a:off x="2876993" y="1045681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1 h 37272"/>
                  <a:gd name="connsiteX7" fmla="*/ 0 w 13341"/>
                  <a:gd name="connsiteY7" fmla="*/ 13171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5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0" y="33522"/>
                      <a:pt x="3392" y="31695"/>
                      <a:pt x="3392" y="28906"/>
                    </a:cubicBezTo>
                    <a:lnTo>
                      <a:pt x="3392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03" y="32825"/>
                      <a:pt x="9949" y="32938"/>
                      <a:pt x="10628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06" name="Freihandform: Form 3405">
                <a:extLst>
                  <a:ext uri="{FF2B5EF4-FFF2-40B4-BE49-F238E27FC236}">
                    <a16:creationId xmlns:a16="http://schemas.microsoft.com/office/drawing/2014/main" id="{778226AC-9B2D-090A-DF55-663EA6E7E5FE}"/>
                  </a:ext>
                </a:extLst>
              </p:cNvPr>
              <p:cNvSpPr/>
              <p:nvPr/>
            </p:nvSpPr>
            <p:spPr>
              <a:xfrm>
                <a:off x="2892633" y="1054613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6"/>
                      <a:pt x="22932" y="24722"/>
                      <a:pt x="20878" y="26268"/>
                    </a:cubicBezTo>
                    <a:cubicBezTo>
                      <a:pt x="18825" y="27813"/>
                      <a:pt x="16224" y="28585"/>
                      <a:pt x="13040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3"/>
                      <a:pt x="9007" y="0"/>
                      <a:pt x="12776" y="0"/>
                    </a:cubicBezTo>
                    <a:cubicBezTo>
                      <a:pt x="16544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69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6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49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07" name="Freihandform: Form 3406">
                <a:extLst>
                  <a:ext uri="{FF2B5EF4-FFF2-40B4-BE49-F238E27FC236}">
                    <a16:creationId xmlns:a16="http://schemas.microsoft.com/office/drawing/2014/main" id="{8E5C02BC-4623-5864-7913-541EEAAE555A}"/>
                  </a:ext>
                </a:extLst>
              </p:cNvPr>
              <p:cNvSpPr/>
              <p:nvPr/>
            </p:nvSpPr>
            <p:spPr>
              <a:xfrm>
                <a:off x="2923536" y="1044833"/>
                <a:ext cx="22272" cy="37762"/>
              </a:xfrm>
              <a:custGeom>
                <a:avLst/>
                <a:gdLst>
                  <a:gd name="connsiteX0" fmla="*/ 0 w 22272"/>
                  <a:gd name="connsiteY0" fmla="*/ 37762 h 37762"/>
                  <a:gd name="connsiteX1" fmla="*/ 0 w 22272"/>
                  <a:gd name="connsiteY1" fmla="*/ 0 h 37762"/>
                  <a:gd name="connsiteX2" fmla="*/ 4635 w 22272"/>
                  <a:gd name="connsiteY2" fmla="*/ 0 h 37762"/>
                  <a:gd name="connsiteX3" fmla="*/ 4635 w 22272"/>
                  <a:gd name="connsiteY3" fmla="*/ 13548 h 37762"/>
                  <a:gd name="connsiteX4" fmla="*/ 12832 w 22272"/>
                  <a:gd name="connsiteY4" fmla="*/ 9780 h 37762"/>
                  <a:gd name="connsiteX5" fmla="*/ 18108 w 22272"/>
                  <a:gd name="connsiteY5" fmla="*/ 10986 h 37762"/>
                  <a:gd name="connsiteX6" fmla="*/ 21312 w 22272"/>
                  <a:gd name="connsiteY6" fmla="*/ 14302 h 37762"/>
                  <a:gd name="connsiteX7" fmla="*/ 22273 w 22272"/>
                  <a:gd name="connsiteY7" fmla="*/ 20426 h 37762"/>
                  <a:gd name="connsiteX8" fmla="*/ 22273 w 22272"/>
                  <a:gd name="connsiteY8" fmla="*/ 37762 h 37762"/>
                  <a:gd name="connsiteX9" fmla="*/ 17637 w 22272"/>
                  <a:gd name="connsiteY9" fmla="*/ 37762 h 37762"/>
                  <a:gd name="connsiteX10" fmla="*/ 17637 w 22272"/>
                  <a:gd name="connsiteY10" fmla="*/ 20426 h 37762"/>
                  <a:gd name="connsiteX11" fmla="*/ 16130 w 22272"/>
                  <a:gd name="connsiteY11" fmla="*/ 15357 h 37762"/>
                  <a:gd name="connsiteX12" fmla="*/ 11871 w 22272"/>
                  <a:gd name="connsiteY12" fmla="*/ 13775 h 37762"/>
                  <a:gd name="connsiteX13" fmla="*/ 7990 w 22272"/>
                  <a:gd name="connsiteY13" fmla="*/ 14849 h 37762"/>
                  <a:gd name="connsiteX14" fmla="*/ 5408 w 22272"/>
                  <a:gd name="connsiteY14" fmla="*/ 17750 h 37762"/>
                  <a:gd name="connsiteX15" fmla="*/ 4635 w 22272"/>
                  <a:gd name="connsiteY15" fmla="*/ 22800 h 37762"/>
                  <a:gd name="connsiteX16" fmla="*/ 4635 w 22272"/>
                  <a:gd name="connsiteY16" fmla="*/ 37762 h 37762"/>
                  <a:gd name="connsiteX17" fmla="*/ 0 w 22272"/>
                  <a:gd name="connsiteY17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272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548"/>
                    </a:lnTo>
                    <a:cubicBezTo>
                      <a:pt x="6802" y="11042"/>
                      <a:pt x="9535" y="9780"/>
                      <a:pt x="12832" y="9780"/>
                    </a:cubicBezTo>
                    <a:cubicBezTo>
                      <a:pt x="14867" y="9780"/>
                      <a:pt x="16620" y="10175"/>
                      <a:pt x="18108" y="10986"/>
                    </a:cubicBezTo>
                    <a:cubicBezTo>
                      <a:pt x="19597" y="11796"/>
                      <a:pt x="20671" y="12889"/>
                      <a:pt x="21312" y="14302"/>
                    </a:cubicBezTo>
                    <a:cubicBezTo>
                      <a:pt x="21953" y="15715"/>
                      <a:pt x="22273" y="17750"/>
                      <a:pt x="22273" y="20426"/>
                    </a:cubicBezTo>
                    <a:lnTo>
                      <a:pt x="22273" y="37762"/>
                    </a:lnTo>
                    <a:lnTo>
                      <a:pt x="17637" y="37762"/>
                    </a:lnTo>
                    <a:lnTo>
                      <a:pt x="17637" y="20426"/>
                    </a:lnTo>
                    <a:cubicBezTo>
                      <a:pt x="17637" y="18109"/>
                      <a:pt x="17129" y="16413"/>
                      <a:pt x="16130" y="15357"/>
                    </a:cubicBezTo>
                    <a:cubicBezTo>
                      <a:pt x="15131" y="14302"/>
                      <a:pt x="13699" y="13775"/>
                      <a:pt x="11871" y="13775"/>
                    </a:cubicBezTo>
                    <a:cubicBezTo>
                      <a:pt x="10496" y="13775"/>
                      <a:pt x="9196" y="14133"/>
                      <a:pt x="7990" y="14849"/>
                    </a:cubicBezTo>
                    <a:cubicBezTo>
                      <a:pt x="6784" y="15565"/>
                      <a:pt x="5917" y="16526"/>
                      <a:pt x="5408" y="17750"/>
                    </a:cubicBezTo>
                    <a:cubicBezTo>
                      <a:pt x="4899" y="18975"/>
                      <a:pt x="4635" y="20652"/>
                      <a:pt x="4635" y="22800"/>
                    </a:cubicBez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08" name="Freihandform: Form 3407">
                <a:extLst>
                  <a:ext uri="{FF2B5EF4-FFF2-40B4-BE49-F238E27FC236}">
                    <a16:creationId xmlns:a16="http://schemas.microsoft.com/office/drawing/2014/main" id="{2654AB73-CADE-7112-5B8A-58082D0CC32A}"/>
                  </a:ext>
                </a:extLst>
              </p:cNvPr>
              <p:cNvSpPr/>
              <p:nvPr/>
            </p:nvSpPr>
            <p:spPr>
              <a:xfrm>
                <a:off x="2951142" y="1054632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40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58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42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912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72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09" name="Freihandform: Form 3408">
                <a:extLst>
                  <a:ext uri="{FF2B5EF4-FFF2-40B4-BE49-F238E27FC236}">
                    <a16:creationId xmlns:a16="http://schemas.microsoft.com/office/drawing/2014/main" id="{70B8168B-134D-44C4-59E1-64DCB4AFFACD}"/>
                  </a:ext>
                </a:extLst>
              </p:cNvPr>
              <p:cNvSpPr/>
              <p:nvPr/>
            </p:nvSpPr>
            <p:spPr>
              <a:xfrm>
                <a:off x="2982177" y="1054613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38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7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10"/>
                    </a:cubicBezTo>
                    <a:cubicBezTo>
                      <a:pt x="6331" y="6331"/>
                      <a:pt x="5766" y="7161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10" name="Freihandform: Form 3409">
                <a:extLst>
                  <a:ext uri="{FF2B5EF4-FFF2-40B4-BE49-F238E27FC236}">
                    <a16:creationId xmlns:a16="http://schemas.microsoft.com/office/drawing/2014/main" id="{D1036371-8D97-D258-A095-B6F1A34D64E6}"/>
                  </a:ext>
                </a:extLst>
              </p:cNvPr>
              <p:cNvSpPr/>
              <p:nvPr/>
            </p:nvSpPr>
            <p:spPr>
              <a:xfrm>
                <a:off x="2997949" y="1054650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2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3 w 22725"/>
                  <a:gd name="connsiteY10" fmla="*/ 7877 h 28585"/>
                  <a:gd name="connsiteX11" fmla="*/ 1602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6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29 h 28585"/>
                  <a:gd name="connsiteX17" fmla="*/ 21708 w 22725"/>
                  <a:gd name="connsiteY17" fmla="*/ 7669 h 28585"/>
                  <a:gd name="connsiteX18" fmla="*/ 17166 w 22725"/>
                  <a:gd name="connsiteY18" fmla="*/ 8291 h 28585"/>
                  <a:gd name="connsiteX19" fmla="*/ 15376 w 22725"/>
                  <a:gd name="connsiteY19" fmla="*/ 4993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1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30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8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0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8" y="16997"/>
                      <a:pt x="11852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8" y="12663"/>
                      <a:pt x="1790" y="11551"/>
                    </a:cubicBezTo>
                    <a:cubicBezTo>
                      <a:pt x="1112" y="10439"/>
                      <a:pt x="773" y="9214"/>
                      <a:pt x="773" y="7877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48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6"/>
                    </a:cubicBezTo>
                    <a:cubicBezTo>
                      <a:pt x="8103" y="170"/>
                      <a:pt x="9422" y="0"/>
                      <a:pt x="10854" y="0"/>
                    </a:cubicBezTo>
                    <a:cubicBezTo>
                      <a:pt x="13002" y="0"/>
                      <a:pt x="14886" y="301"/>
                      <a:pt x="16507" y="923"/>
                    </a:cubicBezTo>
                    <a:cubicBezTo>
                      <a:pt x="18127" y="1545"/>
                      <a:pt x="19333" y="2374"/>
                      <a:pt x="20106" y="3429"/>
                    </a:cubicBezTo>
                    <a:cubicBezTo>
                      <a:pt x="20878" y="4485"/>
                      <a:pt x="21406" y="5898"/>
                      <a:pt x="21708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3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1" y="8951"/>
                    </a:cubicBezTo>
                    <a:cubicBezTo>
                      <a:pt x="6218" y="9440"/>
                      <a:pt x="6802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1" y="12248"/>
                      <a:pt x="17279" y="12983"/>
                      <a:pt x="18561" y="13530"/>
                    </a:cubicBezTo>
                    <a:cubicBezTo>
                      <a:pt x="19842" y="14076"/>
                      <a:pt x="20878" y="14905"/>
                      <a:pt x="21613" y="15960"/>
                    </a:cubicBezTo>
                    <a:cubicBezTo>
                      <a:pt x="22348" y="17016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3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46" y="27851"/>
                      <a:pt x="3580" y="26362"/>
                    </a:cubicBezTo>
                    <a:cubicBezTo>
                      <a:pt x="1715" y="24873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11" name="Freihandform: Form 3410">
                <a:extLst>
                  <a:ext uri="{FF2B5EF4-FFF2-40B4-BE49-F238E27FC236}">
                    <a16:creationId xmlns:a16="http://schemas.microsoft.com/office/drawing/2014/main" id="{C3CB4C75-AA5C-7447-4662-72FBEE31C318}"/>
                  </a:ext>
                </a:extLst>
              </p:cNvPr>
              <p:cNvSpPr/>
              <p:nvPr/>
            </p:nvSpPr>
            <p:spPr>
              <a:xfrm>
                <a:off x="3024612" y="1054613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6"/>
                      <a:pt x="22932" y="24722"/>
                      <a:pt x="20878" y="26268"/>
                    </a:cubicBezTo>
                    <a:cubicBezTo>
                      <a:pt x="18825" y="27813"/>
                      <a:pt x="16224" y="28585"/>
                      <a:pt x="13040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3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69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6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49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69" name="Grafik 21">
              <a:extLst>
                <a:ext uri="{FF2B5EF4-FFF2-40B4-BE49-F238E27FC236}">
                  <a16:creationId xmlns:a16="http://schemas.microsoft.com/office/drawing/2014/main" id="{F862D672-9331-3544-4AD0-D497B2693723}"/>
                </a:ext>
              </a:extLst>
            </p:cNvPr>
            <p:cNvGrpSpPr/>
            <p:nvPr/>
          </p:nvGrpSpPr>
          <p:grpSpPr>
            <a:xfrm>
              <a:off x="3164091" y="1770303"/>
              <a:ext cx="188622" cy="38402"/>
              <a:chOff x="3164091" y="1770303"/>
              <a:chExt cx="188622" cy="38402"/>
            </a:xfrm>
            <a:solidFill>
              <a:srgbClr val="000000"/>
            </a:solidFill>
          </p:grpSpPr>
          <p:sp>
            <p:nvSpPr>
              <p:cNvPr id="3394" name="Freihandform: Form 3393">
                <a:extLst>
                  <a:ext uri="{FF2B5EF4-FFF2-40B4-BE49-F238E27FC236}">
                    <a16:creationId xmlns:a16="http://schemas.microsoft.com/office/drawing/2014/main" id="{AF593ADC-84EE-B0D9-FC3D-0B15E85B1340}"/>
                  </a:ext>
                </a:extLst>
              </p:cNvPr>
              <p:cNvSpPr/>
              <p:nvPr/>
            </p:nvSpPr>
            <p:spPr>
              <a:xfrm>
                <a:off x="3164091" y="1770303"/>
                <a:ext cx="28830" cy="37762"/>
              </a:xfrm>
              <a:custGeom>
                <a:avLst/>
                <a:gdLst>
                  <a:gd name="connsiteX0" fmla="*/ 0 w 28830"/>
                  <a:gd name="connsiteY0" fmla="*/ 37762 h 37762"/>
                  <a:gd name="connsiteX1" fmla="*/ 0 w 28830"/>
                  <a:gd name="connsiteY1" fmla="*/ 0 h 37762"/>
                  <a:gd name="connsiteX2" fmla="*/ 14246 w 28830"/>
                  <a:gd name="connsiteY2" fmla="*/ 0 h 37762"/>
                  <a:gd name="connsiteX3" fmla="*/ 19993 w 28830"/>
                  <a:gd name="connsiteY3" fmla="*/ 358 h 37762"/>
                  <a:gd name="connsiteX4" fmla="*/ 24647 w 28830"/>
                  <a:gd name="connsiteY4" fmla="*/ 2129 h 37762"/>
                  <a:gd name="connsiteX5" fmla="*/ 27681 w 28830"/>
                  <a:gd name="connsiteY5" fmla="*/ 5766 h 37762"/>
                  <a:gd name="connsiteX6" fmla="*/ 28830 w 28830"/>
                  <a:gd name="connsiteY6" fmla="*/ 10910 h 37762"/>
                  <a:gd name="connsiteX7" fmla="*/ 25759 w 28830"/>
                  <a:gd name="connsiteY7" fmla="*/ 19069 h 37762"/>
                  <a:gd name="connsiteX8" fmla="*/ 14679 w 28830"/>
                  <a:gd name="connsiteY8" fmla="*/ 22405 h 37762"/>
                  <a:gd name="connsiteX9" fmla="*/ 4993 w 28830"/>
                  <a:gd name="connsiteY9" fmla="*/ 22405 h 37762"/>
                  <a:gd name="connsiteX10" fmla="*/ 4993 w 28830"/>
                  <a:gd name="connsiteY10" fmla="*/ 37762 h 37762"/>
                  <a:gd name="connsiteX11" fmla="*/ 0 w 28830"/>
                  <a:gd name="connsiteY11" fmla="*/ 37762 h 37762"/>
                  <a:gd name="connsiteX12" fmla="*/ 4993 w 28830"/>
                  <a:gd name="connsiteY12" fmla="*/ 17958 h 37762"/>
                  <a:gd name="connsiteX13" fmla="*/ 14754 w 28830"/>
                  <a:gd name="connsiteY13" fmla="*/ 17958 h 37762"/>
                  <a:gd name="connsiteX14" fmla="*/ 21632 w 28830"/>
                  <a:gd name="connsiteY14" fmla="*/ 16149 h 37762"/>
                  <a:gd name="connsiteX15" fmla="*/ 23667 w 28830"/>
                  <a:gd name="connsiteY15" fmla="*/ 11080 h 37762"/>
                  <a:gd name="connsiteX16" fmla="*/ 22461 w 28830"/>
                  <a:gd name="connsiteY16" fmla="*/ 7029 h 37762"/>
                  <a:gd name="connsiteX17" fmla="*/ 19314 w 28830"/>
                  <a:gd name="connsiteY17" fmla="*/ 4805 h 37762"/>
                  <a:gd name="connsiteX18" fmla="*/ 14660 w 28830"/>
                  <a:gd name="connsiteY18" fmla="*/ 4466 h 37762"/>
                  <a:gd name="connsiteX19" fmla="*/ 4993 w 28830"/>
                  <a:gd name="connsiteY19" fmla="*/ 4466 h 37762"/>
                  <a:gd name="connsiteX20" fmla="*/ 4993 w 28830"/>
                  <a:gd name="connsiteY20" fmla="*/ 17958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8830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14246" y="0"/>
                    </a:lnTo>
                    <a:cubicBezTo>
                      <a:pt x="16752" y="0"/>
                      <a:pt x="18674" y="113"/>
                      <a:pt x="19993" y="358"/>
                    </a:cubicBezTo>
                    <a:cubicBezTo>
                      <a:pt x="21839" y="659"/>
                      <a:pt x="23403" y="1262"/>
                      <a:pt x="24647" y="2129"/>
                    </a:cubicBezTo>
                    <a:cubicBezTo>
                      <a:pt x="25910" y="2996"/>
                      <a:pt x="26908" y="4221"/>
                      <a:pt x="27681" y="5766"/>
                    </a:cubicBezTo>
                    <a:cubicBezTo>
                      <a:pt x="28454" y="7330"/>
                      <a:pt x="28830" y="9045"/>
                      <a:pt x="28830" y="10910"/>
                    </a:cubicBezTo>
                    <a:cubicBezTo>
                      <a:pt x="28830" y="14114"/>
                      <a:pt x="27813" y="16846"/>
                      <a:pt x="25759" y="19069"/>
                    </a:cubicBezTo>
                    <a:cubicBezTo>
                      <a:pt x="23724" y="21293"/>
                      <a:pt x="20031" y="22405"/>
                      <a:pt x="14679" y="22405"/>
                    </a:cubicBezTo>
                    <a:lnTo>
                      <a:pt x="4993" y="22405"/>
                    </a:lnTo>
                    <a:lnTo>
                      <a:pt x="4993" y="37762"/>
                    </a:lnTo>
                    <a:lnTo>
                      <a:pt x="0" y="37762"/>
                    </a:lnTo>
                    <a:close/>
                    <a:moveTo>
                      <a:pt x="4993" y="17958"/>
                    </a:moveTo>
                    <a:lnTo>
                      <a:pt x="14754" y="17958"/>
                    </a:lnTo>
                    <a:cubicBezTo>
                      <a:pt x="17977" y="17958"/>
                      <a:pt x="20275" y="17355"/>
                      <a:pt x="21632" y="16149"/>
                    </a:cubicBezTo>
                    <a:cubicBezTo>
                      <a:pt x="22989" y="14943"/>
                      <a:pt x="23667" y="13247"/>
                      <a:pt x="23667" y="11080"/>
                    </a:cubicBezTo>
                    <a:cubicBezTo>
                      <a:pt x="23667" y="9497"/>
                      <a:pt x="23272" y="8140"/>
                      <a:pt x="22461" y="7029"/>
                    </a:cubicBezTo>
                    <a:cubicBezTo>
                      <a:pt x="21651" y="5917"/>
                      <a:pt x="20615" y="5163"/>
                      <a:pt x="19314" y="4805"/>
                    </a:cubicBezTo>
                    <a:cubicBezTo>
                      <a:pt x="18466" y="4579"/>
                      <a:pt x="16921" y="4466"/>
                      <a:pt x="14660" y="4466"/>
                    </a:cubicBezTo>
                    <a:lnTo>
                      <a:pt x="4993" y="4466"/>
                    </a:lnTo>
                    <a:lnTo>
                      <a:pt x="4993" y="1795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95" name="Freihandform: Form 3394">
                <a:extLst>
                  <a:ext uri="{FF2B5EF4-FFF2-40B4-BE49-F238E27FC236}">
                    <a16:creationId xmlns:a16="http://schemas.microsoft.com/office/drawing/2014/main" id="{B0A1CB10-1558-8544-F6EA-CDB2661B5C4F}"/>
                  </a:ext>
                </a:extLst>
              </p:cNvPr>
              <p:cNvSpPr/>
              <p:nvPr/>
            </p:nvSpPr>
            <p:spPr>
              <a:xfrm>
                <a:off x="3196953" y="1780101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96" name="Freihandform: Form 3395">
                <a:extLst>
                  <a:ext uri="{FF2B5EF4-FFF2-40B4-BE49-F238E27FC236}">
                    <a16:creationId xmlns:a16="http://schemas.microsoft.com/office/drawing/2014/main" id="{01FA580D-8E41-6717-B740-69885A6A1B70}"/>
                  </a:ext>
                </a:extLst>
              </p:cNvPr>
              <p:cNvSpPr/>
              <p:nvPr/>
            </p:nvSpPr>
            <p:spPr>
              <a:xfrm>
                <a:off x="3227988" y="1780083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09 h 27982"/>
                  <a:gd name="connsiteX10" fmla="*/ 5408 w 14867"/>
                  <a:gd name="connsiteY10" fmla="*/ 8253 h 27982"/>
                  <a:gd name="connsiteX11" fmla="*/ 4636 w 14867"/>
                  <a:gd name="connsiteY11" fmla="*/ 13661 h 27982"/>
                  <a:gd name="connsiteX12" fmla="*/ 4636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1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6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09"/>
                    </a:cubicBezTo>
                    <a:cubicBezTo>
                      <a:pt x="6331" y="6312"/>
                      <a:pt x="5766" y="7160"/>
                      <a:pt x="5408" y="8253"/>
                    </a:cubicBezTo>
                    <a:cubicBezTo>
                      <a:pt x="4899" y="9912"/>
                      <a:pt x="4636" y="11702"/>
                      <a:pt x="4636" y="13661"/>
                    </a:cubicBezTo>
                    <a:lnTo>
                      <a:pt x="4636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97" name="Freihandform: Form 3396">
                <a:extLst>
                  <a:ext uri="{FF2B5EF4-FFF2-40B4-BE49-F238E27FC236}">
                    <a16:creationId xmlns:a16="http://schemas.microsoft.com/office/drawing/2014/main" id="{085F2BEF-8BE5-7FBF-CE35-44015C6E20C8}"/>
                  </a:ext>
                </a:extLst>
              </p:cNvPr>
              <p:cNvSpPr/>
              <p:nvPr/>
            </p:nvSpPr>
            <p:spPr>
              <a:xfrm>
                <a:off x="3243063" y="1771151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2 h 37272"/>
                  <a:gd name="connsiteX7" fmla="*/ 0 w 13341"/>
                  <a:gd name="connsiteY7" fmla="*/ 13172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5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0" y="33522"/>
                      <a:pt x="3392" y="31695"/>
                      <a:pt x="3392" y="28906"/>
                    </a:cubicBezTo>
                    <a:lnTo>
                      <a:pt x="3392" y="13172"/>
                    </a:lnTo>
                    <a:lnTo>
                      <a:pt x="0" y="13172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98" name="Freihandform: Form 3397">
                <a:extLst>
                  <a:ext uri="{FF2B5EF4-FFF2-40B4-BE49-F238E27FC236}">
                    <a16:creationId xmlns:a16="http://schemas.microsoft.com/office/drawing/2014/main" id="{5C3D6D14-9C9C-2376-DCE0-4179B67D8138}"/>
                  </a:ext>
                </a:extLst>
              </p:cNvPr>
              <p:cNvSpPr/>
              <p:nvPr/>
            </p:nvSpPr>
            <p:spPr>
              <a:xfrm>
                <a:off x="3260154" y="1770303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99" name="Freihandform: Form 3398">
                <a:extLst>
                  <a:ext uri="{FF2B5EF4-FFF2-40B4-BE49-F238E27FC236}">
                    <a16:creationId xmlns:a16="http://schemas.microsoft.com/office/drawing/2014/main" id="{B931E614-879C-1FD2-B636-A823DA0179D2}"/>
                  </a:ext>
                </a:extLst>
              </p:cNvPr>
              <p:cNvSpPr/>
              <p:nvPr/>
            </p:nvSpPr>
            <p:spPr>
              <a:xfrm>
                <a:off x="3270405" y="1780064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0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00" name="Freihandform: Form 3399">
                <a:extLst>
                  <a:ext uri="{FF2B5EF4-FFF2-40B4-BE49-F238E27FC236}">
                    <a16:creationId xmlns:a16="http://schemas.microsoft.com/office/drawing/2014/main" id="{10D7A7E8-3878-7747-6154-919E29DFD41D}"/>
                  </a:ext>
                </a:extLst>
              </p:cNvPr>
              <p:cNvSpPr/>
              <p:nvPr/>
            </p:nvSpPr>
            <p:spPr>
              <a:xfrm>
                <a:off x="3301327" y="1780083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4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1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01" name="Freihandform: Form 3400">
                <a:extLst>
                  <a:ext uri="{FF2B5EF4-FFF2-40B4-BE49-F238E27FC236}">
                    <a16:creationId xmlns:a16="http://schemas.microsoft.com/office/drawing/2014/main" id="{DA6473A9-9EB7-30A2-DFD8-6D37091D35A8}"/>
                  </a:ext>
                </a:extLst>
              </p:cNvPr>
              <p:cNvSpPr/>
              <p:nvPr/>
            </p:nvSpPr>
            <p:spPr>
              <a:xfrm>
                <a:off x="3328989" y="1770322"/>
                <a:ext cx="23723" cy="38365"/>
              </a:xfrm>
              <a:custGeom>
                <a:avLst/>
                <a:gdLst>
                  <a:gd name="connsiteX0" fmla="*/ 19428 w 23723"/>
                  <a:gd name="connsiteY0" fmla="*/ 37743 h 38365"/>
                  <a:gd name="connsiteX1" fmla="*/ 19428 w 23723"/>
                  <a:gd name="connsiteY1" fmla="*/ 34295 h 38365"/>
                  <a:gd name="connsiteX2" fmla="*/ 11777 w 23723"/>
                  <a:gd name="connsiteY2" fmla="*/ 38365 h 38365"/>
                  <a:gd name="connsiteX3" fmla="*/ 5766 w 23723"/>
                  <a:gd name="connsiteY3" fmla="*/ 36556 h 38365"/>
                  <a:gd name="connsiteX4" fmla="*/ 1507 w 23723"/>
                  <a:gd name="connsiteY4" fmla="*/ 31525 h 38365"/>
                  <a:gd name="connsiteX5" fmla="*/ 0 w 23723"/>
                  <a:gd name="connsiteY5" fmla="*/ 24101 h 38365"/>
                  <a:gd name="connsiteX6" fmla="*/ 1357 w 23723"/>
                  <a:gd name="connsiteY6" fmla="*/ 16676 h 38365"/>
                  <a:gd name="connsiteX7" fmla="*/ 5446 w 23723"/>
                  <a:gd name="connsiteY7" fmla="*/ 11570 h 38365"/>
                  <a:gd name="connsiteX8" fmla="*/ 11551 w 23723"/>
                  <a:gd name="connsiteY8" fmla="*/ 9799 h 38365"/>
                  <a:gd name="connsiteX9" fmla="*/ 15960 w 23723"/>
                  <a:gd name="connsiteY9" fmla="*/ 10835 h 38365"/>
                  <a:gd name="connsiteX10" fmla="*/ 19107 w 23723"/>
                  <a:gd name="connsiteY10" fmla="*/ 13548 h 38365"/>
                  <a:gd name="connsiteX11" fmla="*/ 19107 w 23723"/>
                  <a:gd name="connsiteY11" fmla="*/ 0 h 38365"/>
                  <a:gd name="connsiteX12" fmla="*/ 23724 w 23723"/>
                  <a:gd name="connsiteY12" fmla="*/ 0 h 38365"/>
                  <a:gd name="connsiteX13" fmla="*/ 23724 w 23723"/>
                  <a:gd name="connsiteY13" fmla="*/ 37762 h 38365"/>
                  <a:gd name="connsiteX14" fmla="*/ 19428 w 23723"/>
                  <a:gd name="connsiteY14" fmla="*/ 37762 h 38365"/>
                  <a:gd name="connsiteX15" fmla="*/ 4767 w 23723"/>
                  <a:gd name="connsiteY15" fmla="*/ 24082 h 38365"/>
                  <a:gd name="connsiteX16" fmla="*/ 6991 w 23723"/>
                  <a:gd name="connsiteY16" fmla="*/ 31940 h 38365"/>
                  <a:gd name="connsiteX17" fmla="*/ 12229 w 23723"/>
                  <a:gd name="connsiteY17" fmla="*/ 34540 h 38365"/>
                  <a:gd name="connsiteX18" fmla="*/ 17392 w 23723"/>
                  <a:gd name="connsiteY18" fmla="*/ 32053 h 38365"/>
                  <a:gd name="connsiteX19" fmla="*/ 19522 w 23723"/>
                  <a:gd name="connsiteY19" fmla="*/ 24459 h 38365"/>
                  <a:gd name="connsiteX20" fmla="*/ 17355 w 23723"/>
                  <a:gd name="connsiteY20" fmla="*/ 16205 h 38365"/>
                  <a:gd name="connsiteX21" fmla="*/ 12022 w 23723"/>
                  <a:gd name="connsiteY21" fmla="*/ 13586 h 38365"/>
                  <a:gd name="connsiteX22" fmla="*/ 6859 w 23723"/>
                  <a:gd name="connsiteY22" fmla="*/ 16111 h 38365"/>
                  <a:gd name="connsiteX23" fmla="*/ 4786 w 23723"/>
                  <a:gd name="connsiteY23" fmla="*/ 24063 h 38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723" h="38365">
                    <a:moveTo>
                      <a:pt x="19428" y="37743"/>
                    </a:moveTo>
                    <a:lnTo>
                      <a:pt x="19428" y="34295"/>
                    </a:lnTo>
                    <a:cubicBezTo>
                      <a:pt x="17694" y="37008"/>
                      <a:pt x="15150" y="38365"/>
                      <a:pt x="11777" y="38365"/>
                    </a:cubicBezTo>
                    <a:cubicBezTo>
                      <a:pt x="9591" y="38365"/>
                      <a:pt x="7594" y="37762"/>
                      <a:pt x="5766" y="36556"/>
                    </a:cubicBezTo>
                    <a:cubicBezTo>
                      <a:pt x="3938" y="35350"/>
                      <a:pt x="2525" y="33673"/>
                      <a:pt x="1507" y="31525"/>
                    </a:cubicBezTo>
                    <a:cubicBezTo>
                      <a:pt x="490" y="29377"/>
                      <a:pt x="0" y="26890"/>
                      <a:pt x="0" y="24101"/>
                    </a:cubicBezTo>
                    <a:cubicBezTo>
                      <a:pt x="0" y="21312"/>
                      <a:pt x="452" y="18900"/>
                      <a:pt x="1357" y="16676"/>
                    </a:cubicBezTo>
                    <a:cubicBezTo>
                      <a:pt x="2261" y="14453"/>
                      <a:pt x="3637" y="12757"/>
                      <a:pt x="5446" y="11570"/>
                    </a:cubicBezTo>
                    <a:cubicBezTo>
                      <a:pt x="7274" y="10383"/>
                      <a:pt x="9309" y="9799"/>
                      <a:pt x="11551" y="9799"/>
                    </a:cubicBezTo>
                    <a:cubicBezTo>
                      <a:pt x="13209" y="9799"/>
                      <a:pt x="14660" y="10138"/>
                      <a:pt x="15960" y="10835"/>
                    </a:cubicBezTo>
                    <a:cubicBezTo>
                      <a:pt x="17260" y="11532"/>
                      <a:pt x="18297" y="12437"/>
                      <a:pt x="19107" y="13548"/>
                    </a:cubicBezTo>
                    <a:lnTo>
                      <a:pt x="19107" y="0"/>
                    </a:lnTo>
                    <a:lnTo>
                      <a:pt x="23724" y="0"/>
                    </a:lnTo>
                    <a:lnTo>
                      <a:pt x="23724" y="37762"/>
                    </a:lnTo>
                    <a:lnTo>
                      <a:pt x="19428" y="37762"/>
                    </a:lnTo>
                    <a:close/>
                    <a:moveTo>
                      <a:pt x="4767" y="24082"/>
                    </a:moveTo>
                    <a:cubicBezTo>
                      <a:pt x="4767" y="27587"/>
                      <a:pt x="5502" y="30206"/>
                      <a:pt x="6991" y="31940"/>
                    </a:cubicBezTo>
                    <a:cubicBezTo>
                      <a:pt x="8461" y="33673"/>
                      <a:pt x="10213" y="34540"/>
                      <a:pt x="12229" y="34540"/>
                    </a:cubicBezTo>
                    <a:cubicBezTo>
                      <a:pt x="14246" y="34540"/>
                      <a:pt x="15979" y="33711"/>
                      <a:pt x="17392" y="32053"/>
                    </a:cubicBezTo>
                    <a:cubicBezTo>
                      <a:pt x="18806" y="30394"/>
                      <a:pt x="19522" y="27869"/>
                      <a:pt x="19522" y="24459"/>
                    </a:cubicBezTo>
                    <a:cubicBezTo>
                      <a:pt x="19522" y="20709"/>
                      <a:pt x="18806" y="17958"/>
                      <a:pt x="17355" y="16205"/>
                    </a:cubicBezTo>
                    <a:cubicBezTo>
                      <a:pt x="15904" y="14453"/>
                      <a:pt x="14133" y="13586"/>
                      <a:pt x="12022" y="13586"/>
                    </a:cubicBezTo>
                    <a:cubicBezTo>
                      <a:pt x="9912" y="13586"/>
                      <a:pt x="8235" y="14434"/>
                      <a:pt x="6859" y="16111"/>
                    </a:cubicBezTo>
                    <a:cubicBezTo>
                      <a:pt x="5483" y="17788"/>
                      <a:pt x="4786" y="20445"/>
                      <a:pt x="4786" y="2406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70" name="Grafik 21">
              <a:extLst>
                <a:ext uri="{FF2B5EF4-FFF2-40B4-BE49-F238E27FC236}">
                  <a16:creationId xmlns:a16="http://schemas.microsoft.com/office/drawing/2014/main" id="{E268B494-4243-7011-4F4E-8C18C9BFA371}"/>
                </a:ext>
              </a:extLst>
            </p:cNvPr>
            <p:cNvGrpSpPr/>
            <p:nvPr/>
          </p:nvGrpSpPr>
          <p:grpSpPr>
            <a:xfrm>
              <a:off x="3665795" y="1758997"/>
              <a:ext cx="275603" cy="48257"/>
              <a:chOff x="3665795" y="1758997"/>
              <a:chExt cx="275603" cy="48257"/>
            </a:xfrm>
            <a:solidFill>
              <a:srgbClr val="000000"/>
            </a:solidFill>
          </p:grpSpPr>
          <p:sp>
            <p:nvSpPr>
              <p:cNvPr id="3383" name="Freihandform: Form 3382">
                <a:extLst>
                  <a:ext uri="{FF2B5EF4-FFF2-40B4-BE49-F238E27FC236}">
                    <a16:creationId xmlns:a16="http://schemas.microsoft.com/office/drawing/2014/main" id="{5749AB62-BBB6-ABA8-0D4C-254084B75132}"/>
                  </a:ext>
                </a:extLst>
              </p:cNvPr>
              <p:cNvSpPr/>
              <p:nvPr/>
            </p:nvSpPr>
            <p:spPr>
              <a:xfrm>
                <a:off x="3665795" y="1758997"/>
                <a:ext cx="36047" cy="37762"/>
              </a:xfrm>
              <a:custGeom>
                <a:avLst/>
                <a:gdLst>
                  <a:gd name="connsiteX0" fmla="*/ 0 w 36047"/>
                  <a:gd name="connsiteY0" fmla="*/ 37762 h 37762"/>
                  <a:gd name="connsiteX1" fmla="*/ 0 w 36047"/>
                  <a:gd name="connsiteY1" fmla="*/ 0 h 37762"/>
                  <a:gd name="connsiteX2" fmla="*/ 7518 w 36047"/>
                  <a:gd name="connsiteY2" fmla="*/ 0 h 37762"/>
                  <a:gd name="connsiteX3" fmla="*/ 16450 w 36047"/>
                  <a:gd name="connsiteY3" fmla="*/ 26739 h 37762"/>
                  <a:gd name="connsiteX4" fmla="*/ 18259 w 36047"/>
                  <a:gd name="connsiteY4" fmla="*/ 32335 h 37762"/>
                  <a:gd name="connsiteX5" fmla="*/ 20275 w 36047"/>
                  <a:gd name="connsiteY5" fmla="*/ 26286 h 37762"/>
                  <a:gd name="connsiteX6" fmla="*/ 29320 w 36047"/>
                  <a:gd name="connsiteY6" fmla="*/ 0 h 37762"/>
                  <a:gd name="connsiteX7" fmla="*/ 36047 w 36047"/>
                  <a:gd name="connsiteY7" fmla="*/ 0 h 37762"/>
                  <a:gd name="connsiteX8" fmla="*/ 36047 w 36047"/>
                  <a:gd name="connsiteY8" fmla="*/ 37762 h 37762"/>
                  <a:gd name="connsiteX9" fmla="*/ 31223 w 36047"/>
                  <a:gd name="connsiteY9" fmla="*/ 37762 h 37762"/>
                  <a:gd name="connsiteX10" fmla="*/ 31223 w 36047"/>
                  <a:gd name="connsiteY10" fmla="*/ 6143 h 37762"/>
                  <a:gd name="connsiteX11" fmla="*/ 20257 w 36047"/>
                  <a:gd name="connsiteY11" fmla="*/ 37762 h 37762"/>
                  <a:gd name="connsiteX12" fmla="*/ 15753 w 36047"/>
                  <a:gd name="connsiteY12" fmla="*/ 37762 h 37762"/>
                  <a:gd name="connsiteX13" fmla="*/ 4824 w 36047"/>
                  <a:gd name="connsiteY13" fmla="*/ 5615 h 37762"/>
                  <a:gd name="connsiteX14" fmla="*/ 4824 w 36047"/>
                  <a:gd name="connsiteY14" fmla="*/ 37762 h 37762"/>
                  <a:gd name="connsiteX15" fmla="*/ 0 w 36047"/>
                  <a:gd name="connsiteY15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6047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7518" y="0"/>
                    </a:lnTo>
                    <a:lnTo>
                      <a:pt x="16450" y="26739"/>
                    </a:lnTo>
                    <a:cubicBezTo>
                      <a:pt x="17279" y="29226"/>
                      <a:pt x="17882" y="31092"/>
                      <a:pt x="18259" y="32335"/>
                    </a:cubicBezTo>
                    <a:cubicBezTo>
                      <a:pt x="18693" y="30960"/>
                      <a:pt x="19352" y="28943"/>
                      <a:pt x="20275" y="26286"/>
                    </a:cubicBezTo>
                    <a:lnTo>
                      <a:pt x="29320" y="0"/>
                    </a:lnTo>
                    <a:lnTo>
                      <a:pt x="36047" y="0"/>
                    </a:lnTo>
                    <a:lnTo>
                      <a:pt x="36047" y="37762"/>
                    </a:lnTo>
                    <a:lnTo>
                      <a:pt x="31223" y="37762"/>
                    </a:lnTo>
                    <a:lnTo>
                      <a:pt x="31223" y="6143"/>
                    </a:lnTo>
                    <a:lnTo>
                      <a:pt x="20257" y="37762"/>
                    </a:lnTo>
                    <a:lnTo>
                      <a:pt x="15753" y="37762"/>
                    </a:lnTo>
                    <a:lnTo>
                      <a:pt x="4824" y="5615"/>
                    </a:lnTo>
                    <a:lnTo>
                      <a:pt x="4824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84" name="Freihandform: Form 3383">
                <a:extLst>
                  <a:ext uri="{FF2B5EF4-FFF2-40B4-BE49-F238E27FC236}">
                    <a16:creationId xmlns:a16="http://schemas.microsoft.com/office/drawing/2014/main" id="{FFBDB317-1873-4D72-078F-E885FCC13BEE}"/>
                  </a:ext>
                </a:extLst>
              </p:cNvPr>
              <p:cNvSpPr/>
              <p:nvPr/>
            </p:nvSpPr>
            <p:spPr>
              <a:xfrm>
                <a:off x="3709342" y="1758997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1 h 37762"/>
                  <a:gd name="connsiteX7" fmla="*/ 4636 w 4635"/>
                  <a:gd name="connsiteY7" fmla="*/ 10401 h 37762"/>
                  <a:gd name="connsiteX8" fmla="*/ 4636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1"/>
                    </a:lnTo>
                    <a:lnTo>
                      <a:pt x="4636" y="10401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85" name="Freihandform: Form 3384">
                <a:extLst>
                  <a:ext uri="{FF2B5EF4-FFF2-40B4-BE49-F238E27FC236}">
                    <a16:creationId xmlns:a16="http://schemas.microsoft.com/office/drawing/2014/main" id="{470FA6A7-E5DC-8153-1406-0A082D01C4A3}"/>
                  </a:ext>
                </a:extLst>
              </p:cNvPr>
              <p:cNvSpPr/>
              <p:nvPr/>
            </p:nvSpPr>
            <p:spPr>
              <a:xfrm>
                <a:off x="3721025" y="1768777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218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2" y="7179"/>
                      <a:pt x="4636" y="9553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86" name="Freihandform: Form 3385">
                <a:extLst>
                  <a:ext uri="{FF2B5EF4-FFF2-40B4-BE49-F238E27FC236}">
                    <a16:creationId xmlns:a16="http://schemas.microsoft.com/office/drawing/2014/main" id="{BEB8E0F9-805E-9202-B939-78FA89A13D57}"/>
                  </a:ext>
                </a:extLst>
              </p:cNvPr>
              <p:cNvSpPr/>
              <p:nvPr/>
            </p:nvSpPr>
            <p:spPr>
              <a:xfrm>
                <a:off x="3750365" y="1768777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218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1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87" name="Freihandform: Form 3386">
                <a:extLst>
                  <a:ext uri="{FF2B5EF4-FFF2-40B4-BE49-F238E27FC236}">
                    <a16:creationId xmlns:a16="http://schemas.microsoft.com/office/drawing/2014/main" id="{ECE7650F-D45F-A86E-D4E8-ADA82343173A}"/>
                  </a:ext>
                </a:extLst>
              </p:cNvPr>
              <p:cNvSpPr/>
              <p:nvPr/>
            </p:nvSpPr>
            <p:spPr>
              <a:xfrm>
                <a:off x="3778159" y="1768777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25" y="27813"/>
                      <a:pt x="16224" y="28585"/>
                      <a:pt x="13040" y="28585"/>
                    </a:cubicBezTo>
                    <a:cubicBezTo>
                      <a:pt x="9045" y="28585"/>
                      <a:pt x="5860" y="27360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4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69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49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88" name="Freihandform: Form 3387">
                <a:extLst>
                  <a:ext uri="{FF2B5EF4-FFF2-40B4-BE49-F238E27FC236}">
                    <a16:creationId xmlns:a16="http://schemas.microsoft.com/office/drawing/2014/main" id="{658C16F3-F25C-A75A-7A46-33477059DEBD}"/>
                  </a:ext>
                </a:extLst>
              </p:cNvPr>
              <p:cNvSpPr/>
              <p:nvPr/>
            </p:nvSpPr>
            <p:spPr>
              <a:xfrm>
                <a:off x="3807479" y="1768758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80" y="27002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89" name="Freihandform: Form 3388">
                <a:extLst>
                  <a:ext uri="{FF2B5EF4-FFF2-40B4-BE49-F238E27FC236}">
                    <a16:creationId xmlns:a16="http://schemas.microsoft.com/office/drawing/2014/main" id="{C53B0F72-526B-9160-86E8-F56CB8ED011A}"/>
                  </a:ext>
                </a:extLst>
              </p:cNvPr>
              <p:cNvSpPr/>
              <p:nvPr/>
            </p:nvSpPr>
            <p:spPr>
              <a:xfrm>
                <a:off x="3838382" y="1768795"/>
                <a:ext cx="23761" cy="38459"/>
              </a:xfrm>
              <a:custGeom>
                <a:avLst/>
                <a:gdLst>
                  <a:gd name="connsiteX0" fmla="*/ 19 w 23761"/>
                  <a:gd name="connsiteY0" fmla="*/ 38441 h 38459"/>
                  <a:gd name="connsiteX1" fmla="*/ 19 w 23761"/>
                  <a:gd name="connsiteY1" fmla="*/ 603 h 38459"/>
                  <a:gd name="connsiteX2" fmla="*/ 4240 w 23761"/>
                  <a:gd name="connsiteY2" fmla="*/ 603 h 38459"/>
                  <a:gd name="connsiteX3" fmla="*/ 4240 w 23761"/>
                  <a:gd name="connsiteY3" fmla="*/ 4164 h 38459"/>
                  <a:gd name="connsiteX4" fmla="*/ 7613 w 23761"/>
                  <a:gd name="connsiteY4" fmla="*/ 1036 h 38459"/>
                  <a:gd name="connsiteX5" fmla="*/ 12173 w 23761"/>
                  <a:gd name="connsiteY5" fmla="*/ 0 h 38459"/>
                  <a:gd name="connsiteX6" fmla="*/ 18354 w 23761"/>
                  <a:gd name="connsiteY6" fmla="*/ 1809 h 38459"/>
                  <a:gd name="connsiteX7" fmla="*/ 22405 w 23761"/>
                  <a:gd name="connsiteY7" fmla="*/ 6897 h 38459"/>
                  <a:gd name="connsiteX8" fmla="*/ 23762 w 23761"/>
                  <a:gd name="connsiteY8" fmla="*/ 14095 h 38459"/>
                  <a:gd name="connsiteX9" fmla="*/ 22254 w 23761"/>
                  <a:gd name="connsiteY9" fmla="*/ 21651 h 38459"/>
                  <a:gd name="connsiteX10" fmla="*/ 17882 w 23761"/>
                  <a:gd name="connsiteY10" fmla="*/ 26795 h 38459"/>
                  <a:gd name="connsiteX11" fmla="*/ 11834 w 23761"/>
                  <a:gd name="connsiteY11" fmla="*/ 28585 h 38459"/>
                  <a:gd name="connsiteX12" fmla="*/ 7669 w 23761"/>
                  <a:gd name="connsiteY12" fmla="*/ 27606 h 38459"/>
                  <a:gd name="connsiteX13" fmla="*/ 4636 w 23761"/>
                  <a:gd name="connsiteY13" fmla="*/ 25137 h 38459"/>
                  <a:gd name="connsiteX14" fmla="*/ 4636 w 23761"/>
                  <a:gd name="connsiteY14" fmla="*/ 38459 h 38459"/>
                  <a:gd name="connsiteX15" fmla="*/ 0 w 23761"/>
                  <a:gd name="connsiteY15" fmla="*/ 38459 h 38459"/>
                  <a:gd name="connsiteX16" fmla="*/ 4221 w 23761"/>
                  <a:gd name="connsiteY16" fmla="*/ 14434 h 38459"/>
                  <a:gd name="connsiteX17" fmla="*/ 6350 w 23761"/>
                  <a:gd name="connsiteY17" fmla="*/ 22235 h 38459"/>
                  <a:gd name="connsiteX18" fmla="*/ 11532 w 23761"/>
                  <a:gd name="connsiteY18" fmla="*/ 24760 h 38459"/>
                  <a:gd name="connsiteX19" fmla="*/ 16827 w 23761"/>
                  <a:gd name="connsiteY19" fmla="*/ 22141 h 38459"/>
                  <a:gd name="connsiteX20" fmla="*/ 19032 w 23761"/>
                  <a:gd name="connsiteY20" fmla="*/ 14038 h 38459"/>
                  <a:gd name="connsiteX21" fmla="*/ 16884 w 23761"/>
                  <a:gd name="connsiteY21" fmla="*/ 6200 h 38459"/>
                  <a:gd name="connsiteX22" fmla="*/ 11740 w 23761"/>
                  <a:gd name="connsiteY22" fmla="*/ 3599 h 38459"/>
                  <a:gd name="connsiteX23" fmla="*/ 6501 w 23761"/>
                  <a:gd name="connsiteY23" fmla="*/ 6369 h 38459"/>
                  <a:gd name="connsiteX24" fmla="*/ 4221 w 23761"/>
                  <a:gd name="connsiteY24" fmla="*/ 14415 h 38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3761" h="38459">
                    <a:moveTo>
                      <a:pt x="19" y="38441"/>
                    </a:moveTo>
                    <a:lnTo>
                      <a:pt x="19" y="603"/>
                    </a:lnTo>
                    <a:lnTo>
                      <a:pt x="4240" y="603"/>
                    </a:lnTo>
                    <a:lnTo>
                      <a:pt x="4240" y="4164"/>
                    </a:lnTo>
                    <a:cubicBezTo>
                      <a:pt x="5239" y="2770"/>
                      <a:pt x="6369" y="1734"/>
                      <a:pt x="7613" y="1036"/>
                    </a:cubicBezTo>
                    <a:cubicBezTo>
                      <a:pt x="8856" y="339"/>
                      <a:pt x="10383" y="0"/>
                      <a:pt x="12173" y="0"/>
                    </a:cubicBezTo>
                    <a:cubicBezTo>
                      <a:pt x="14509" y="0"/>
                      <a:pt x="16563" y="603"/>
                      <a:pt x="18354" y="1809"/>
                    </a:cubicBezTo>
                    <a:cubicBezTo>
                      <a:pt x="20144" y="3015"/>
                      <a:pt x="21481" y="4711"/>
                      <a:pt x="22405" y="6897"/>
                    </a:cubicBezTo>
                    <a:cubicBezTo>
                      <a:pt x="23328" y="9083"/>
                      <a:pt x="23762" y="11495"/>
                      <a:pt x="23762" y="14095"/>
                    </a:cubicBezTo>
                    <a:cubicBezTo>
                      <a:pt x="23762" y="16903"/>
                      <a:pt x="23253" y="19409"/>
                      <a:pt x="22254" y="21651"/>
                    </a:cubicBezTo>
                    <a:cubicBezTo>
                      <a:pt x="21255" y="23893"/>
                      <a:pt x="19786" y="25608"/>
                      <a:pt x="17882" y="26795"/>
                    </a:cubicBezTo>
                    <a:cubicBezTo>
                      <a:pt x="15979" y="27982"/>
                      <a:pt x="13963" y="28585"/>
                      <a:pt x="11834" y="28585"/>
                    </a:cubicBezTo>
                    <a:cubicBezTo>
                      <a:pt x="10289" y="28585"/>
                      <a:pt x="8894" y="28265"/>
                      <a:pt x="7669" y="27606"/>
                    </a:cubicBezTo>
                    <a:cubicBezTo>
                      <a:pt x="6445" y="26946"/>
                      <a:pt x="5427" y="26136"/>
                      <a:pt x="4636" y="25137"/>
                    </a:cubicBezTo>
                    <a:lnTo>
                      <a:pt x="4636" y="38459"/>
                    </a:lnTo>
                    <a:lnTo>
                      <a:pt x="0" y="38459"/>
                    </a:lnTo>
                    <a:close/>
                    <a:moveTo>
                      <a:pt x="4221" y="14434"/>
                    </a:moveTo>
                    <a:cubicBezTo>
                      <a:pt x="4221" y="17958"/>
                      <a:pt x="4937" y="20558"/>
                      <a:pt x="6350" y="22235"/>
                    </a:cubicBezTo>
                    <a:cubicBezTo>
                      <a:pt x="7764" y="23912"/>
                      <a:pt x="9497" y="24760"/>
                      <a:pt x="11532" y="24760"/>
                    </a:cubicBezTo>
                    <a:cubicBezTo>
                      <a:pt x="13567" y="24760"/>
                      <a:pt x="15357" y="23893"/>
                      <a:pt x="16827" y="22141"/>
                    </a:cubicBezTo>
                    <a:cubicBezTo>
                      <a:pt x="18297" y="20389"/>
                      <a:pt x="19032" y="17694"/>
                      <a:pt x="19032" y="14038"/>
                    </a:cubicBezTo>
                    <a:cubicBezTo>
                      <a:pt x="19032" y="10383"/>
                      <a:pt x="18316" y="7933"/>
                      <a:pt x="16884" y="6200"/>
                    </a:cubicBezTo>
                    <a:cubicBezTo>
                      <a:pt x="15452" y="4466"/>
                      <a:pt x="13737" y="3599"/>
                      <a:pt x="11740" y="3599"/>
                    </a:cubicBezTo>
                    <a:cubicBezTo>
                      <a:pt x="9742" y="3599"/>
                      <a:pt x="8008" y="4522"/>
                      <a:pt x="6501" y="6369"/>
                    </a:cubicBezTo>
                    <a:cubicBezTo>
                      <a:pt x="4994" y="8216"/>
                      <a:pt x="4221" y="10892"/>
                      <a:pt x="4221" y="14415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90" name="Freihandform: Form 3389">
                <a:extLst>
                  <a:ext uri="{FF2B5EF4-FFF2-40B4-BE49-F238E27FC236}">
                    <a16:creationId xmlns:a16="http://schemas.microsoft.com/office/drawing/2014/main" id="{50EA846D-A3A3-363D-A3BA-13310BF1AA93}"/>
                  </a:ext>
                </a:extLst>
              </p:cNvPr>
              <p:cNvSpPr/>
              <p:nvPr/>
            </p:nvSpPr>
            <p:spPr>
              <a:xfrm>
                <a:off x="3866006" y="1768795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40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58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43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912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72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91" name="Freihandform: Form 3390">
                <a:extLst>
                  <a:ext uri="{FF2B5EF4-FFF2-40B4-BE49-F238E27FC236}">
                    <a16:creationId xmlns:a16="http://schemas.microsoft.com/office/drawing/2014/main" id="{C772B807-E408-C768-44D9-BE3C10AA365E}"/>
                  </a:ext>
                </a:extLst>
              </p:cNvPr>
              <p:cNvSpPr/>
              <p:nvPr/>
            </p:nvSpPr>
            <p:spPr>
              <a:xfrm>
                <a:off x="3896985" y="1758997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92" name="Freihandform: Form 3391">
                <a:extLst>
                  <a:ext uri="{FF2B5EF4-FFF2-40B4-BE49-F238E27FC236}">
                    <a16:creationId xmlns:a16="http://schemas.microsoft.com/office/drawing/2014/main" id="{54D4625A-8CF4-A466-E053-172C7FF9227E}"/>
                  </a:ext>
                </a:extLst>
              </p:cNvPr>
              <p:cNvSpPr/>
              <p:nvPr/>
            </p:nvSpPr>
            <p:spPr>
              <a:xfrm>
                <a:off x="3908837" y="1758997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1 h 37762"/>
                  <a:gd name="connsiteX7" fmla="*/ 4636 w 4635"/>
                  <a:gd name="connsiteY7" fmla="*/ 10401 h 37762"/>
                  <a:gd name="connsiteX8" fmla="*/ 4636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1"/>
                    </a:lnTo>
                    <a:lnTo>
                      <a:pt x="4636" y="10401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93" name="Freihandform: Form 3392">
                <a:extLst>
                  <a:ext uri="{FF2B5EF4-FFF2-40B4-BE49-F238E27FC236}">
                    <a16:creationId xmlns:a16="http://schemas.microsoft.com/office/drawing/2014/main" id="{41D1FBBA-1D67-B688-BD37-F4F9EF2C1DEB}"/>
                  </a:ext>
                </a:extLst>
              </p:cNvPr>
              <p:cNvSpPr/>
              <p:nvPr/>
            </p:nvSpPr>
            <p:spPr>
              <a:xfrm>
                <a:off x="3918674" y="1768814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2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3 w 22725"/>
                  <a:gd name="connsiteY10" fmla="*/ 7877 h 28585"/>
                  <a:gd name="connsiteX11" fmla="*/ 1602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7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30 h 28585"/>
                  <a:gd name="connsiteX17" fmla="*/ 21707 w 22725"/>
                  <a:gd name="connsiteY17" fmla="*/ 7669 h 28585"/>
                  <a:gd name="connsiteX18" fmla="*/ 17166 w 22725"/>
                  <a:gd name="connsiteY18" fmla="*/ 8291 h 28585"/>
                  <a:gd name="connsiteX19" fmla="*/ 15376 w 22725"/>
                  <a:gd name="connsiteY19" fmla="*/ 4994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1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30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8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0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5" y="18542"/>
                      <a:pt x="16601" y="17939"/>
                    </a:cubicBezTo>
                    <a:cubicBezTo>
                      <a:pt x="15960" y="17524"/>
                      <a:pt x="14378" y="16997"/>
                      <a:pt x="11852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8" y="12663"/>
                      <a:pt x="1790" y="11551"/>
                    </a:cubicBezTo>
                    <a:cubicBezTo>
                      <a:pt x="1112" y="10439"/>
                      <a:pt x="773" y="9214"/>
                      <a:pt x="773" y="7877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48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7"/>
                    </a:cubicBezTo>
                    <a:cubicBezTo>
                      <a:pt x="8103" y="170"/>
                      <a:pt x="9422" y="0"/>
                      <a:pt x="10854" y="0"/>
                    </a:cubicBezTo>
                    <a:cubicBezTo>
                      <a:pt x="13002" y="0"/>
                      <a:pt x="14886" y="302"/>
                      <a:pt x="16507" y="923"/>
                    </a:cubicBezTo>
                    <a:cubicBezTo>
                      <a:pt x="18127" y="1545"/>
                      <a:pt x="19333" y="2374"/>
                      <a:pt x="20106" y="3430"/>
                    </a:cubicBezTo>
                    <a:cubicBezTo>
                      <a:pt x="20878" y="4485"/>
                      <a:pt x="21406" y="5898"/>
                      <a:pt x="21707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4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1" y="8951"/>
                    </a:cubicBezTo>
                    <a:cubicBezTo>
                      <a:pt x="6218" y="9441"/>
                      <a:pt x="6802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1" y="12248"/>
                      <a:pt x="17279" y="12983"/>
                      <a:pt x="18561" y="13530"/>
                    </a:cubicBezTo>
                    <a:cubicBezTo>
                      <a:pt x="19842" y="14076"/>
                      <a:pt x="20878" y="14905"/>
                      <a:pt x="21613" y="15960"/>
                    </a:cubicBezTo>
                    <a:cubicBezTo>
                      <a:pt x="22348" y="17016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46" y="27851"/>
                      <a:pt x="3580" y="26362"/>
                    </a:cubicBezTo>
                    <a:cubicBezTo>
                      <a:pt x="1715" y="24873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71" name="Grafik 21">
              <a:extLst>
                <a:ext uri="{FF2B5EF4-FFF2-40B4-BE49-F238E27FC236}">
                  <a16:creationId xmlns:a16="http://schemas.microsoft.com/office/drawing/2014/main" id="{FD4F61BE-42F2-811D-CFE8-BFB5FEC4BE6B}"/>
                </a:ext>
              </a:extLst>
            </p:cNvPr>
            <p:cNvGrpSpPr/>
            <p:nvPr/>
          </p:nvGrpSpPr>
          <p:grpSpPr>
            <a:xfrm>
              <a:off x="3364415" y="2171667"/>
              <a:ext cx="79161" cy="38402"/>
              <a:chOff x="3364415" y="2171667"/>
              <a:chExt cx="79161" cy="38402"/>
            </a:xfrm>
            <a:solidFill>
              <a:srgbClr val="000000"/>
            </a:solidFill>
          </p:grpSpPr>
          <p:sp>
            <p:nvSpPr>
              <p:cNvPr id="3380" name="Freihandform: Form 3379">
                <a:extLst>
                  <a:ext uri="{FF2B5EF4-FFF2-40B4-BE49-F238E27FC236}">
                    <a16:creationId xmlns:a16="http://schemas.microsoft.com/office/drawing/2014/main" id="{265929C3-1645-6D28-540B-748D3EE8DAC7}"/>
                  </a:ext>
                </a:extLst>
              </p:cNvPr>
              <p:cNvSpPr/>
              <p:nvPr/>
            </p:nvSpPr>
            <p:spPr>
              <a:xfrm>
                <a:off x="3364415" y="2171667"/>
                <a:ext cx="23591" cy="37780"/>
              </a:xfrm>
              <a:custGeom>
                <a:avLst/>
                <a:gdLst>
                  <a:gd name="connsiteX0" fmla="*/ 0 w 23591"/>
                  <a:gd name="connsiteY0" fmla="*/ 37762 h 37780"/>
                  <a:gd name="connsiteX1" fmla="*/ 0 w 23591"/>
                  <a:gd name="connsiteY1" fmla="*/ 0 h 37780"/>
                  <a:gd name="connsiteX2" fmla="*/ 4994 w 23591"/>
                  <a:gd name="connsiteY2" fmla="*/ 0 h 37780"/>
                  <a:gd name="connsiteX3" fmla="*/ 4994 w 23591"/>
                  <a:gd name="connsiteY3" fmla="*/ 33315 h 37780"/>
                  <a:gd name="connsiteX4" fmla="*/ 23592 w 23591"/>
                  <a:gd name="connsiteY4" fmla="*/ 33315 h 37780"/>
                  <a:gd name="connsiteX5" fmla="*/ 23592 w 23591"/>
                  <a:gd name="connsiteY5" fmla="*/ 37781 h 37780"/>
                  <a:gd name="connsiteX6" fmla="*/ 0 w 23591"/>
                  <a:gd name="connsiteY6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91" h="37780">
                    <a:moveTo>
                      <a:pt x="0" y="37762"/>
                    </a:moveTo>
                    <a:lnTo>
                      <a:pt x="0" y="0"/>
                    </a:lnTo>
                    <a:lnTo>
                      <a:pt x="4994" y="0"/>
                    </a:lnTo>
                    <a:lnTo>
                      <a:pt x="4994" y="33315"/>
                    </a:lnTo>
                    <a:lnTo>
                      <a:pt x="23592" y="33315"/>
                    </a:lnTo>
                    <a:lnTo>
                      <a:pt x="23592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81" name="Freihandform: Form 3380">
                <a:extLst>
                  <a:ext uri="{FF2B5EF4-FFF2-40B4-BE49-F238E27FC236}">
                    <a16:creationId xmlns:a16="http://schemas.microsoft.com/office/drawing/2014/main" id="{B78A01E7-0344-029E-B08F-FA3DD33E19C0}"/>
                  </a:ext>
                </a:extLst>
              </p:cNvPr>
              <p:cNvSpPr/>
              <p:nvPr/>
            </p:nvSpPr>
            <p:spPr>
              <a:xfrm>
                <a:off x="3391794" y="2181428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1 w 25193"/>
                  <a:gd name="connsiteY11" fmla="*/ 5408 h 28623"/>
                  <a:gd name="connsiteX12" fmla="*/ 12474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6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80" y="27002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82" name="Freihandform: Form 3381">
                <a:extLst>
                  <a:ext uri="{FF2B5EF4-FFF2-40B4-BE49-F238E27FC236}">
                    <a16:creationId xmlns:a16="http://schemas.microsoft.com/office/drawing/2014/main" id="{9EFAD6D3-B1FB-9FB0-454F-53A8092513DA}"/>
                  </a:ext>
                </a:extLst>
              </p:cNvPr>
              <p:cNvSpPr/>
              <p:nvPr/>
            </p:nvSpPr>
            <p:spPr>
              <a:xfrm>
                <a:off x="3420850" y="2181484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2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3 w 22725"/>
                  <a:gd name="connsiteY10" fmla="*/ 7877 h 28585"/>
                  <a:gd name="connsiteX11" fmla="*/ 1602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7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30 h 28585"/>
                  <a:gd name="connsiteX17" fmla="*/ 21707 w 22725"/>
                  <a:gd name="connsiteY17" fmla="*/ 7669 h 28585"/>
                  <a:gd name="connsiteX18" fmla="*/ 17166 w 22725"/>
                  <a:gd name="connsiteY18" fmla="*/ 8291 h 28585"/>
                  <a:gd name="connsiteX19" fmla="*/ 15376 w 22725"/>
                  <a:gd name="connsiteY19" fmla="*/ 4994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1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30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8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0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5" y="18542"/>
                      <a:pt x="16601" y="17939"/>
                    </a:cubicBezTo>
                    <a:cubicBezTo>
                      <a:pt x="15960" y="17524"/>
                      <a:pt x="14378" y="16997"/>
                      <a:pt x="11852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8" y="12663"/>
                      <a:pt x="1790" y="11551"/>
                    </a:cubicBezTo>
                    <a:cubicBezTo>
                      <a:pt x="1112" y="10439"/>
                      <a:pt x="773" y="9214"/>
                      <a:pt x="773" y="7877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48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7"/>
                    </a:cubicBezTo>
                    <a:cubicBezTo>
                      <a:pt x="8103" y="170"/>
                      <a:pt x="9422" y="0"/>
                      <a:pt x="10854" y="0"/>
                    </a:cubicBezTo>
                    <a:cubicBezTo>
                      <a:pt x="13002" y="0"/>
                      <a:pt x="14886" y="302"/>
                      <a:pt x="16507" y="923"/>
                    </a:cubicBezTo>
                    <a:cubicBezTo>
                      <a:pt x="18127" y="1545"/>
                      <a:pt x="19333" y="2374"/>
                      <a:pt x="20106" y="3430"/>
                    </a:cubicBezTo>
                    <a:cubicBezTo>
                      <a:pt x="20878" y="4485"/>
                      <a:pt x="21406" y="5898"/>
                      <a:pt x="21707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4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1" y="8951"/>
                    </a:cubicBezTo>
                    <a:cubicBezTo>
                      <a:pt x="6218" y="9441"/>
                      <a:pt x="6802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1" y="12248"/>
                      <a:pt x="17279" y="12983"/>
                      <a:pt x="18561" y="13530"/>
                    </a:cubicBezTo>
                    <a:cubicBezTo>
                      <a:pt x="19842" y="14076"/>
                      <a:pt x="20878" y="14905"/>
                      <a:pt x="21613" y="15960"/>
                    </a:cubicBezTo>
                    <a:cubicBezTo>
                      <a:pt x="22348" y="17016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46" y="27851"/>
                      <a:pt x="3580" y="26362"/>
                    </a:cubicBezTo>
                    <a:cubicBezTo>
                      <a:pt x="1715" y="24873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72" name="Grafik 21">
              <a:extLst>
                <a:ext uri="{FF2B5EF4-FFF2-40B4-BE49-F238E27FC236}">
                  <a16:creationId xmlns:a16="http://schemas.microsoft.com/office/drawing/2014/main" id="{AB7FD7D9-864E-52B6-9881-251568AE36F9}"/>
                </a:ext>
              </a:extLst>
            </p:cNvPr>
            <p:cNvGrpSpPr/>
            <p:nvPr/>
          </p:nvGrpSpPr>
          <p:grpSpPr>
            <a:xfrm>
              <a:off x="3459008" y="2171667"/>
              <a:ext cx="144434" cy="48898"/>
              <a:chOff x="3459008" y="2171667"/>
              <a:chExt cx="144434" cy="48898"/>
            </a:xfrm>
            <a:solidFill>
              <a:srgbClr val="000000"/>
            </a:solidFill>
          </p:grpSpPr>
          <p:sp>
            <p:nvSpPr>
              <p:cNvPr id="3375" name="Freihandform: Form 3374">
                <a:extLst>
                  <a:ext uri="{FF2B5EF4-FFF2-40B4-BE49-F238E27FC236}">
                    <a16:creationId xmlns:a16="http://schemas.microsoft.com/office/drawing/2014/main" id="{A8DE429B-7CD4-CE5E-E383-CD46B57B4CE5}"/>
                  </a:ext>
                </a:extLst>
              </p:cNvPr>
              <p:cNvSpPr/>
              <p:nvPr/>
            </p:nvSpPr>
            <p:spPr>
              <a:xfrm>
                <a:off x="3459008" y="2171667"/>
                <a:ext cx="34539" cy="37762"/>
              </a:xfrm>
              <a:custGeom>
                <a:avLst/>
                <a:gdLst>
                  <a:gd name="connsiteX0" fmla="*/ 14641 w 34539"/>
                  <a:gd name="connsiteY0" fmla="*/ 37762 h 37762"/>
                  <a:gd name="connsiteX1" fmla="*/ 0 w 34539"/>
                  <a:gd name="connsiteY1" fmla="*/ 0 h 37762"/>
                  <a:gd name="connsiteX2" fmla="*/ 5408 w 34539"/>
                  <a:gd name="connsiteY2" fmla="*/ 0 h 37762"/>
                  <a:gd name="connsiteX3" fmla="*/ 15225 w 34539"/>
                  <a:gd name="connsiteY3" fmla="*/ 27436 h 37762"/>
                  <a:gd name="connsiteX4" fmla="*/ 17204 w 34539"/>
                  <a:gd name="connsiteY4" fmla="*/ 33617 h 37762"/>
                  <a:gd name="connsiteX5" fmla="*/ 19239 w 34539"/>
                  <a:gd name="connsiteY5" fmla="*/ 27436 h 37762"/>
                  <a:gd name="connsiteX6" fmla="*/ 29433 w 34539"/>
                  <a:gd name="connsiteY6" fmla="*/ 0 h 37762"/>
                  <a:gd name="connsiteX7" fmla="*/ 34540 w 34539"/>
                  <a:gd name="connsiteY7" fmla="*/ 0 h 37762"/>
                  <a:gd name="connsiteX8" fmla="*/ 19748 w 34539"/>
                  <a:gd name="connsiteY8" fmla="*/ 37762 h 37762"/>
                  <a:gd name="connsiteX9" fmla="*/ 14622 w 34539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39" h="37762">
                    <a:moveTo>
                      <a:pt x="14641" y="37762"/>
                    </a:moveTo>
                    <a:lnTo>
                      <a:pt x="0" y="0"/>
                    </a:lnTo>
                    <a:lnTo>
                      <a:pt x="5408" y="0"/>
                    </a:lnTo>
                    <a:lnTo>
                      <a:pt x="15225" y="27436"/>
                    </a:lnTo>
                    <a:cubicBezTo>
                      <a:pt x="16017" y="29641"/>
                      <a:pt x="16676" y="31695"/>
                      <a:pt x="17204" y="33617"/>
                    </a:cubicBezTo>
                    <a:cubicBezTo>
                      <a:pt x="17788" y="31563"/>
                      <a:pt x="18466" y="29490"/>
                      <a:pt x="19239" y="27436"/>
                    </a:cubicBezTo>
                    <a:lnTo>
                      <a:pt x="29433" y="0"/>
                    </a:lnTo>
                    <a:lnTo>
                      <a:pt x="34540" y="0"/>
                    </a:lnTo>
                    <a:lnTo>
                      <a:pt x="19748" y="37762"/>
                    </a:lnTo>
                    <a:lnTo>
                      <a:pt x="14622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76" name="Freihandform: Form 3375">
                <a:extLst>
                  <a:ext uri="{FF2B5EF4-FFF2-40B4-BE49-F238E27FC236}">
                    <a16:creationId xmlns:a16="http://schemas.microsoft.com/office/drawing/2014/main" id="{1BA5EFDC-4E3F-2137-7D8E-5D636EA24C26}"/>
                  </a:ext>
                </a:extLst>
              </p:cNvPr>
              <p:cNvSpPr/>
              <p:nvPr/>
            </p:nvSpPr>
            <p:spPr>
              <a:xfrm>
                <a:off x="3492983" y="2181446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0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77" name="Freihandform: Form 3376">
                <a:extLst>
                  <a:ext uri="{FF2B5EF4-FFF2-40B4-BE49-F238E27FC236}">
                    <a16:creationId xmlns:a16="http://schemas.microsoft.com/office/drawing/2014/main" id="{56F7B41A-8CEB-F85C-F3DC-C17E2A7DF23D}"/>
                  </a:ext>
                </a:extLst>
              </p:cNvPr>
              <p:cNvSpPr/>
              <p:nvPr/>
            </p:nvSpPr>
            <p:spPr>
              <a:xfrm>
                <a:off x="3522115" y="2181465"/>
                <a:ext cx="24119" cy="39099"/>
              </a:xfrm>
              <a:custGeom>
                <a:avLst/>
                <a:gdLst>
                  <a:gd name="connsiteX0" fmla="*/ 923 w 24119"/>
                  <a:gd name="connsiteY0" fmla="*/ 30225 h 39099"/>
                  <a:gd name="connsiteX1" fmla="*/ 5427 w 24119"/>
                  <a:gd name="connsiteY1" fmla="*/ 30903 h 39099"/>
                  <a:gd name="connsiteX2" fmla="*/ 6991 w 24119"/>
                  <a:gd name="connsiteY2" fmla="*/ 33937 h 39099"/>
                  <a:gd name="connsiteX3" fmla="*/ 11702 w 24119"/>
                  <a:gd name="connsiteY3" fmla="*/ 35218 h 39099"/>
                  <a:gd name="connsiteX4" fmla="*/ 16676 w 24119"/>
                  <a:gd name="connsiteY4" fmla="*/ 33937 h 39099"/>
                  <a:gd name="connsiteX5" fmla="*/ 19051 w 24119"/>
                  <a:gd name="connsiteY5" fmla="*/ 30338 h 39099"/>
                  <a:gd name="connsiteX6" fmla="*/ 19390 w 24119"/>
                  <a:gd name="connsiteY6" fmla="*/ 24383 h 39099"/>
                  <a:gd name="connsiteX7" fmla="*/ 11815 w 24119"/>
                  <a:gd name="connsiteY7" fmla="*/ 27964 h 39099"/>
                  <a:gd name="connsiteX8" fmla="*/ 3090 w 24119"/>
                  <a:gd name="connsiteY8" fmla="*/ 23893 h 39099"/>
                  <a:gd name="connsiteX9" fmla="*/ 0 w 24119"/>
                  <a:gd name="connsiteY9" fmla="*/ 14133 h 39099"/>
                  <a:gd name="connsiteX10" fmla="*/ 1413 w 24119"/>
                  <a:gd name="connsiteY10" fmla="*/ 6916 h 39099"/>
                  <a:gd name="connsiteX11" fmla="*/ 5521 w 24119"/>
                  <a:gd name="connsiteY11" fmla="*/ 1809 h 39099"/>
                  <a:gd name="connsiteX12" fmla="*/ 11852 w 24119"/>
                  <a:gd name="connsiteY12" fmla="*/ 0 h 39099"/>
                  <a:gd name="connsiteX13" fmla="*/ 19842 w 24119"/>
                  <a:gd name="connsiteY13" fmla="*/ 3919 h 39099"/>
                  <a:gd name="connsiteX14" fmla="*/ 19842 w 24119"/>
                  <a:gd name="connsiteY14" fmla="*/ 622 h 39099"/>
                  <a:gd name="connsiteX15" fmla="*/ 24119 w 24119"/>
                  <a:gd name="connsiteY15" fmla="*/ 622 h 39099"/>
                  <a:gd name="connsiteX16" fmla="*/ 24119 w 24119"/>
                  <a:gd name="connsiteY16" fmla="*/ 24270 h 39099"/>
                  <a:gd name="connsiteX17" fmla="*/ 22819 w 24119"/>
                  <a:gd name="connsiteY17" fmla="*/ 33334 h 39099"/>
                  <a:gd name="connsiteX18" fmla="*/ 18693 w 24119"/>
                  <a:gd name="connsiteY18" fmla="*/ 37555 h 39099"/>
                  <a:gd name="connsiteX19" fmla="*/ 11758 w 24119"/>
                  <a:gd name="connsiteY19" fmla="*/ 39100 h 39099"/>
                  <a:gd name="connsiteX20" fmla="*/ 3844 w 24119"/>
                  <a:gd name="connsiteY20" fmla="*/ 36895 h 39099"/>
                  <a:gd name="connsiteX21" fmla="*/ 942 w 24119"/>
                  <a:gd name="connsiteY21" fmla="*/ 30262 h 39099"/>
                  <a:gd name="connsiteX22" fmla="*/ 4767 w 24119"/>
                  <a:gd name="connsiteY22" fmla="*/ 13793 h 39099"/>
                  <a:gd name="connsiteX23" fmla="*/ 6897 w 24119"/>
                  <a:gd name="connsiteY23" fmla="*/ 21651 h 39099"/>
                  <a:gd name="connsiteX24" fmla="*/ 12248 w 24119"/>
                  <a:gd name="connsiteY24" fmla="*/ 24120 h 39099"/>
                  <a:gd name="connsiteX25" fmla="*/ 17600 w 24119"/>
                  <a:gd name="connsiteY25" fmla="*/ 21651 h 39099"/>
                  <a:gd name="connsiteX26" fmla="*/ 19767 w 24119"/>
                  <a:gd name="connsiteY26" fmla="*/ 13944 h 39099"/>
                  <a:gd name="connsiteX27" fmla="*/ 17543 w 24119"/>
                  <a:gd name="connsiteY27" fmla="*/ 6369 h 39099"/>
                  <a:gd name="connsiteX28" fmla="*/ 12173 w 24119"/>
                  <a:gd name="connsiteY28" fmla="*/ 3825 h 39099"/>
                  <a:gd name="connsiteX29" fmla="*/ 6915 w 24119"/>
                  <a:gd name="connsiteY29" fmla="*/ 6331 h 39099"/>
                  <a:gd name="connsiteX30" fmla="*/ 4749 w 24119"/>
                  <a:gd name="connsiteY30" fmla="*/ 13793 h 39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19" h="39099">
                    <a:moveTo>
                      <a:pt x="923" y="30225"/>
                    </a:moveTo>
                    <a:lnTo>
                      <a:pt x="5427" y="30903"/>
                    </a:lnTo>
                    <a:cubicBezTo>
                      <a:pt x="5615" y="32298"/>
                      <a:pt x="6143" y="33315"/>
                      <a:pt x="6991" y="33937"/>
                    </a:cubicBezTo>
                    <a:cubicBezTo>
                      <a:pt x="8140" y="34804"/>
                      <a:pt x="9704" y="35218"/>
                      <a:pt x="11702" y="35218"/>
                    </a:cubicBezTo>
                    <a:cubicBezTo>
                      <a:pt x="13850" y="35218"/>
                      <a:pt x="15508" y="34785"/>
                      <a:pt x="16676" y="33937"/>
                    </a:cubicBezTo>
                    <a:cubicBezTo>
                      <a:pt x="17845" y="33070"/>
                      <a:pt x="18636" y="31883"/>
                      <a:pt x="19051" y="30338"/>
                    </a:cubicBezTo>
                    <a:cubicBezTo>
                      <a:pt x="19296" y="29396"/>
                      <a:pt x="19409" y="27417"/>
                      <a:pt x="19390" y="24383"/>
                    </a:cubicBezTo>
                    <a:cubicBezTo>
                      <a:pt x="17355" y="26776"/>
                      <a:pt x="14830" y="27964"/>
                      <a:pt x="11815" y="27964"/>
                    </a:cubicBezTo>
                    <a:cubicBezTo>
                      <a:pt x="8046" y="27964"/>
                      <a:pt x="5144" y="26607"/>
                      <a:pt x="3090" y="23893"/>
                    </a:cubicBezTo>
                    <a:cubicBezTo>
                      <a:pt x="1036" y="21180"/>
                      <a:pt x="0" y="17920"/>
                      <a:pt x="0" y="14133"/>
                    </a:cubicBezTo>
                    <a:cubicBezTo>
                      <a:pt x="0" y="11513"/>
                      <a:pt x="471" y="9120"/>
                      <a:pt x="1413" y="6916"/>
                    </a:cubicBezTo>
                    <a:cubicBezTo>
                      <a:pt x="2355" y="4711"/>
                      <a:pt x="3731" y="2996"/>
                      <a:pt x="5521" y="1809"/>
                    </a:cubicBezTo>
                    <a:cubicBezTo>
                      <a:pt x="7311" y="603"/>
                      <a:pt x="9422" y="0"/>
                      <a:pt x="11852" y="0"/>
                    </a:cubicBezTo>
                    <a:cubicBezTo>
                      <a:pt x="15075" y="0"/>
                      <a:pt x="17750" y="1300"/>
                      <a:pt x="19842" y="3919"/>
                    </a:cubicBezTo>
                    <a:lnTo>
                      <a:pt x="19842" y="622"/>
                    </a:lnTo>
                    <a:lnTo>
                      <a:pt x="24119" y="622"/>
                    </a:lnTo>
                    <a:lnTo>
                      <a:pt x="24119" y="24270"/>
                    </a:lnTo>
                    <a:cubicBezTo>
                      <a:pt x="24119" y="28529"/>
                      <a:pt x="23686" y="31544"/>
                      <a:pt x="22819" y="33334"/>
                    </a:cubicBezTo>
                    <a:cubicBezTo>
                      <a:pt x="21953" y="35105"/>
                      <a:pt x="20577" y="36518"/>
                      <a:pt x="18693" y="37555"/>
                    </a:cubicBezTo>
                    <a:cubicBezTo>
                      <a:pt x="16808" y="38591"/>
                      <a:pt x="14491" y="39100"/>
                      <a:pt x="11758" y="39100"/>
                    </a:cubicBezTo>
                    <a:cubicBezTo>
                      <a:pt x="8498" y="39100"/>
                      <a:pt x="5860" y="38365"/>
                      <a:pt x="3844" y="36895"/>
                    </a:cubicBezTo>
                    <a:cubicBezTo>
                      <a:pt x="1828" y="35426"/>
                      <a:pt x="867" y="33221"/>
                      <a:pt x="942" y="30262"/>
                    </a:cubicBezTo>
                    <a:close/>
                    <a:moveTo>
                      <a:pt x="4767" y="13793"/>
                    </a:moveTo>
                    <a:cubicBezTo>
                      <a:pt x="4767" y="17393"/>
                      <a:pt x="5483" y="19993"/>
                      <a:pt x="6897" y="21651"/>
                    </a:cubicBezTo>
                    <a:cubicBezTo>
                      <a:pt x="8329" y="23309"/>
                      <a:pt x="10100" y="24120"/>
                      <a:pt x="12248" y="24120"/>
                    </a:cubicBezTo>
                    <a:cubicBezTo>
                      <a:pt x="14396" y="24120"/>
                      <a:pt x="16168" y="23290"/>
                      <a:pt x="17600" y="21651"/>
                    </a:cubicBezTo>
                    <a:cubicBezTo>
                      <a:pt x="19032" y="20012"/>
                      <a:pt x="19767" y="17430"/>
                      <a:pt x="19767" y="13944"/>
                    </a:cubicBezTo>
                    <a:cubicBezTo>
                      <a:pt x="19767" y="10458"/>
                      <a:pt x="19032" y="8065"/>
                      <a:pt x="17543" y="6369"/>
                    </a:cubicBezTo>
                    <a:cubicBezTo>
                      <a:pt x="16055" y="4673"/>
                      <a:pt x="14264" y="3825"/>
                      <a:pt x="12173" y="3825"/>
                    </a:cubicBezTo>
                    <a:cubicBezTo>
                      <a:pt x="10081" y="3825"/>
                      <a:pt x="8366" y="4654"/>
                      <a:pt x="6915" y="6331"/>
                    </a:cubicBezTo>
                    <a:cubicBezTo>
                      <a:pt x="5465" y="8008"/>
                      <a:pt x="4749" y="10496"/>
                      <a:pt x="4749" y="1379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78" name="Freihandform: Form 3377">
                <a:extLst>
                  <a:ext uri="{FF2B5EF4-FFF2-40B4-BE49-F238E27FC236}">
                    <a16:creationId xmlns:a16="http://schemas.microsoft.com/office/drawing/2014/main" id="{7BA4DB8A-22E4-7DE3-489D-9829E368A755}"/>
                  </a:ext>
                </a:extLst>
              </p:cNvPr>
              <p:cNvSpPr/>
              <p:nvPr/>
            </p:nvSpPr>
            <p:spPr>
              <a:xfrm>
                <a:off x="3551661" y="2181428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79" name="Freihandform: Form 3378">
                <a:extLst>
                  <a:ext uri="{FF2B5EF4-FFF2-40B4-BE49-F238E27FC236}">
                    <a16:creationId xmlns:a16="http://schemas.microsoft.com/office/drawing/2014/main" id="{4C0A134A-89D4-DDDC-796B-BAC0C9568C96}"/>
                  </a:ext>
                </a:extLst>
              </p:cNvPr>
              <p:cNvSpPr/>
              <p:nvPr/>
            </p:nvSpPr>
            <p:spPr>
              <a:xfrm>
                <a:off x="3580718" y="2181484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3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3 w 22725"/>
                  <a:gd name="connsiteY10" fmla="*/ 7877 h 28585"/>
                  <a:gd name="connsiteX11" fmla="*/ 1602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7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30 h 28585"/>
                  <a:gd name="connsiteX17" fmla="*/ 21708 w 22725"/>
                  <a:gd name="connsiteY17" fmla="*/ 7669 h 28585"/>
                  <a:gd name="connsiteX18" fmla="*/ 17166 w 22725"/>
                  <a:gd name="connsiteY18" fmla="*/ 8291 h 28585"/>
                  <a:gd name="connsiteX19" fmla="*/ 15376 w 22725"/>
                  <a:gd name="connsiteY19" fmla="*/ 4994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2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30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8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0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8" y="16997"/>
                      <a:pt x="11853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8" y="12663"/>
                      <a:pt x="1790" y="11551"/>
                    </a:cubicBezTo>
                    <a:cubicBezTo>
                      <a:pt x="1112" y="10439"/>
                      <a:pt x="773" y="9214"/>
                      <a:pt x="773" y="7877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67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7"/>
                    </a:cubicBezTo>
                    <a:cubicBezTo>
                      <a:pt x="8084" y="170"/>
                      <a:pt x="9422" y="0"/>
                      <a:pt x="10854" y="0"/>
                    </a:cubicBezTo>
                    <a:cubicBezTo>
                      <a:pt x="13002" y="0"/>
                      <a:pt x="14886" y="302"/>
                      <a:pt x="16507" y="923"/>
                    </a:cubicBezTo>
                    <a:cubicBezTo>
                      <a:pt x="18127" y="1545"/>
                      <a:pt x="19333" y="2374"/>
                      <a:pt x="20106" y="3430"/>
                    </a:cubicBezTo>
                    <a:cubicBezTo>
                      <a:pt x="20878" y="4485"/>
                      <a:pt x="21406" y="5898"/>
                      <a:pt x="21708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4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2" y="8951"/>
                    </a:cubicBezTo>
                    <a:cubicBezTo>
                      <a:pt x="6218" y="9441"/>
                      <a:pt x="6803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1" y="12248"/>
                      <a:pt x="17279" y="12983"/>
                      <a:pt x="18561" y="13530"/>
                    </a:cubicBezTo>
                    <a:cubicBezTo>
                      <a:pt x="19861" y="14095"/>
                      <a:pt x="20878" y="14905"/>
                      <a:pt x="21613" y="15960"/>
                    </a:cubicBezTo>
                    <a:cubicBezTo>
                      <a:pt x="22348" y="17034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46" y="27851"/>
                      <a:pt x="3580" y="26362"/>
                    </a:cubicBezTo>
                    <a:cubicBezTo>
                      <a:pt x="1715" y="24892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73" name="Grafik 21">
              <a:extLst>
                <a:ext uri="{FF2B5EF4-FFF2-40B4-BE49-F238E27FC236}">
                  <a16:creationId xmlns:a16="http://schemas.microsoft.com/office/drawing/2014/main" id="{786CC5FD-1593-B87F-6980-26FD2A6BB9E8}"/>
                </a:ext>
              </a:extLst>
            </p:cNvPr>
            <p:cNvGrpSpPr/>
            <p:nvPr/>
          </p:nvGrpSpPr>
          <p:grpSpPr>
            <a:xfrm>
              <a:off x="3473857" y="2267768"/>
              <a:ext cx="186210" cy="38402"/>
              <a:chOff x="3473857" y="2267768"/>
              <a:chExt cx="186210" cy="38402"/>
            </a:xfrm>
            <a:solidFill>
              <a:srgbClr val="000000"/>
            </a:solidFill>
          </p:grpSpPr>
          <p:sp>
            <p:nvSpPr>
              <p:cNvPr id="3368" name="Freihandform: Form 3367">
                <a:extLst>
                  <a:ext uri="{FF2B5EF4-FFF2-40B4-BE49-F238E27FC236}">
                    <a16:creationId xmlns:a16="http://schemas.microsoft.com/office/drawing/2014/main" id="{5C9DB9DA-FDAA-EB2F-DD9F-974D0D5A56C8}"/>
                  </a:ext>
                </a:extLst>
              </p:cNvPr>
              <p:cNvSpPr/>
              <p:nvPr/>
            </p:nvSpPr>
            <p:spPr>
              <a:xfrm>
                <a:off x="3473857" y="2267768"/>
                <a:ext cx="28830" cy="37762"/>
              </a:xfrm>
              <a:custGeom>
                <a:avLst/>
                <a:gdLst>
                  <a:gd name="connsiteX0" fmla="*/ 0 w 28830"/>
                  <a:gd name="connsiteY0" fmla="*/ 37762 h 37762"/>
                  <a:gd name="connsiteX1" fmla="*/ 0 w 28830"/>
                  <a:gd name="connsiteY1" fmla="*/ 0 h 37762"/>
                  <a:gd name="connsiteX2" fmla="*/ 14246 w 28830"/>
                  <a:gd name="connsiteY2" fmla="*/ 0 h 37762"/>
                  <a:gd name="connsiteX3" fmla="*/ 19993 w 28830"/>
                  <a:gd name="connsiteY3" fmla="*/ 358 h 37762"/>
                  <a:gd name="connsiteX4" fmla="*/ 24647 w 28830"/>
                  <a:gd name="connsiteY4" fmla="*/ 2129 h 37762"/>
                  <a:gd name="connsiteX5" fmla="*/ 27681 w 28830"/>
                  <a:gd name="connsiteY5" fmla="*/ 5766 h 37762"/>
                  <a:gd name="connsiteX6" fmla="*/ 28830 w 28830"/>
                  <a:gd name="connsiteY6" fmla="*/ 10910 h 37762"/>
                  <a:gd name="connsiteX7" fmla="*/ 25759 w 28830"/>
                  <a:gd name="connsiteY7" fmla="*/ 19069 h 37762"/>
                  <a:gd name="connsiteX8" fmla="*/ 14679 w 28830"/>
                  <a:gd name="connsiteY8" fmla="*/ 22405 h 37762"/>
                  <a:gd name="connsiteX9" fmla="*/ 4993 w 28830"/>
                  <a:gd name="connsiteY9" fmla="*/ 22405 h 37762"/>
                  <a:gd name="connsiteX10" fmla="*/ 4993 w 28830"/>
                  <a:gd name="connsiteY10" fmla="*/ 37762 h 37762"/>
                  <a:gd name="connsiteX11" fmla="*/ 0 w 28830"/>
                  <a:gd name="connsiteY11" fmla="*/ 37762 h 37762"/>
                  <a:gd name="connsiteX12" fmla="*/ 4993 w 28830"/>
                  <a:gd name="connsiteY12" fmla="*/ 17958 h 37762"/>
                  <a:gd name="connsiteX13" fmla="*/ 14754 w 28830"/>
                  <a:gd name="connsiteY13" fmla="*/ 17958 h 37762"/>
                  <a:gd name="connsiteX14" fmla="*/ 21632 w 28830"/>
                  <a:gd name="connsiteY14" fmla="*/ 16149 h 37762"/>
                  <a:gd name="connsiteX15" fmla="*/ 23667 w 28830"/>
                  <a:gd name="connsiteY15" fmla="*/ 11080 h 37762"/>
                  <a:gd name="connsiteX16" fmla="*/ 22461 w 28830"/>
                  <a:gd name="connsiteY16" fmla="*/ 7029 h 37762"/>
                  <a:gd name="connsiteX17" fmla="*/ 19314 w 28830"/>
                  <a:gd name="connsiteY17" fmla="*/ 4805 h 37762"/>
                  <a:gd name="connsiteX18" fmla="*/ 14660 w 28830"/>
                  <a:gd name="connsiteY18" fmla="*/ 4466 h 37762"/>
                  <a:gd name="connsiteX19" fmla="*/ 4993 w 28830"/>
                  <a:gd name="connsiteY19" fmla="*/ 4466 h 37762"/>
                  <a:gd name="connsiteX20" fmla="*/ 4993 w 28830"/>
                  <a:gd name="connsiteY20" fmla="*/ 17958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8830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14246" y="0"/>
                    </a:lnTo>
                    <a:cubicBezTo>
                      <a:pt x="16752" y="0"/>
                      <a:pt x="18674" y="113"/>
                      <a:pt x="19993" y="358"/>
                    </a:cubicBezTo>
                    <a:cubicBezTo>
                      <a:pt x="21839" y="659"/>
                      <a:pt x="23403" y="1262"/>
                      <a:pt x="24647" y="2129"/>
                    </a:cubicBezTo>
                    <a:cubicBezTo>
                      <a:pt x="25910" y="2996"/>
                      <a:pt x="26908" y="4221"/>
                      <a:pt x="27681" y="5766"/>
                    </a:cubicBezTo>
                    <a:cubicBezTo>
                      <a:pt x="28453" y="7330"/>
                      <a:pt x="28830" y="9045"/>
                      <a:pt x="28830" y="10910"/>
                    </a:cubicBezTo>
                    <a:cubicBezTo>
                      <a:pt x="28830" y="14114"/>
                      <a:pt x="27813" y="16846"/>
                      <a:pt x="25759" y="19069"/>
                    </a:cubicBezTo>
                    <a:cubicBezTo>
                      <a:pt x="23724" y="21293"/>
                      <a:pt x="20031" y="22405"/>
                      <a:pt x="14679" y="22405"/>
                    </a:cubicBezTo>
                    <a:lnTo>
                      <a:pt x="4993" y="22405"/>
                    </a:lnTo>
                    <a:lnTo>
                      <a:pt x="4993" y="37762"/>
                    </a:lnTo>
                    <a:lnTo>
                      <a:pt x="0" y="37762"/>
                    </a:lnTo>
                    <a:close/>
                    <a:moveTo>
                      <a:pt x="4993" y="17958"/>
                    </a:moveTo>
                    <a:lnTo>
                      <a:pt x="14754" y="17958"/>
                    </a:lnTo>
                    <a:cubicBezTo>
                      <a:pt x="17977" y="17958"/>
                      <a:pt x="20275" y="17355"/>
                      <a:pt x="21632" y="16149"/>
                    </a:cubicBezTo>
                    <a:cubicBezTo>
                      <a:pt x="22989" y="14943"/>
                      <a:pt x="23667" y="13247"/>
                      <a:pt x="23667" y="11080"/>
                    </a:cubicBezTo>
                    <a:cubicBezTo>
                      <a:pt x="23667" y="9497"/>
                      <a:pt x="23272" y="8140"/>
                      <a:pt x="22461" y="7029"/>
                    </a:cubicBezTo>
                    <a:cubicBezTo>
                      <a:pt x="21651" y="5917"/>
                      <a:pt x="20615" y="5163"/>
                      <a:pt x="19314" y="4805"/>
                    </a:cubicBezTo>
                    <a:cubicBezTo>
                      <a:pt x="18466" y="4579"/>
                      <a:pt x="16921" y="4466"/>
                      <a:pt x="14660" y="4466"/>
                    </a:cubicBezTo>
                    <a:lnTo>
                      <a:pt x="4993" y="4466"/>
                    </a:lnTo>
                    <a:lnTo>
                      <a:pt x="4993" y="1795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69" name="Freihandform: Form 3368">
                <a:extLst>
                  <a:ext uri="{FF2B5EF4-FFF2-40B4-BE49-F238E27FC236}">
                    <a16:creationId xmlns:a16="http://schemas.microsoft.com/office/drawing/2014/main" id="{4F9F02B9-51EA-A6BF-C12D-B9C18ED9C683}"/>
                  </a:ext>
                </a:extLst>
              </p:cNvPr>
              <p:cNvSpPr/>
              <p:nvPr/>
            </p:nvSpPr>
            <p:spPr>
              <a:xfrm>
                <a:off x="3508472" y="2267768"/>
                <a:ext cx="22272" cy="37762"/>
              </a:xfrm>
              <a:custGeom>
                <a:avLst/>
                <a:gdLst>
                  <a:gd name="connsiteX0" fmla="*/ 0 w 22272"/>
                  <a:gd name="connsiteY0" fmla="*/ 37762 h 37762"/>
                  <a:gd name="connsiteX1" fmla="*/ 0 w 22272"/>
                  <a:gd name="connsiteY1" fmla="*/ 0 h 37762"/>
                  <a:gd name="connsiteX2" fmla="*/ 4635 w 22272"/>
                  <a:gd name="connsiteY2" fmla="*/ 0 h 37762"/>
                  <a:gd name="connsiteX3" fmla="*/ 4635 w 22272"/>
                  <a:gd name="connsiteY3" fmla="*/ 13548 h 37762"/>
                  <a:gd name="connsiteX4" fmla="*/ 12832 w 22272"/>
                  <a:gd name="connsiteY4" fmla="*/ 9780 h 37762"/>
                  <a:gd name="connsiteX5" fmla="*/ 18108 w 22272"/>
                  <a:gd name="connsiteY5" fmla="*/ 10986 h 37762"/>
                  <a:gd name="connsiteX6" fmla="*/ 21312 w 22272"/>
                  <a:gd name="connsiteY6" fmla="*/ 14302 h 37762"/>
                  <a:gd name="connsiteX7" fmla="*/ 22273 w 22272"/>
                  <a:gd name="connsiteY7" fmla="*/ 20426 h 37762"/>
                  <a:gd name="connsiteX8" fmla="*/ 22273 w 22272"/>
                  <a:gd name="connsiteY8" fmla="*/ 37762 h 37762"/>
                  <a:gd name="connsiteX9" fmla="*/ 17637 w 22272"/>
                  <a:gd name="connsiteY9" fmla="*/ 37762 h 37762"/>
                  <a:gd name="connsiteX10" fmla="*/ 17637 w 22272"/>
                  <a:gd name="connsiteY10" fmla="*/ 20426 h 37762"/>
                  <a:gd name="connsiteX11" fmla="*/ 16130 w 22272"/>
                  <a:gd name="connsiteY11" fmla="*/ 15357 h 37762"/>
                  <a:gd name="connsiteX12" fmla="*/ 11871 w 22272"/>
                  <a:gd name="connsiteY12" fmla="*/ 13775 h 37762"/>
                  <a:gd name="connsiteX13" fmla="*/ 7990 w 22272"/>
                  <a:gd name="connsiteY13" fmla="*/ 14849 h 37762"/>
                  <a:gd name="connsiteX14" fmla="*/ 5408 w 22272"/>
                  <a:gd name="connsiteY14" fmla="*/ 17750 h 37762"/>
                  <a:gd name="connsiteX15" fmla="*/ 4635 w 22272"/>
                  <a:gd name="connsiteY15" fmla="*/ 22800 h 37762"/>
                  <a:gd name="connsiteX16" fmla="*/ 4635 w 22272"/>
                  <a:gd name="connsiteY16" fmla="*/ 37762 h 37762"/>
                  <a:gd name="connsiteX17" fmla="*/ 0 w 22272"/>
                  <a:gd name="connsiteY17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272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548"/>
                    </a:lnTo>
                    <a:cubicBezTo>
                      <a:pt x="6802" y="11042"/>
                      <a:pt x="9535" y="9780"/>
                      <a:pt x="12832" y="9780"/>
                    </a:cubicBezTo>
                    <a:cubicBezTo>
                      <a:pt x="14867" y="9780"/>
                      <a:pt x="16620" y="10175"/>
                      <a:pt x="18108" y="10986"/>
                    </a:cubicBezTo>
                    <a:cubicBezTo>
                      <a:pt x="19597" y="11796"/>
                      <a:pt x="20671" y="12889"/>
                      <a:pt x="21312" y="14302"/>
                    </a:cubicBezTo>
                    <a:cubicBezTo>
                      <a:pt x="21952" y="15715"/>
                      <a:pt x="22273" y="17750"/>
                      <a:pt x="22273" y="20426"/>
                    </a:cubicBezTo>
                    <a:lnTo>
                      <a:pt x="22273" y="37762"/>
                    </a:lnTo>
                    <a:lnTo>
                      <a:pt x="17637" y="37762"/>
                    </a:lnTo>
                    <a:lnTo>
                      <a:pt x="17637" y="20426"/>
                    </a:lnTo>
                    <a:cubicBezTo>
                      <a:pt x="17637" y="18108"/>
                      <a:pt x="17129" y="16413"/>
                      <a:pt x="16130" y="15357"/>
                    </a:cubicBezTo>
                    <a:cubicBezTo>
                      <a:pt x="15131" y="14302"/>
                      <a:pt x="13699" y="13775"/>
                      <a:pt x="11871" y="13775"/>
                    </a:cubicBezTo>
                    <a:cubicBezTo>
                      <a:pt x="10496" y="13775"/>
                      <a:pt x="9196" y="14133"/>
                      <a:pt x="7990" y="14849"/>
                    </a:cubicBezTo>
                    <a:cubicBezTo>
                      <a:pt x="6784" y="15565"/>
                      <a:pt x="5917" y="16526"/>
                      <a:pt x="5408" y="17750"/>
                    </a:cubicBezTo>
                    <a:cubicBezTo>
                      <a:pt x="4899" y="18975"/>
                      <a:pt x="4635" y="20652"/>
                      <a:pt x="4635" y="22800"/>
                    </a:cubicBez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70" name="Freihandform: Form 3369">
                <a:extLst>
                  <a:ext uri="{FF2B5EF4-FFF2-40B4-BE49-F238E27FC236}">
                    <a16:creationId xmlns:a16="http://schemas.microsoft.com/office/drawing/2014/main" id="{5933B4C2-EF4E-6E9A-879E-FB4C6DF21800}"/>
                  </a:ext>
                </a:extLst>
              </p:cNvPr>
              <p:cNvSpPr/>
              <p:nvPr/>
            </p:nvSpPr>
            <p:spPr>
              <a:xfrm>
                <a:off x="3536059" y="2277566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2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2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71" name="Freihandform: Form 3370">
                <a:extLst>
                  <a:ext uri="{FF2B5EF4-FFF2-40B4-BE49-F238E27FC236}">
                    <a16:creationId xmlns:a16="http://schemas.microsoft.com/office/drawing/2014/main" id="{F54FEAF2-68F9-3E52-6A0D-AF69C80D1106}"/>
                  </a:ext>
                </a:extLst>
              </p:cNvPr>
              <p:cNvSpPr/>
              <p:nvPr/>
            </p:nvSpPr>
            <p:spPr>
              <a:xfrm>
                <a:off x="3565586" y="2277548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0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4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72" name="Freihandform: Form 3371">
                <a:extLst>
                  <a:ext uri="{FF2B5EF4-FFF2-40B4-BE49-F238E27FC236}">
                    <a16:creationId xmlns:a16="http://schemas.microsoft.com/office/drawing/2014/main" id="{0076C75B-9B8B-276A-B025-A3A8D6286285}"/>
                  </a:ext>
                </a:extLst>
              </p:cNvPr>
              <p:cNvSpPr/>
              <p:nvPr/>
            </p:nvSpPr>
            <p:spPr>
              <a:xfrm>
                <a:off x="3596490" y="2277548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2" y="7179"/>
                      <a:pt x="4636" y="9553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73" name="Freihandform: Form 3372">
                <a:extLst>
                  <a:ext uri="{FF2B5EF4-FFF2-40B4-BE49-F238E27FC236}">
                    <a16:creationId xmlns:a16="http://schemas.microsoft.com/office/drawing/2014/main" id="{C4BBA436-5A35-EC00-C559-C6B5BE8F1B7F}"/>
                  </a:ext>
                </a:extLst>
              </p:cNvPr>
              <p:cNvSpPr/>
              <p:nvPr/>
            </p:nvSpPr>
            <p:spPr>
              <a:xfrm>
                <a:off x="3625866" y="2267768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1 h 37762"/>
                  <a:gd name="connsiteX7" fmla="*/ 4636 w 4635"/>
                  <a:gd name="connsiteY7" fmla="*/ 10401 h 37762"/>
                  <a:gd name="connsiteX8" fmla="*/ 4636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1"/>
                    </a:lnTo>
                    <a:lnTo>
                      <a:pt x="4636" y="10401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74" name="Freihandform: Form 3373">
                <a:extLst>
                  <a:ext uri="{FF2B5EF4-FFF2-40B4-BE49-F238E27FC236}">
                    <a16:creationId xmlns:a16="http://schemas.microsoft.com/office/drawing/2014/main" id="{800083B1-4838-AB31-0FF0-32D4E999E619}"/>
                  </a:ext>
                </a:extLst>
              </p:cNvPr>
              <p:cNvSpPr/>
              <p:nvPr/>
            </p:nvSpPr>
            <p:spPr>
              <a:xfrm>
                <a:off x="3634459" y="2278169"/>
                <a:ext cx="25608" cy="27360"/>
              </a:xfrm>
              <a:custGeom>
                <a:avLst/>
                <a:gdLst>
                  <a:gd name="connsiteX0" fmla="*/ 0 w 25608"/>
                  <a:gd name="connsiteY0" fmla="*/ 27361 h 27360"/>
                  <a:gd name="connsiteX1" fmla="*/ 9987 w 25608"/>
                  <a:gd name="connsiteY1" fmla="*/ 13134 h 27360"/>
                  <a:gd name="connsiteX2" fmla="*/ 735 w 25608"/>
                  <a:gd name="connsiteY2" fmla="*/ 0 h 27360"/>
                  <a:gd name="connsiteX3" fmla="*/ 6539 w 25608"/>
                  <a:gd name="connsiteY3" fmla="*/ 0 h 27360"/>
                  <a:gd name="connsiteX4" fmla="*/ 10741 w 25608"/>
                  <a:gd name="connsiteY4" fmla="*/ 6407 h 27360"/>
                  <a:gd name="connsiteX5" fmla="*/ 12644 w 25608"/>
                  <a:gd name="connsiteY5" fmla="*/ 9478 h 27360"/>
                  <a:gd name="connsiteX6" fmla="*/ 14736 w 25608"/>
                  <a:gd name="connsiteY6" fmla="*/ 6463 h 27360"/>
                  <a:gd name="connsiteX7" fmla="*/ 19352 w 25608"/>
                  <a:gd name="connsiteY7" fmla="*/ 0 h 27360"/>
                  <a:gd name="connsiteX8" fmla="*/ 24892 w 25608"/>
                  <a:gd name="connsiteY8" fmla="*/ 0 h 27360"/>
                  <a:gd name="connsiteX9" fmla="*/ 15433 w 25608"/>
                  <a:gd name="connsiteY9" fmla="*/ 12889 h 27360"/>
                  <a:gd name="connsiteX10" fmla="*/ 25608 w 25608"/>
                  <a:gd name="connsiteY10" fmla="*/ 27361 h 27360"/>
                  <a:gd name="connsiteX11" fmla="*/ 19917 w 25608"/>
                  <a:gd name="connsiteY11" fmla="*/ 27361 h 27360"/>
                  <a:gd name="connsiteX12" fmla="*/ 14302 w 25608"/>
                  <a:gd name="connsiteY12" fmla="*/ 18862 h 27360"/>
                  <a:gd name="connsiteX13" fmla="*/ 12813 w 25608"/>
                  <a:gd name="connsiteY13" fmla="*/ 16563 h 27360"/>
                  <a:gd name="connsiteX14" fmla="*/ 5634 w 25608"/>
                  <a:gd name="connsiteY14" fmla="*/ 27361 h 27360"/>
                  <a:gd name="connsiteX15" fmla="*/ 19 w 25608"/>
                  <a:gd name="connsiteY15" fmla="*/ 27361 h 27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608" h="27360">
                    <a:moveTo>
                      <a:pt x="0" y="27361"/>
                    </a:moveTo>
                    <a:lnTo>
                      <a:pt x="9987" y="13134"/>
                    </a:lnTo>
                    <a:lnTo>
                      <a:pt x="735" y="0"/>
                    </a:lnTo>
                    <a:lnTo>
                      <a:pt x="6539" y="0"/>
                    </a:lnTo>
                    <a:lnTo>
                      <a:pt x="10741" y="6407"/>
                    </a:lnTo>
                    <a:cubicBezTo>
                      <a:pt x="11532" y="7632"/>
                      <a:pt x="12173" y="8649"/>
                      <a:pt x="12644" y="9478"/>
                    </a:cubicBezTo>
                    <a:cubicBezTo>
                      <a:pt x="13398" y="8348"/>
                      <a:pt x="14095" y="7349"/>
                      <a:pt x="14736" y="6463"/>
                    </a:cubicBezTo>
                    <a:lnTo>
                      <a:pt x="19352" y="0"/>
                    </a:lnTo>
                    <a:lnTo>
                      <a:pt x="24892" y="0"/>
                    </a:lnTo>
                    <a:lnTo>
                      <a:pt x="15433" y="12889"/>
                    </a:lnTo>
                    <a:lnTo>
                      <a:pt x="25608" y="27361"/>
                    </a:lnTo>
                    <a:lnTo>
                      <a:pt x="19917" y="27361"/>
                    </a:lnTo>
                    <a:lnTo>
                      <a:pt x="14302" y="18862"/>
                    </a:lnTo>
                    <a:lnTo>
                      <a:pt x="12813" y="16563"/>
                    </a:lnTo>
                    <a:lnTo>
                      <a:pt x="5634" y="27361"/>
                    </a:lnTo>
                    <a:lnTo>
                      <a:pt x="19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74" name="Grafik 21">
              <a:extLst>
                <a:ext uri="{FF2B5EF4-FFF2-40B4-BE49-F238E27FC236}">
                  <a16:creationId xmlns:a16="http://schemas.microsoft.com/office/drawing/2014/main" id="{00EA1F07-109A-8D0A-F147-5EB59FF1F8C0}"/>
                </a:ext>
              </a:extLst>
            </p:cNvPr>
            <p:cNvGrpSpPr/>
            <p:nvPr/>
          </p:nvGrpSpPr>
          <p:grpSpPr>
            <a:xfrm>
              <a:off x="2904297" y="2252693"/>
              <a:ext cx="79179" cy="38402"/>
              <a:chOff x="2904297" y="2252693"/>
              <a:chExt cx="79179" cy="38402"/>
            </a:xfrm>
            <a:solidFill>
              <a:srgbClr val="000000"/>
            </a:solidFill>
          </p:grpSpPr>
          <p:sp>
            <p:nvSpPr>
              <p:cNvPr id="3365" name="Freihandform: Form 3364">
                <a:extLst>
                  <a:ext uri="{FF2B5EF4-FFF2-40B4-BE49-F238E27FC236}">
                    <a16:creationId xmlns:a16="http://schemas.microsoft.com/office/drawing/2014/main" id="{76C7E6F3-83DA-8E06-ED17-49B63EFA05F0}"/>
                  </a:ext>
                </a:extLst>
              </p:cNvPr>
              <p:cNvSpPr/>
              <p:nvPr/>
            </p:nvSpPr>
            <p:spPr>
              <a:xfrm>
                <a:off x="2904297" y="2252693"/>
                <a:ext cx="23591" cy="37780"/>
              </a:xfrm>
              <a:custGeom>
                <a:avLst/>
                <a:gdLst>
                  <a:gd name="connsiteX0" fmla="*/ 0 w 23591"/>
                  <a:gd name="connsiteY0" fmla="*/ 37762 h 37780"/>
                  <a:gd name="connsiteX1" fmla="*/ 0 w 23591"/>
                  <a:gd name="connsiteY1" fmla="*/ 0 h 37780"/>
                  <a:gd name="connsiteX2" fmla="*/ 4993 w 23591"/>
                  <a:gd name="connsiteY2" fmla="*/ 0 h 37780"/>
                  <a:gd name="connsiteX3" fmla="*/ 4993 w 23591"/>
                  <a:gd name="connsiteY3" fmla="*/ 33315 h 37780"/>
                  <a:gd name="connsiteX4" fmla="*/ 23592 w 23591"/>
                  <a:gd name="connsiteY4" fmla="*/ 33315 h 37780"/>
                  <a:gd name="connsiteX5" fmla="*/ 23592 w 23591"/>
                  <a:gd name="connsiteY5" fmla="*/ 37781 h 37780"/>
                  <a:gd name="connsiteX6" fmla="*/ 0 w 23591"/>
                  <a:gd name="connsiteY6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91" h="37780">
                    <a:moveTo>
                      <a:pt x="0" y="37762"/>
                    </a:moveTo>
                    <a:lnTo>
                      <a:pt x="0" y="0"/>
                    </a:lnTo>
                    <a:lnTo>
                      <a:pt x="4993" y="0"/>
                    </a:lnTo>
                    <a:lnTo>
                      <a:pt x="4993" y="33315"/>
                    </a:lnTo>
                    <a:lnTo>
                      <a:pt x="23592" y="33315"/>
                    </a:lnTo>
                    <a:lnTo>
                      <a:pt x="23592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66" name="Freihandform: Form 3365">
                <a:extLst>
                  <a:ext uri="{FF2B5EF4-FFF2-40B4-BE49-F238E27FC236}">
                    <a16:creationId xmlns:a16="http://schemas.microsoft.com/office/drawing/2014/main" id="{62FC7A6F-9EFA-2FD1-74FB-20A6402F2173}"/>
                  </a:ext>
                </a:extLst>
              </p:cNvPr>
              <p:cNvSpPr/>
              <p:nvPr/>
            </p:nvSpPr>
            <p:spPr>
              <a:xfrm>
                <a:off x="2931507" y="2262492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67" name="Freihandform: Form 3366">
                <a:extLst>
                  <a:ext uri="{FF2B5EF4-FFF2-40B4-BE49-F238E27FC236}">
                    <a16:creationId xmlns:a16="http://schemas.microsoft.com/office/drawing/2014/main" id="{BD6BA738-D7B7-EBF4-1D85-FEABC7A7F985}"/>
                  </a:ext>
                </a:extLst>
              </p:cNvPr>
              <p:cNvSpPr/>
              <p:nvPr/>
            </p:nvSpPr>
            <p:spPr>
              <a:xfrm>
                <a:off x="2960752" y="2262510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2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3 w 22725"/>
                  <a:gd name="connsiteY10" fmla="*/ 7877 h 28585"/>
                  <a:gd name="connsiteX11" fmla="*/ 1602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7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30 h 28585"/>
                  <a:gd name="connsiteX17" fmla="*/ 21708 w 22725"/>
                  <a:gd name="connsiteY17" fmla="*/ 7669 h 28585"/>
                  <a:gd name="connsiteX18" fmla="*/ 17166 w 22725"/>
                  <a:gd name="connsiteY18" fmla="*/ 8291 h 28585"/>
                  <a:gd name="connsiteX19" fmla="*/ 15376 w 22725"/>
                  <a:gd name="connsiteY19" fmla="*/ 4994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1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30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8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0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8" y="16997"/>
                      <a:pt x="11852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8" y="12663"/>
                      <a:pt x="1790" y="11551"/>
                    </a:cubicBezTo>
                    <a:cubicBezTo>
                      <a:pt x="1112" y="10439"/>
                      <a:pt x="773" y="9214"/>
                      <a:pt x="773" y="7877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67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7"/>
                    </a:cubicBezTo>
                    <a:cubicBezTo>
                      <a:pt x="8084" y="170"/>
                      <a:pt x="9422" y="0"/>
                      <a:pt x="10854" y="0"/>
                    </a:cubicBezTo>
                    <a:cubicBezTo>
                      <a:pt x="13002" y="0"/>
                      <a:pt x="14886" y="302"/>
                      <a:pt x="16507" y="923"/>
                    </a:cubicBezTo>
                    <a:cubicBezTo>
                      <a:pt x="18127" y="1545"/>
                      <a:pt x="19333" y="2374"/>
                      <a:pt x="20106" y="3430"/>
                    </a:cubicBezTo>
                    <a:cubicBezTo>
                      <a:pt x="20878" y="4485"/>
                      <a:pt x="21406" y="5898"/>
                      <a:pt x="21708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4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1" y="8951"/>
                    </a:cubicBezTo>
                    <a:cubicBezTo>
                      <a:pt x="6218" y="9441"/>
                      <a:pt x="6802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1" y="12248"/>
                      <a:pt x="17279" y="12983"/>
                      <a:pt x="18561" y="13530"/>
                    </a:cubicBezTo>
                    <a:cubicBezTo>
                      <a:pt x="19861" y="14095"/>
                      <a:pt x="20878" y="14905"/>
                      <a:pt x="21613" y="15960"/>
                    </a:cubicBezTo>
                    <a:cubicBezTo>
                      <a:pt x="22348" y="17034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46" y="27851"/>
                      <a:pt x="3580" y="26362"/>
                    </a:cubicBezTo>
                    <a:cubicBezTo>
                      <a:pt x="1715" y="24892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75" name="Grafik 21">
              <a:extLst>
                <a:ext uri="{FF2B5EF4-FFF2-40B4-BE49-F238E27FC236}">
                  <a16:creationId xmlns:a16="http://schemas.microsoft.com/office/drawing/2014/main" id="{DF8A57B2-0731-BD79-1F9F-7528E3D937A5}"/>
                </a:ext>
              </a:extLst>
            </p:cNvPr>
            <p:cNvGrpSpPr/>
            <p:nvPr/>
          </p:nvGrpSpPr>
          <p:grpSpPr>
            <a:xfrm>
              <a:off x="2998608" y="2252693"/>
              <a:ext cx="188716" cy="48898"/>
              <a:chOff x="2998608" y="2252693"/>
              <a:chExt cx="188716" cy="48898"/>
            </a:xfrm>
            <a:solidFill>
              <a:srgbClr val="000000"/>
            </a:solidFill>
          </p:grpSpPr>
          <p:sp>
            <p:nvSpPr>
              <p:cNvPr id="3358" name="Freihandform: Form 3357">
                <a:extLst>
                  <a:ext uri="{FF2B5EF4-FFF2-40B4-BE49-F238E27FC236}">
                    <a16:creationId xmlns:a16="http://schemas.microsoft.com/office/drawing/2014/main" id="{10B49794-9BF8-EF74-EAC0-730066F44652}"/>
                  </a:ext>
                </a:extLst>
              </p:cNvPr>
              <p:cNvSpPr/>
              <p:nvPr/>
            </p:nvSpPr>
            <p:spPr>
              <a:xfrm>
                <a:off x="2998608" y="2252693"/>
                <a:ext cx="35350" cy="37762"/>
              </a:xfrm>
              <a:custGeom>
                <a:avLst/>
                <a:gdLst>
                  <a:gd name="connsiteX0" fmla="*/ 0 w 35350"/>
                  <a:gd name="connsiteY0" fmla="*/ 37762 h 37762"/>
                  <a:gd name="connsiteX1" fmla="*/ 14509 w 35350"/>
                  <a:gd name="connsiteY1" fmla="*/ 0 h 37762"/>
                  <a:gd name="connsiteX2" fmla="*/ 19899 w 35350"/>
                  <a:gd name="connsiteY2" fmla="*/ 0 h 37762"/>
                  <a:gd name="connsiteX3" fmla="*/ 35350 w 35350"/>
                  <a:gd name="connsiteY3" fmla="*/ 37762 h 37762"/>
                  <a:gd name="connsiteX4" fmla="*/ 29659 w 35350"/>
                  <a:gd name="connsiteY4" fmla="*/ 37762 h 37762"/>
                  <a:gd name="connsiteX5" fmla="*/ 25250 w 35350"/>
                  <a:gd name="connsiteY5" fmla="*/ 26324 h 37762"/>
                  <a:gd name="connsiteX6" fmla="*/ 9459 w 35350"/>
                  <a:gd name="connsiteY6" fmla="*/ 26324 h 37762"/>
                  <a:gd name="connsiteX7" fmla="*/ 5314 w 35350"/>
                  <a:gd name="connsiteY7" fmla="*/ 37762 h 37762"/>
                  <a:gd name="connsiteX8" fmla="*/ 0 w 35350"/>
                  <a:gd name="connsiteY8" fmla="*/ 37762 h 37762"/>
                  <a:gd name="connsiteX9" fmla="*/ 10891 w 35350"/>
                  <a:gd name="connsiteY9" fmla="*/ 22254 h 37762"/>
                  <a:gd name="connsiteX10" fmla="*/ 23686 w 35350"/>
                  <a:gd name="connsiteY10" fmla="*/ 22254 h 37762"/>
                  <a:gd name="connsiteX11" fmla="*/ 19748 w 35350"/>
                  <a:gd name="connsiteY11" fmla="*/ 11796 h 37762"/>
                  <a:gd name="connsiteX12" fmla="*/ 17072 w 35350"/>
                  <a:gd name="connsiteY12" fmla="*/ 3957 h 37762"/>
                  <a:gd name="connsiteX13" fmla="*/ 15037 w 35350"/>
                  <a:gd name="connsiteY13" fmla="*/ 11174 h 37762"/>
                  <a:gd name="connsiteX14" fmla="*/ 10891 w 35350"/>
                  <a:gd name="connsiteY14" fmla="*/ 22254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5350" h="37762">
                    <a:moveTo>
                      <a:pt x="0" y="37762"/>
                    </a:moveTo>
                    <a:lnTo>
                      <a:pt x="14509" y="0"/>
                    </a:lnTo>
                    <a:lnTo>
                      <a:pt x="19899" y="0"/>
                    </a:lnTo>
                    <a:lnTo>
                      <a:pt x="35350" y="37762"/>
                    </a:lnTo>
                    <a:lnTo>
                      <a:pt x="29659" y="37762"/>
                    </a:lnTo>
                    <a:lnTo>
                      <a:pt x="25250" y="26324"/>
                    </a:lnTo>
                    <a:lnTo>
                      <a:pt x="9459" y="26324"/>
                    </a:lnTo>
                    <a:lnTo>
                      <a:pt x="5314" y="37762"/>
                    </a:lnTo>
                    <a:lnTo>
                      <a:pt x="0" y="37762"/>
                    </a:lnTo>
                    <a:close/>
                    <a:moveTo>
                      <a:pt x="10891" y="22254"/>
                    </a:moveTo>
                    <a:lnTo>
                      <a:pt x="23686" y="22254"/>
                    </a:lnTo>
                    <a:lnTo>
                      <a:pt x="19748" y="11796"/>
                    </a:lnTo>
                    <a:cubicBezTo>
                      <a:pt x="18542" y="8611"/>
                      <a:pt x="17656" y="6011"/>
                      <a:pt x="17072" y="3957"/>
                    </a:cubicBezTo>
                    <a:cubicBezTo>
                      <a:pt x="16582" y="6388"/>
                      <a:pt x="15904" y="8781"/>
                      <a:pt x="15037" y="11174"/>
                    </a:cubicBezTo>
                    <a:lnTo>
                      <a:pt x="10891" y="22254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59" name="Freihandform: Form 3358">
                <a:extLst>
                  <a:ext uri="{FF2B5EF4-FFF2-40B4-BE49-F238E27FC236}">
                    <a16:creationId xmlns:a16="http://schemas.microsoft.com/office/drawing/2014/main" id="{1DD2B55E-5D1E-C1C8-3156-788B2C7E389B}"/>
                  </a:ext>
                </a:extLst>
              </p:cNvPr>
              <p:cNvSpPr/>
              <p:nvPr/>
            </p:nvSpPr>
            <p:spPr>
              <a:xfrm>
                <a:off x="3037350" y="2262473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2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60" name="Freihandform: Form 3359">
                <a:extLst>
                  <a:ext uri="{FF2B5EF4-FFF2-40B4-BE49-F238E27FC236}">
                    <a16:creationId xmlns:a16="http://schemas.microsoft.com/office/drawing/2014/main" id="{32F208EF-5720-D0E6-6BA4-9A0C013E0A54}"/>
                  </a:ext>
                </a:extLst>
              </p:cNvPr>
              <p:cNvSpPr/>
              <p:nvPr/>
            </p:nvSpPr>
            <p:spPr>
              <a:xfrm>
                <a:off x="3064918" y="2262492"/>
                <a:ext cx="24119" cy="39099"/>
              </a:xfrm>
              <a:custGeom>
                <a:avLst/>
                <a:gdLst>
                  <a:gd name="connsiteX0" fmla="*/ 923 w 24119"/>
                  <a:gd name="connsiteY0" fmla="*/ 30225 h 39099"/>
                  <a:gd name="connsiteX1" fmla="*/ 5427 w 24119"/>
                  <a:gd name="connsiteY1" fmla="*/ 30903 h 39099"/>
                  <a:gd name="connsiteX2" fmla="*/ 6991 w 24119"/>
                  <a:gd name="connsiteY2" fmla="*/ 33937 h 39099"/>
                  <a:gd name="connsiteX3" fmla="*/ 11702 w 24119"/>
                  <a:gd name="connsiteY3" fmla="*/ 35218 h 39099"/>
                  <a:gd name="connsiteX4" fmla="*/ 16676 w 24119"/>
                  <a:gd name="connsiteY4" fmla="*/ 33937 h 39099"/>
                  <a:gd name="connsiteX5" fmla="*/ 19051 w 24119"/>
                  <a:gd name="connsiteY5" fmla="*/ 30338 h 39099"/>
                  <a:gd name="connsiteX6" fmla="*/ 19390 w 24119"/>
                  <a:gd name="connsiteY6" fmla="*/ 24383 h 39099"/>
                  <a:gd name="connsiteX7" fmla="*/ 11815 w 24119"/>
                  <a:gd name="connsiteY7" fmla="*/ 27964 h 39099"/>
                  <a:gd name="connsiteX8" fmla="*/ 3090 w 24119"/>
                  <a:gd name="connsiteY8" fmla="*/ 23893 h 39099"/>
                  <a:gd name="connsiteX9" fmla="*/ 0 w 24119"/>
                  <a:gd name="connsiteY9" fmla="*/ 14133 h 39099"/>
                  <a:gd name="connsiteX10" fmla="*/ 1413 w 24119"/>
                  <a:gd name="connsiteY10" fmla="*/ 6916 h 39099"/>
                  <a:gd name="connsiteX11" fmla="*/ 5521 w 24119"/>
                  <a:gd name="connsiteY11" fmla="*/ 1809 h 39099"/>
                  <a:gd name="connsiteX12" fmla="*/ 11852 w 24119"/>
                  <a:gd name="connsiteY12" fmla="*/ 0 h 39099"/>
                  <a:gd name="connsiteX13" fmla="*/ 19842 w 24119"/>
                  <a:gd name="connsiteY13" fmla="*/ 3919 h 39099"/>
                  <a:gd name="connsiteX14" fmla="*/ 19842 w 24119"/>
                  <a:gd name="connsiteY14" fmla="*/ 622 h 39099"/>
                  <a:gd name="connsiteX15" fmla="*/ 24119 w 24119"/>
                  <a:gd name="connsiteY15" fmla="*/ 622 h 39099"/>
                  <a:gd name="connsiteX16" fmla="*/ 24119 w 24119"/>
                  <a:gd name="connsiteY16" fmla="*/ 24270 h 39099"/>
                  <a:gd name="connsiteX17" fmla="*/ 22819 w 24119"/>
                  <a:gd name="connsiteY17" fmla="*/ 33334 h 39099"/>
                  <a:gd name="connsiteX18" fmla="*/ 18693 w 24119"/>
                  <a:gd name="connsiteY18" fmla="*/ 37555 h 39099"/>
                  <a:gd name="connsiteX19" fmla="*/ 11758 w 24119"/>
                  <a:gd name="connsiteY19" fmla="*/ 39100 h 39099"/>
                  <a:gd name="connsiteX20" fmla="*/ 3844 w 24119"/>
                  <a:gd name="connsiteY20" fmla="*/ 36895 h 39099"/>
                  <a:gd name="connsiteX21" fmla="*/ 942 w 24119"/>
                  <a:gd name="connsiteY21" fmla="*/ 30262 h 39099"/>
                  <a:gd name="connsiteX22" fmla="*/ 4767 w 24119"/>
                  <a:gd name="connsiteY22" fmla="*/ 13793 h 39099"/>
                  <a:gd name="connsiteX23" fmla="*/ 6897 w 24119"/>
                  <a:gd name="connsiteY23" fmla="*/ 21651 h 39099"/>
                  <a:gd name="connsiteX24" fmla="*/ 12248 w 24119"/>
                  <a:gd name="connsiteY24" fmla="*/ 24120 h 39099"/>
                  <a:gd name="connsiteX25" fmla="*/ 17600 w 24119"/>
                  <a:gd name="connsiteY25" fmla="*/ 21651 h 39099"/>
                  <a:gd name="connsiteX26" fmla="*/ 19767 w 24119"/>
                  <a:gd name="connsiteY26" fmla="*/ 13944 h 39099"/>
                  <a:gd name="connsiteX27" fmla="*/ 17543 w 24119"/>
                  <a:gd name="connsiteY27" fmla="*/ 6369 h 39099"/>
                  <a:gd name="connsiteX28" fmla="*/ 12173 w 24119"/>
                  <a:gd name="connsiteY28" fmla="*/ 3825 h 39099"/>
                  <a:gd name="connsiteX29" fmla="*/ 6916 w 24119"/>
                  <a:gd name="connsiteY29" fmla="*/ 6331 h 39099"/>
                  <a:gd name="connsiteX30" fmla="*/ 4749 w 24119"/>
                  <a:gd name="connsiteY30" fmla="*/ 13793 h 39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19" h="39099">
                    <a:moveTo>
                      <a:pt x="923" y="30225"/>
                    </a:moveTo>
                    <a:lnTo>
                      <a:pt x="5427" y="30903"/>
                    </a:lnTo>
                    <a:cubicBezTo>
                      <a:pt x="5615" y="32298"/>
                      <a:pt x="6143" y="33315"/>
                      <a:pt x="6991" y="33937"/>
                    </a:cubicBezTo>
                    <a:cubicBezTo>
                      <a:pt x="8140" y="34804"/>
                      <a:pt x="9704" y="35218"/>
                      <a:pt x="11702" y="35218"/>
                    </a:cubicBezTo>
                    <a:cubicBezTo>
                      <a:pt x="13850" y="35218"/>
                      <a:pt x="15508" y="34785"/>
                      <a:pt x="16676" y="33937"/>
                    </a:cubicBezTo>
                    <a:cubicBezTo>
                      <a:pt x="17845" y="33070"/>
                      <a:pt x="18636" y="31883"/>
                      <a:pt x="19051" y="30338"/>
                    </a:cubicBezTo>
                    <a:cubicBezTo>
                      <a:pt x="19296" y="29396"/>
                      <a:pt x="19409" y="27417"/>
                      <a:pt x="19390" y="24383"/>
                    </a:cubicBezTo>
                    <a:cubicBezTo>
                      <a:pt x="17355" y="26776"/>
                      <a:pt x="14830" y="27964"/>
                      <a:pt x="11815" y="27964"/>
                    </a:cubicBezTo>
                    <a:cubicBezTo>
                      <a:pt x="8046" y="27964"/>
                      <a:pt x="5144" y="26607"/>
                      <a:pt x="3090" y="23893"/>
                    </a:cubicBezTo>
                    <a:cubicBezTo>
                      <a:pt x="1036" y="21180"/>
                      <a:pt x="0" y="17920"/>
                      <a:pt x="0" y="14133"/>
                    </a:cubicBezTo>
                    <a:cubicBezTo>
                      <a:pt x="0" y="11513"/>
                      <a:pt x="471" y="9120"/>
                      <a:pt x="1413" y="6916"/>
                    </a:cubicBezTo>
                    <a:cubicBezTo>
                      <a:pt x="2355" y="4711"/>
                      <a:pt x="3731" y="2996"/>
                      <a:pt x="5521" y="1809"/>
                    </a:cubicBezTo>
                    <a:cubicBezTo>
                      <a:pt x="7311" y="603"/>
                      <a:pt x="9422" y="0"/>
                      <a:pt x="11852" y="0"/>
                    </a:cubicBezTo>
                    <a:cubicBezTo>
                      <a:pt x="15075" y="0"/>
                      <a:pt x="17750" y="1300"/>
                      <a:pt x="19842" y="3919"/>
                    </a:cubicBezTo>
                    <a:lnTo>
                      <a:pt x="19842" y="622"/>
                    </a:lnTo>
                    <a:lnTo>
                      <a:pt x="24119" y="622"/>
                    </a:lnTo>
                    <a:lnTo>
                      <a:pt x="24119" y="24270"/>
                    </a:lnTo>
                    <a:cubicBezTo>
                      <a:pt x="24119" y="28529"/>
                      <a:pt x="23686" y="31544"/>
                      <a:pt x="22819" y="33334"/>
                    </a:cubicBezTo>
                    <a:cubicBezTo>
                      <a:pt x="21953" y="35105"/>
                      <a:pt x="20577" y="36518"/>
                      <a:pt x="18693" y="37555"/>
                    </a:cubicBezTo>
                    <a:cubicBezTo>
                      <a:pt x="16808" y="38591"/>
                      <a:pt x="14491" y="39100"/>
                      <a:pt x="11758" y="39100"/>
                    </a:cubicBezTo>
                    <a:cubicBezTo>
                      <a:pt x="8498" y="39100"/>
                      <a:pt x="5860" y="38365"/>
                      <a:pt x="3844" y="36895"/>
                    </a:cubicBezTo>
                    <a:cubicBezTo>
                      <a:pt x="1828" y="35426"/>
                      <a:pt x="867" y="33221"/>
                      <a:pt x="942" y="30262"/>
                    </a:cubicBezTo>
                    <a:close/>
                    <a:moveTo>
                      <a:pt x="4767" y="13793"/>
                    </a:moveTo>
                    <a:cubicBezTo>
                      <a:pt x="4767" y="17393"/>
                      <a:pt x="5483" y="19993"/>
                      <a:pt x="6897" y="21651"/>
                    </a:cubicBezTo>
                    <a:cubicBezTo>
                      <a:pt x="8329" y="23309"/>
                      <a:pt x="10100" y="24120"/>
                      <a:pt x="12248" y="24120"/>
                    </a:cubicBezTo>
                    <a:cubicBezTo>
                      <a:pt x="14396" y="24120"/>
                      <a:pt x="16168" y="23290"/>
                      <a:pt x="17600" y="21651"/>
                    </a:cubicBezTo>
                    <a:cubicBezTo>
                      <a:pt x="19032" y="20012"/>
                      <a:pt x="19767" y="17430"/>
                      <a:pt x="19767" y="13944"/>
                    </a:cubicBezTo>
                    <a:cubicBezTo>
                      <a:pt x="19767" y="10458"/>
                      <a:pt x="19032" y="8065"/>
                      <a:pt x="17543" y="6369"/>
                    </a:cubicBezTo>
                    <a:cubicBezTo>
                      <a:pt x="16055" y="4673"/>
                      <a:pt x="14264" y="3825"/>
                      <a:pt x="12173" y="3825"/>
                    </a:cubicBezTo>
                    <a:cubicBezTo>
                      <a:pt x="10081" y="3825"/>
                      <a:pt x="8366" y="4654"/>
                      <a:pt x="6916" y="6331"/>
                    </a:cubicBezTo>
                    <a:cubicBezTo>
                      <a:pt x="5465" y="8008"/>
                      <a:pt x="4749" y="10496"/>
                      <a:pt x="4749" y="1379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61" name="Freihandform: Form 3360">
                <a:extLst>
                  <a:ext uri="{FF2B5EF4-FFF2-40B4-BE49-F238E27FC236}">
                    <a16:creationId xmlns:a16="http://schemas.microsoft.com/office/drawing/2014/main" id="{44C57713-1E84-6802-06E1-B5D442167A8E}"/>
                  </a:ext>
                </a:extLst>
              </p:cNvPr>
              <p:cNvSpPr/>
              <p:nvPr/>
            </p:nvSpPr>
            <p:spPr>
              <a:xfrm>
                <a:off x="3094464" y="2262473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0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4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62" name="Freihandform: Form 3361">
                <a:extLst>
                  <a:ext uri="{FF2B5EF4-FFF2-40B4-BE49-F238E27FC236}">
                    <a16:creationId xmlns:a16="http://schemas.microsoft.com/office/drawing/2014/main" id="{2243C125-20F9-6454-5DB6-0D5EF5D923C9}"/>
                  </a:ext>
                </a:extLst>
              </p:cNvPr>
              <p:cNvSpPr/>
              <p:nvPr/>
            </p:nvSpPr>
            <p:spPr>
              <a:xfrm>
                <a:off x="3125273" y="2252693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63" name="Freihandform: Form 3362">
                <a:extLst>
                  <a:ext uri="{FF2B5EF4-FFF2-40B4-BE49-F238E27FC236}">
                    <a16:creationId xmlns:a16="http://schemas.microsoft.com/office/drawing/2014/main" id="{CE03336A-98CF-55FA-0EA4-DAD89EE7872A}"/>
                  </a:ext>
                </a:extLst>
              </p:cNvPr>
              <p:cNvSpPr/>
              <p:nvPr/>
            </p:nvSpPr>
            <p:spPr>
              <a:xfrm>
                <a:off x="3135543" y="2262473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0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4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64" name="Freihandform: Form 3363">
                <a:extLst>
                  <a:ext uri="{FF2B5EF4-FFF2-40B4-BE49-F238E27FC236}">
                    <a16:creationId xmlns:a16="http://schemas.microsoft.com/office/drawing/2014/main" id="{997B2D9F-45D2-7C9E-6915-A0CB18331326}"/>
                  </a:ext>
                </a:extLst>
              </p:cNvPr>
              <p:cNvSpPr/>
              <p:nvPr/>
            </p:nvSpPr>
            <p:spPr>
              <a:xfrm>
                <a:off x="3164599" y="2262510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2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3 w 22725"/>
                  <a:gd name="connsiteY10" fmla="*/ 7877 h 28585"/>
                  <a:gd name="connsiteX11" fmla="*/ 1602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7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30 h 28585"/>
                  <a:gd name="connsiteX17" fmla="*/ 21708 w 22725"/>
                  <a:gd name="connsiteY17" fmla="*/ 7669 h 28585"/>
                  <a:gd name="connsiteX18" fmla="*/ 17166 w 22725"/>
                  <a:gd name="connsiteY18" fmla="*/ 8291 h 28585"/>
                  <a:gd name="connsiteX19" fmla="*/ 15376 w 22725"/>
                  <a:gd name="connsiteY19" fmla="*/ 4994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1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30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8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0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8" y="16997"/>
                      <a:pt x="11852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8" y="12663"/>
                      <a:pt x="1790" y="11551"/>
                    </a:cubicBezTo>
                    <a:cubicBezTo>
                      <a:pt x="1112" y="10439"/>
                      <a:pt x="773" y="9214"/>
                      <a:pt x="773" y="7877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67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7"/>
                    </a:cubicBezTo>
                    <a:cubicBezTo>
                      <a:pt x="8084" y="170"/>
                      <a:pt x="9422" y="0"/>
                      <a:pt x="10854" y="0"/>
                    </a:cubicBezTo>
                    <a:cubicBezTo>
                      <a:pt x="13002" y="0"/>
                      <a:pt x="14886" y="302"/>
                      <a:pt x="16507" y="923"/>
                    </a:cubicBezTo>
                    <a:cubicBezTo>
                      <a:pt x="18127" y="1545"/>
                      <a:pt x="19333" y="2374"/>
                      <a:pt x="20106" y="3430"/>
                    </a:cubicBezTo>
                    <a:cubicBezTo>
                      <a:pt x="20878" y="4485"/>
                      <a:pt x="21406" y="5898"/>
                      <a:pt x="21708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4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1" y="8951"/>
                    </a:cubicBezTo>
                    <a:cubicBezTo>
                      <a:pt x="6218" y="9441"/>
                      <a:pt x="6802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1" y="12248"/>
                      <a:pt x="17279" y="12983"/>
                      <a:pt x="18561" y="13530"/>
                    </a:cubicBezTo>
                    <a:cubicBezTo>
                      <a:pt x="19861" y="14095"/>
                      <a:pt x="20878" y="14905"/>
                      <a:pt x="21613" y="15960"/>
                    </a:cubicBezTo>
                    <a:cubicBezTo>
                      <a:pt x="22348" y="17034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46" y="27851"/>
                      <a:pt x="3580" y="26362"/>
                    </a:cubicBezTo>
                    <a:cubicBezTo>
                      <a:pt x="1715" y="24892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76" name="Grafik 21">
              <a:extLst>
                <a:ext uri="{FF2B5EF4-FFF2-40B4-BE49-F238E27FC236}">
                  <a16:creationId xmlns:a16="http://schemas.microsoft.com/office/drawing/2014/main" id="{88B89B24-D906-C65D-FDEC-1493D0FD52C4}"/>
                </a:ext>
              </a:extLst>
            </p:cNvPr>
            <p:cNvGrpSpPr/>
            <p:nvPr/>
          </p:nvGrpSpPr>
          <p:grpSpPr>
            <a:xfrm>
              <a:off x="2752476" y="2108805"/>
              <a:ext cx="87885" cy="39062"/>
              <a:chOff x="2752476" y="2108805"/>
              <a:chExt cx="87885" cy="39062"/>
            </a:xfrm>
            <a:solidFill>
              <a:srgbClr val="000000"/>
            </a:solidFill>
          </p:grpSpPr>
          <p:sp>
            <p:nvSpPr>
              <p:cNvPr id="3355" name="Freihandform: Form 3354">
                <a:extLst>
                  <a:ext uri="{FF2B5EF4-FFF2-40B4-BE49-F238E27FC236}">
                    <a16:creationId xmlns:a16="http://schemas.microsoft.com/office/drawing/2014/main" id="{78C1432F-585C-F233-648B-B4092D4ABE36}"/>
                  </a:ext>
                </a:extLst>
              </p:cNvPr>
              <p:cNvSpPr/>
              <p:nvPr/>
            </p:nvSpPr>
            <p:spPr>
              <a:xfrm>
                <a:off x="2752476" y="2108805"/>
                <a:ext cx="30092" cy="39062"/>
              </a:xfrm>
              <a:custGeom>
                <a:avLst/>
                <a:gdLst>
                  <a:gd name="connsiteX0" fmla="*/ 0 w 30092"/>
                  <a:gd name="connsiteY0" fmla="*/ 26305 h 39062"/>
                  <a:gd name="connsiteX1" fmla="*/ 4711 w 30092"/>
                  <a:gd name="connsiteY1" fmla="*/ 25891 h 39062"/>
                  <a:gd name="connsiteX2" fmla="*/ 6275 w 30092"/>
                  <a:gd name="connsiteY2" fmla="*/ 30545 h 39062"/>
                  <a:gd name="connsiteX3" fmla="*/ 10081 w 30092"/>
                  <a:gd name="connsiteY3" fmla="*/ 33485 h 39062"/>
                  <a:gd name="connsiteX4" fmla="*/ 15885 w 30092"/>
                  <a:gd name="connsiteY4" fmla="*/ 34597 h 39062"/>
                  <a:gd name="connsiteX5" fmla="*/ 20935 w 30092"/>
                  <a:gd name="connsiteY5" fmla="*/ 33749 h 39062"/>
                  <a:gd name="connsiteX6" fmla="*/ 24195 w 30092"/>
                  <a:gd name="connsiteY6" fmla="*/ 31412 h 39062"/>
                  <a:gd name="connsiteX7" fmla="*/ 25269 w 30092"/>
                  <a:gd name="connsiteY7" fmla="*/ 28171 h 39062"/>
                  <a:gd name="connsiteX8" fmla="*/ 24233 w 30092"/>
                  <a:gd name="connsiteY8" fmla="*/ 25062 h 39062"/>
                  <a:gd name="connsiteX9" fmla="*/ 20841 w 30092"/>
                  <a:gd name="connsiteY9" fmla="*/ 22838 h 39062"/>
                  <a:gd name="connsiteX10" fmla="*/ 14114 w 30092"/>
                  <a:gd name="connsiteY10" fmla="*/ 20992 h 39062"/>
                  <a:gd name="connsiteX11" fmla="*/ 6821 w 30092"/>
                  <a:gd name="connsiteY11" fmla="*/ 18636 h 39062"/>
                  <a:gd name="connsiteX12" fmla="*/ 2789 w 30092"/>
                  <a:gd name="connsiteY12" fmla="*/ 15112 h 39062"/>
                  <a:gd name="connsiteX13" fmla="*/ 1470 w 30092"/>
                  <a:gd name="connsiteY13" fmla="*/ 10402 h 39062"/>
                  <a:gd name="connsiteX14" fmla="*/ 3090 w 30092"/>
                  <a:gd name="connsiteY14" fmla="*/ 5050 h 39062"/>
                  <a:gd name="connsiteX15" fmla="*/ 7839 w 30092"/>
                  <a:gd name="connsiteY15" fmla="*/ 1281 h 39062"/>
                  <a:gd name="connsiteX16" fmla="*/ 14773 w 30092"/>
                  <a:gd name="connsiteY16" fmla="*/ 0 h 39062"/>
                  <a:gd name="connsiteX17" fmla="*/ 22179 w 30092"/>
                  <a:gd name="connsiteY17" fmla="*/ 1357 h 39062"/>
                  <a:gd name="connsiteX18" fmla="*/ 27116 w 30092"/>
                  <a:gd name="connsiteY18" fmla="*/ 5333 h 39062"/>
                  <a:gd name="connsiteX19" fmla="*/ 28962 w 30092"/>
                  <a:gd name="connsiteY19" fmla="*/ 11287 h 39062"/>
                  <a:gd name="connsiteX20" fmla="*/ 24176 w 30092"/>
                  <a:gd name="connsiteY20" fmla="*/ 11645 h 39062"/>
                  <a:gd name="connsiteX21" fmla="*/ 21557 w 30092"/>
                  <a:gd name="connsiteY21" fmla="*/ 6237 h 39062"/>
                  <a:gd name="connsiteX22" fmla="*/ 14981 w 30092"/>
                  <a:gd name="connsiteY22" fmla="*/ 4409 h 39062"/>
                  <a:gd name="connsiteX23" fmla="*/ 8366 w 30092"/>
                  <a:gd name="connsiteY23" fmla="*/ 6068 h 39062"/>
                  <a:gd name="connsiteX24" fmla="*/ 6294 w 30092"/>
                  <a:gd name="connsiteY24" fmla="*/ 10081 h 39062"/>
                  <a:gd name="connsiteX25" fmla="*/ 7763 w 30092"/>
                  <a:gd name="connsiteY25" fmla="*/ 13435 h 39062"/>
                  <a:gd name="connsiteX26" fmla="*/ 15301 w 30092"/>
                  <a:gd name="connsiteY26" fmla="*/ 16130 h 39062"/>
                  <a:gd name="connsiteX27" fmla="*/ 23667 w 30092"/>
                  <a:gd name="connsiteY27" fmla="*/ 18542 h 39062"/>
                  <a:gd name="connsiteX28" fmla="*/ 28529 w 30092"/>
                  <a:gd name="connsiteY28" fmla="*/ 22386 h 39062"/>
                  <a:gd name="connsiteX29" fmla="*/ 30093 w 30092"/>
                  <a:gd name="connsiteY29" fmla="*/ 27756 h 39062"/>
                  <a:gd name="connsiteX30" fmla="*/ 28359 w 30092"/>
                  <a:gd name="connsiteY30" fmla="*/ 33428 h 39062"/>
                  <a:gd name="connsiteX31" fmla="*/ 23403 w 30092"/>
                  <a:gd name="connsiteY31" fmla="*/ 37574 h 39062"/>
                  <a:gd name="connsiteX32" fmla="*/ 16130 w 30092"/>
                  <a:gd name="connsiteY32" fmla="*/ 39062 h 39062"/>
                  <a:gd name="connsiteX33" fmla="*/ 7537 w 30092"/>
                  <a:gd name="connsiteY33" fmla="*/ 37574 h 39062"/>
                  <a:gd name="connsiteX34" fmla="*/ 2110 w 30092"/>
                  <a:gd name="connsiteY34" fmla="*/ 33070 h 39062"/>
                  <a:gd name="connsiteX35" fmla="*/ 38 w 30092"/>
                  <a:gd name="connsiteY35" fmla="*/ 26287 h 39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0092" h="39062">
                    <a:moveTo>
                      <a:pt x="0" y="26305"/>
                    </a:moveTo>
                    <a:lnTo>
                      <a:pt x="4711" y="25891"/>
                    </a:lnTo>
                    <a:cubicBezTo>
                      <a:pt x="4937" y="27775"/>
                      <a:pt x="5446" y="29339"/>
                      <a:pt x="6275" y="30545"/>
                    </a:cubicBezTo>
                    <a:cubicBezTo>
                      <a:pt x="7085" y="31751"/>
                      <a:pt x="8348" y="32731"/>
                      <a:pt x="10081" y="33485"/>
                    </a:cubicBezTo>
                    <a:cubicBezTo>
                      <a:pt x="11796" y="34238"/>
                      <a:pt x="13737" y="34597"/>
                      <a:pt x="15885" y="34597"/>
                    </a:cubicBezTo>
                    <a:cubicBezTo>
                      <a:pt x="17788" y="34597"/>
                      <a:pt x="19465" y="34314"/>
                      <a:pt x="20935" y="33749"/>
                    </a:cubicBezTo>
                    <a:cubicBezTo>
                      <a:pt x="22386" y="33183"/>
                      <a:pt x="23479" y="32411"/>
                      <a:pt x="24195" y="31412"/>
                    </a:cubicBezTo>
                    <a:cubicBezTo>
                      <a:pt x="24911" y="30432"/>
                      <a:pt x="25269" y="29339"/>
                      <a:pt x="25269" y="28171"/>
                    </a:cubicBezTo>
                    <a:cubicBezTo>
                      <a:pt x="25269" y="27003"/>
                      <a:pt x="24930" y="25947"/>
                      <a:pt x="24233" y="25062"/>
                    </a:cubicBezTo>
                    <a:cubicBezTo>
                      <a:pt x="23554" y="24176"/>
                      <a:pt x="22405" y="23441"/>
                      <a:pt x="20841" y="22838"/>
                    </a:cubicBezTo>
                    <a:cubicBezTo>
                      <a:pt x="19823" y="22443"/>
                      <a:pt x="17581" y="21821"/>
                      <a:pt x="14114" y="20992"/>
                    </a:cubicBezTo>
                    <a:cubicBezTo>
                      <a:pt x="10646" y="20162"/>
                      <a:pt x="8216" y="19371"/>
                      <a:pt x="6821" y="18636"/>
                    </a:cubicBezTo>
                    <a:cubicBezTo>
                      <a:pt x="5012" y="17694"/>
                      <a:pt x="3674" y="16526"/>
                      <a:pt x="2789" y="15112"/>
                    </a:cubicBezTo>
                    <a:cubicBezTo>
                      <a:pt x="1903" y="13718"/>
                      <a:pt x="1470" y="12154"/>
                      <a:pt x="1470" y="10402"/>
                    </a:cubicBezTo>
                    <a:cubicBezTo>
                      <a:pt x="1470" y="8498"/>
                      <a:pt x="2016" y="6708"/>
                      <a:pt x="3090" y="5050"/>
                    </a:cubicBezTo>
                    <a:cubicBezTo>
                      <a:pt x="4164" y="3392"/>
                      <a:pt x="5747" y="2129"/>
                      <a:pt x="7839" y="1281"/>
                    </a:cubicBezTo>
                    <a:cubicBezTo>
                      <a:pt x="9912" y="415"/>
                      <a:pt x="12229" y="0"/>
                      <a:pt x="14773" y="0"/>
                    </a:cubicBezTo>
                    <a:cubicBezTo>
                      <a:pt x="17581" y="0"/>
                      <a:pt x="20049" y="452"/>
                      <a:pt x="22179" y="1357"/>
                    </a:cubicBezTo>
                    <a:cubicBezTo>
                      <a:pt x="24308" y="2261"/>
                      <a:pt x="25966" y="3580"/>
                      <a:pt x="27116" y="5333"/>
                    </a:cubicBezTo>
                    <a:cubicBezTo>
                      <a:pt x="28265" y="7085"/>
                      <a:pt x="28887" y="9064"/>
                      <a:pt x="28962" y="11287"/>
                    </a:cubicBezTo>
                    <a:lnTo>
                      <a:pt x="24176" y="11645"/>
                    </a:lnTo>
                    <a:cubicBezTo>
                      <a:pt x="23912" y="9252"/>
                      <a:pt x="23045" y="7462"/>
                      <a:pt x="21557" y="6237"/>
                    </a:cubicBezTo>
                    <a:cubicBezTo>
                      <a:pt x="20068" y="5012"/>
                      <a:pt x="17882" y="4409"/>
                      <a:pt x="14981" y="4409"/>
                    </a:cubicBezTo>
                    <a:cubicBezTo>
                      <a:pt x="12079" y="4409"/>
                      <a:pt x="9761" y="4956"/>
                      <a:pt x="8366" y="6068"/>
                    </a:cubicBezTo>
                    <a:cubicBezTo>
                      <a:pt x="6991" y="7179"/>
                      <a:pt x="6294" y="8517"/>
                      <a:pt x="6294" y="10081"/>
                    </a:cubicBezTo>
                    <a:cubicBezTo>
                      <a:pt x="6294" y="11438"/>
                      <a:pt x="6784" y="12550"/>
                      <a:pt x="7763" y="13435"/>
                    </a:cubicBezTo>
                    <a:cubicBezTo>
                      <a:pt x="8724" y="14302"/>
                      <a:pt x="11231" y="15207"/>
                      <a:pt x="15301" y="16130"/>
                    </a:cubicBezTo>
                    <a:cubicBezTo>
                      <a:pt x="19371" y="17053"/>
                      <a:pt x="22141" y="17845"/>
                      <a:pt x="23667" y="18542"/>
                    </a:cubicBezTo>
                    <a:cubicBezTo>
                      <a:pt x="25872" y="19559"/>
                      <a:pt x="27492" y="20841"/>
                      <a:pt x="28529" y="22386"/>
                    </a:cubicBezTo>
                    <a:cubicBezTo>
                      <a:pt x="29584" y="23950"/>
                      <a:pt x="30093" y="25740"/>
                      <a:pt x="30093" y="27756"/>
                    </a:cubicBezTo>
                    <a:cubicBezTo>
                      <a:pt x="30093" y="29773"/>
                      <a:pt x="29509" y="31657"/>
                      <a:pt x="28359" y="33428"/>
                    </a:cubicBezTo>
                    <a:cubicBezTo>
                      <a:pt x="27210" y="35200"/>
                      <a:pt x="25552" y="36594"/>
                      <a:pt x="23403" y="37574"/>
                    </a:cubicBezTo>
                    <a:cubicBezTo>
                      <a:pt x="21255" y="38554"/>
                      <a:pt x="18825" y="39062"/>
                      <a:pt x="16130" y="39062"/>
                    </a:cubicBezTo>
                    <a:cubicBezTo>
                      <a:pt x="12719" y="39062"/>
                      <a:pt x="9855" y="38572"/>
                      <a:pt x="7537" y="37574"/>
                    </a:cubicBezTo>
                    <a:cubicBezTo>
                      <a:pt x="5220" y="36575"/>
                      <a:pt x="3411" y="35086"/>
                      <a:pt x="2110" y="33070"/>
                    </a:cubicBezTo>
                    <a:cubicBezTo>
                      <a:pt x="810" y="31054"/>
                      <a:pt x="113" y="28812"/>
                      <a:pt x="38" y="262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56" name="Freihandform: Form 3355">
                <a:extLst>
                  <a:ext uri="{FF2B5EF4-FFF2-40B4-BE49-F238E27FC236}">
                    <a16:creationId xmlns:a16="http://schemas.microsoft.com/office/drawing/2014/main" id="{E3F0EE95-E967-F759-AAB6-569175678DF8}"/>
                  </a:ext>
                </a:extLst>
              </p:cNvPr>
              <p:cNvSpPr/>
              <p:nvPr/>
            </p:nvSpPr>
            <p:spPr>
              <a:xfrm>
                <a:off x="2787204" y="2119244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57" name="Freihandform: Form 3356">
                <a:extLst>
                  <a:ext uri="{FF2B5EF4-FFF2-40B4-BE49-F238E27FC236}">
                    <a16:creationId xmlns:a16="http://schemas.microsoft.com/office/drawing/2014/main" id="{2D5D4826-1E24-67FB-7800-CA4317263111}"/>
                  </a:ext>
                </a:extLst>
              </p:cNvPr>
              <p:cNvSpPr/>
              <p:nvPr/>
            </p:nvSpPr>
            <p:spPr>
              <a:xfrm>
                <a:off x="2818126" y="2119263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2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77" name="Grafik 21">
              <a:extLst>
                <a:ext uri="{FF2B5EF4-FFF2-40B4-BE49-F238E27FC236}">
                  <a16:creationId xmlns:a16="http://schemas.microsoft.com/office/drawing/2014/main" id="{449DC1D5-4C72-A00B-ACC9-B2BABA272E20}"/>
                </a:ext>
              </a:extLst>
            </p:cNvPr>
            <p:cNvGrpSpPr/>
            <p:nvPr/>
          </p:nvGrpSpPr>
          <p:grpSpPr>
            <a:xfrm>
              <a:off x="2861315" y="2109484"/>
              <a:ext cx="222408" cy="38402"/>
              <a:chOff x="2861315" y="2109484"/>
              <a:chExt cx="222408" cy="38402"/>
            </a:xfrm>
            <a:solidFill>
              <a:srgbClr val="000000"/>
            </a:solidFill>
          </p:grpSpPr>
          <p:sp>
            <p:nvSpPr>
              <p:cNvPr id="3346" name="Freihandform: Form 3345">
                <a:extLst>
                  <a:ext uri="{FF2B5EF4-FFF2-40B4-BE49-F238E27FC236}">
                    <a16:creationId xmlns:a16="http://schemas.microsoft.com/office/drawing/2014/main" id="{3A71635A-A111-9EDF-2E21-66622503EDAD}"/>
                  </a:ext>
                </a:extLst>
              </p:cNvPr>
              <p:cNvSpPr/>
              <p:nvPr/>
            </p:nvSpPr>
            <p:spPr>
              <a:xfrm>
                <a:off x="2861315" y="2109484"/>
                <a:ext cx="25476" cy="37799"/>
              </a:xfrm>
              <a:custGeom>
                <a:avLst/>
                <a:gdLst>
                  <a:gd name="connsiteX0" fmla="*/ 0 w 25476"/>
                  <a:gd name="connsiteY0" fmla="*/ 37762 h 37799"/>
                  <a:gd name="connsiteX1" fmla="*/ 0 w 25476"/>
                  <a:gd name="connsiteY1" fmla="*/ 0 h 37799"/>
                  <a:gd name="connsiteX2" fmla="*/ 25476 w 25476"/>
                  <a:gd name="connsiteY2" fmla="*/ 0 h 37799"/>
                  <a:gd name="connsiteX3" fmla="*/ 25476 w 25476"/>
                  <a:gd name="connsiteY3" fmla="*/ 4466 h 37799"/>
                  <a:gd name="connsiteX4" fmla="*/ 4993 w 25476"/>
                  <a:gd name="connsiteY4" fmla="*/ 4466 h 37799"/>
                  <a:gd name="connsiteX5" fmla="*/ 4993 w 25476"/>
                  <a:gd name="connsiteY5" fmla="*/ 16168 h 37799"/>
                  <a:gd name="connsiteX6" fmla="*/ 22725 w 25476"/>
                  <a:gd name="connsiteY6" fmla="*/ 16168 h 37799"/>
                  <a:gd name="connsiteX7" fmla="*/ 22725 w 25476"/>
                  <a:gd name="connsiteY7" fmla="*/ 20633 h 37799"/>
                  <a:gd name="connsiteX8" fmla="*/ 4993 w 25476"/>
                  <a:gd name="connsiteY8" fmla="*/ 20633 h 37799"/>
                  <a:gd name="connsiteX9" fmla="*/ 4993 w 25476"/>
                  <a:gd name="connsiteY9" fmla="*/ 37800 h 37799"/>
                  <a:gd name="connsiteX10" fmla="*/ 0 w 25476"/>
                  <a:gd name="connsiteY10" fmla="*/ 37800 h 37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476" h="37799">
                    <a:moveTo>
                      <a:pt x="0" y="37762"/>
                    </a:moveTo>
                    <a:lnTo>
                      <a:pt x="0" y="0"/>
                    </a:lnTo>
                    <a:lnTo>
                      <a:pt x="25476" y="0"/>
                    </a:lnTo>
                    <a:lnTo>
                      <a:pt x="25476" y="4466"/>
                    </a:lnTo>
                    <a:lnTo>
                      <a:pt x="4993" y="4466"/>
                    </a:lnTo>
                    <a:lnTo>
                      <a:pt x="4993" y="16168"/>
                    </a:lnTo>
                    <a:lnTo>
                      <a:pt x="22725" y="16168"/>
                    </a:lnTo>
                    <a:lnTo>
                      <a:pt x="22725" y="20633"/>
                    </a:lnTo>
                    <a:lnTo>
                      <a:pt x="4993" y="20633"/>
                    </a:lnTo>
                    <a:lnTo>
                      <a:pt x="4993" y="37800"/>
                    </a:lnTo>
                    <a:lnTo>
                      <a:pt x="0" y="37800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47" name="Freihandform: Form 3346">
                <a:extLst>
                  <a:ext uri="{FF2B5EF4-FFF2-40B4-BE49-F238E27FC236}">
                    <a16:creationId xmlns:a16="http://schemas.microsoft.com/office/drawing/2014/main" id="{21188C98-1B8B-621E-075A-918ED64E0A4B}"/>
                  </a:ext>
                </a:extLst>
              </p:cNvPr>
              <p:cNvSpPr/>
              <p:nvPr/>
            </p:nvSpPr>
            <p:spPr>
              <a:xfrm>
                <a:off x="2892652" y="2119263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09 h 27982"/>
                  <a:gd name="connsiteX10" fmla="*/ 5408 w 14867"/>
                  <a:gd name="connsiteY10" fmla="*/ 8253 h 27982"/>
                  <a:gd name="connsiteX11" fmla="*/ 4636 w 14867"/>
                  <a:gd name="connsiteY11" fmla="*/ 13661 h 27982"/>
                  <a:gd name="connsiteX12" fmla="*/ 4636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1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6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09"/>
                    </a:cubicBezTo>
                    <a:cubicBezTo>
                      <a:pt x="6331" y="6312"/>
                      <a:pt x="5766" y="7160"/>
                      <a:pt x="5408" y="8253"/>
                    </a:cubicBezTo>
                    <a:cubicBezTo>
                      <a:pt x="4899" y="9912"/>
                      <a:pt x="4636" y="11702"/>
                      <a:pt x="4636" y="13661"/>
                    </a:cubicBezTo>
                    <a:lnTo>
                      <a:pt x="4636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48" name="Freihandform: Form 3347">
                <a:extLst>
                  <a:ext uri="{FF2B5EF4-FFF2-40B4-BE49-F238E27FC236}">
                    <a16:creationId xmlns:a16="http://schemas.microsoft.com/office/drawing/2014/main" id="{90BBDBE2-094B-E305-FFAF-8C5FEB65F33C}"/>
                  </a:ext>
                </a:extLst>
              </p:cNvPr>
              <p:cNvSpPr/>
              <p:nvPr/>
            </p:nvSpPr>
            <p:spPr>
              <a:xfrm>
                <a:off x="2908688" y="2119244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49" name="Freihandform: Form 3348">
                <a:extLst>
                  <a:ext uri="{FF2B5EF4-FFF2-40B4-BE49-F238E27FC236}">
                    <a16:creationId xmlns:a16="http://schemas.microsoft.com/office/drawing/2014/main" id="{BB6F441A-B7BA-7A13-1D33-DB5208C1C582}"/>
                  </a:ext>
                </a:extLst>
              </p:cNvPr>
              <p:cNvSpPr/>
              <p:nvPr/>
            </p:nvSpPr>
            <p:spPr>
              <a:xfrm>
                <a:off x="2939610" y="2119263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2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50" name="Freihandform: Form 3349">
                <a:extLst>
                  <a:ext uri="{FF2B5EF4-FFF2-40B4-BE49-F238E27FC236}">
                    <a16:creationId xmlns:a16="http://schemas.microsoft.com/office/drawing/2014/main" id="{5393F327-C86A-52F2-2B46-9B8D5E55A9B4}"/>
                  </a:ext>
                </a:extLst>
              </p:cNvPr>
              <p:cNvSpPr/>
              <p:nvPr/>
            </p:nvSpPr>
            <p:spPr>
              <a:xfrm>
                <a:off x="2967554" y="2119263"/>
                <a:ext cx="23818" cy="28604"/>
              </a:xfrm>
              <a:custGeom>
                <a:avLst/>
                <a:gdLst>
                  <a:gd name="connsiteX0" fmla="*/ 19258 w 23818"/>
                  <a:gd name="connsiteY0" fmla="*/ 17958 h 28604"/>
                  <a:gd name="connsiteX1" fmla="*/ 23818 w 23818"/>
                  <a:gd name="connsiteY1" fmla="*/ 18542 h 28604"/>
                  <a:gd name="connsiteX2" fmla="*/ 19993 w 23818"/>
                  <a:gd name="connsiteY2" fmla="*/ 25928 h 28604"/>
                  <a:gd name="connsiteX3" fmla="*/ 12437 w 23818"/>
                  <a:gd name="connsiteY3" fmla="*/ 28604 h 28604"/>
                  <a:gd name="connsiteX4" fmla="*/ 3411 w 23818"/>
                  <a:gd name="connsiteY4" fmla="*/ 24930 h 28604"/>
                  <a:gd name="connsiteX5" fmla="*/ 0 w 23818"/>
                  <a:gd name="connsiteY5" fmla="*/ 14415 h 28604"/>
                  <a:gd name="connsiteX6" fmla="*/ 1470 w 23818"/>
                  <a:gd name="connsiteY6" fmla="*/ 6652 h 28604"/>
                  <a:gd name="connsiteX7" fmla="*/ 5936 w 23818"/>
                  <a:gd name="connsiteY7" fmla="*/ 1658 h 28604"/>
                  <a:gd name="connsiteX8" fmla="*/ 12474 w 23818"/>
                  <a:gd name="connsiteY8" fmla="*/ 0 h 28604"/>
                  <a:gd name="connsiteX9" fmla="*/ 19767 w 23818"/>
                  <a:gd name="connsiteY9" fmla="*/ 2261 h 28604"/>
                  <a:gd name="connsiteX10" fmla="*/ 23403 w 23818"/>
                  <a:gd name="connsiteY10" fmla="*/ 8668 h 28604"/>
                  <a:gd name="connsiteX11" fmla="*/ 18900 w 23818"/>
                  <a:gd name="connsiteY11" fmla="*/ 9365 h 28604"/>
                  <a:gd name="connsiteX12" fmla="*/ 16620 w 23818"/>
                  <a:gd name="connsiteY12" fmla="*/ 5220 h 28604"/>
                  <a:gd name="connsiteX13" fmla="*/ 12663 w 23818"/>
                  <a:gd name="connsiteY13" fmla="*/ 3825 h 28604"/>
                  <a:gd name="connsiteX14" fmla="*/ 6972 w 23818"/>
                  <a:gd name="connsiteY14" fmla="*/ 6331 h 28604"/>
                  <a:gd name="connsiteX15" fmla="*/ 4786 w 23818"/>
                  <a:gd name="connsiteY15" fmla="*/ 14283 h 28604"/>
                  <a:gd name="connsiteX16" fmla="*/ 6897 w 23818"/>
                  <a:gd name="connsiteY16" fmla="*/ 22292 h 28604"/>
                  <a:gd name="connsiteX17" fmla="*/ 12418 w 23818"/>
                  <a:gd name="connsiteY17" fmla="*/ 24798 h 28604"/>
                  <a:gd name="connsiteX18" fmla="*/ 16978 w 23818"/>
                  <a:gd name="connsiteY18" fmla="*/ 23121 h 28604"/>
                  <a:gd name="connsiteX19" fmla="*/ 19296 w 23818"/>
                  <a:gd name="connsiteY19" fmla="*/ 17977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818" h="28604">
                    <a:moveTo>
                      <a:pt x="19258" y="17958"/>
                    </a:moveTo>
                    <a:lnTo>
                      <a:pt x="23818" y="18542"/>
                    </a:lnTo>
                    <a:cubicBezTo>
                      <a:pt x="23328" y="21689"/>
                      <a:pt x="22047" y="24138"/>
                      <a:pt x="19993" y="25928"/>
                    </a:cubicBezTo>
                    <a:cubicBezTo>
                      <a:pt x="17939" y="27700"/>
                      <a:pt x="15414" y="28604"/>
                      <a:pt x="12437" y="28604"/>
                    </a:cubicBezTo>
                    <a:cubicBezTo>
                      <a:pt x="8687" y="28604"/>
                      <a:pt x="5691" y="27379"/>
                      <a:pt x="3411" y="24930"/>
                    </a:cubicBezTo>
                    <a:cubicBezTo>
                      <a:pt x="1131" y="22480"/>
                      <a:pt x="0" y="18975"/>
                      <a:pt x="0" y="14415"/>
                    </a:cubicBezTo>
                    <a:cubicBezTo>
                      <a:pt x="0" y="11457"/>
                      <a:pt x="490" y="8875"/>
                      <a:pt x="1470" y="6652"/>
                    </a:cubicBezTo>
                    <a:cubicBezTo>
                      <a:pt x="2450" y="4428"/>
                      <a:pt x="3938" y="2770"/>
                      <a:pt x="5936" y="1658"/>
                    </a:cubicBezTo>
                    <a:cubicBezTo>
                      <a:pt x="7933" y="546"/>
                      <a:pt x="10119" y="0"/>
                      <a:pt x="12474" y="0"/>
                    </a:cubicBezTo>
                    <a:cubicBezTo>
                      <a:pt x="15452" y="0"/>
                      <a:pt x="17882" y="754"/>
                      <a:pt x="19767" y="2261"/>
                    </a:cubicBezTo>
                    <a:cubicBezTo>
                      <a:pt x="21651" y="3769"/>
                      <a:pt x="22876" y="5898"/>
                      <a:pt x="23403" y="8668"/>
                    </a:cubicBezTo>
                    <a:lnTo>
                      <a:pt x="18900" y="9365"/>
                    </a:lnTo>
                    <a:cubicBezTo>
                      <a:pt x="18467" y="7518"/>
                      <a:pt x="17713" y="6143"/>
                      <a:pt x="16620" y="5220"/>
                    </a:cubicBezTo>
                    <a:cubicBezTo>
                      <a:pt x="15527" y="4296"/>
                      <a:pt x="14208" y="3825"/>
                      <a:pt x="12663" y="3825"/>
                    </a:cubicBezTo>
                    <a:cubicBezTo>
                      <a:pt x="10326" y="3825"/>
                      <a:pt x="8423" y="4654"/>
                      <a:pt x="6972" y="6331"/>
                    </a:cubicBezTo>
                    <a:cubicBezTo>
                      <a:pt x="5521" y="8008"/>
                      <a:pt x="4786" y="10646"/>
                      <a:pt x="4786" y="14283"/>
                    </a:cubicBezTo>
                    <a:cubicBezTo>
                      <a:pt x="4786" y="17920"/>
                      <a:pt x="5483" y="20633"/>
                      <a:pt x="6897" y="22292"/>
                    </a:cubicBezTo>
                    <a:cubicBezTo>
                      <a:pt x="8310" y="23950"/>
                      <a:pt x="10138" y="24798"/>
                      <a:pt x="12418" y="24798"/>
                    </a:cubicBezTo>
                    <a:cubicBezTo>
                      <a:pt x="14246" y="24798"/>
                      <a:pt x="15753" y="24233"/>
                      <a:pt x="16978" y="23121"/>
                    </a:cubicBezTo>
                    <a:cubicBezTo>
                      <a:pt x="18203" y="22009"/>
                      <a:pt x="18975" y="20294"/>
                      <a:pt x="19296" y="1797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51" name="Freihandform: Form 3350">
                <a:extLst>
                  <a:ext uri="{FF2B5EF4-FFF2-40B4-BE49-F238E27FC236}">
                    <a16:creationId xmlns:a16="http://schemas.microsoft.com/office/drawing/2014/main" id="{89564ADD-171A-3573-E0CD-3E412F931EFB}"/>
                  </a:ext>
                </a:extLst>
              </p:cNvPr>
              <p:cNvSpPr/>
              <p:nvPr/>
            </p:nvSpPr>
            <p:spPr>
              <a:xfrm>
                <a:off x="2995367" y="2109484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1 h 37762"/>
                  <a:gd name="connsiteX7" fmla="*/ 4635 w 4635"/>
                  <a:gd name="connsiteY7" fmla="*/ 10401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1"/>
                    </a:lnTo>
                    <a:lnTo>
                      <a:pt x="4635" y="10401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52" name="Freihandform: Form 3351">
                <a:extLst>
                  <a:ext uri="{FF2B5EF4-FFF2-40B4-BE49-F238E27FC236}">
                    <a16:creationId xmlns:a16="http://schemas.microsoft.com/office/drawing/2014/main" id="{189EAE48-BC76-07D8-F10B-F41274151040}"/>
                  </a:ext>
                </a:extLst>
              </p:cNvPr>
              <p:cNvSpPr/>
              <p:nvPr/>
            </p:nvSpPr>
            <p:spPr>
              <a:xfrm>
                <a:off x="3005203" y="2119301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2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3 w 22725"/>
                  <a:gd name="connsiteY10" fmla="*/ 7877 h 28585"/>
                  <a:gd name="connsiteX11" fmla="*/ 1602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7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30 h 28585"/>
                  <a:gd name="connsiteX17" fmla="*/ 21708 w 22725"/>
                  <a:gd name="connsiteY17" fmla="*/ 7669 h 28585"/>
                  <a:gd name="connsiteX18" fmla="*/ 17166 w 22725"/>
                  <a:gd name="connsiteY18" fmla="*/ 8291 h 28585"/>
                  <a:gd name="connsiteX19" fmla="*/ 15376 w 22725"/>
                  <a:gd name="connsiteY19" fmla="*/ 4994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1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30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8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0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8" y="16997"/>
                      <a:pt x="11852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8" y="12663"/>
                      <a:pt x="1790" y="11551"/>
                    </a:cubicBezTo>
                    <a:cubicBezTo>
                      <a:pt x="1112" y="10439"/>
                      <a:pt x="773" y="9214"/>
                      <a:pt x="773" y="7877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67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7"/>
                    </a:cubicBezTo>
                    <a:cubicBezTo>
                      <a:pt x="8084" y="170"/>
                      <a:pt x="9422" y="0"/>
                      <a:pt x="10854" y="0"/>
                    </a:cubicBezTo>
                    <a:cubicBezTo>
                      <a:pt x="13002" y="0"/>
                      <a:pt x="14886" y="302"/>
                      <a:pt x="16507" y="923"/>
                    </a:cubicBezTo>
                    <a:cubicBezTo>
                      <a:pt x="18127" y="1545"/>
                      <a:pt x="19333" y="2374"/>
                      <a:pt x="20106" y="3430"/>
                    </a:cubicBezTo>
                    <a:cubicBezTo>
                      <a:pt x="20878" y="4485"/>
                      <a:pt x="21406" y="5898"/>
                      <a:pt x="21708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4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1" y="8951"/>
                    </a:cubicBezTo>
                    <a:cubicBezTo>
                      <a:pt x="6218" y="9441"/>
                      <a:pt x="6802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1" y="12248"/>
                      <a:pt x="17279" y="12983"/>
                      <a:pt x="18561" y="13530"/>
                    </a:cubicBezTo>
                    <a:cubicBezTo>
                      <a:pt x="19861" y="14095"/>
                      <a:pt x="20878" y="14905"/>
                      <a:pt x="21613" y="15960"/>
                    </a:cubicBezTo>
                    <a:cubicBezTo>
                      <a:pt x="22348" y="17034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46" y="27851"/>
                      <a:pt x="3580" y="26362"/>
                    </a:cubicBezTo>
                    <a:cubicBezTo>
                      <a:pt x="1715" y="24892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53" name="Freihandform: Form 3352">
                <a:extLst>
                  <a:ext uri="{FF2B5EF4-FFF2-40B4-BE49-F238E27FC236}">
                    <a16:creationId xmlns:a16="http://schemas.microsoft.com/office/drawing/2014/main" id="{E690B57C-8DC8-74F3-55C4-86275D15BB58}"/>
                  </a:ext>
                </a:extLst>
              </p:cNvPr>
              <p:cNvSpPr/>
              <p:nvPr/>
            </p:nvSpPr>
            <p:spPr>
              <a:xfrm>
                <a:off x="3032036" y="2119263"/>
                <a:ext cx="23818" cy="28604"/>
              </a:xfrm>
              <a:custGeom>
                <a:avLst/>
                <a:gdLst>
                  <a:gd name="connsiteX0" fmla="*/ 19258 w 23818"/>
                  <a:gd name="connsiteY0" fmla="*/ 17958 h 28604"/>
                  <a:gd name="connsiteX1" fmla="*/ 23818 w 23818"/>
                  <a:gd name="connsiteY1" fmla="*/ 18542 h 28604"/>
                  <a:gd name="connsiteX2" fmla="*/ 19993 w 23818"/>
                  <a:gd name="connsiteY2" fmla="*/ 25928 h 28604"/>
                  <a:gd name="connsiteX3" fmla="*/ 12437 w 23818"/>
                  <a:gd name="connsiteY3" fmla="*/ 28604 h 28604"/>
                  <a:gd name="connsiteX4" fmla="*/ 3411 w 23818"/>
                  <a:gd name="connsiteY4" fmla="*/ 24930 h 28604"/>
                  <a:gd name="connsiteX5" fmla="*/ 0 w 23818"/>
                  <a:gd name="connsiteY5" fmla="*/ 14415 h 28604"/>
                  <a:gd name="connsiteX6" fmla="*/ 1470 w 23818"/>
                  <a:gd name="connsiteY6" fmla="*/ 6652 h 28604"/>
                  <a:gd name="connsiteX7" fmla="*/ 5936 w 23818"/>
                  <a:gd name="connsiteY7" fmla="*/ 1658 h 28604"/>
                  <a:gd name="connsiteX8" fmla="*/ 12474 w 23818"/>
                  <a:gd name="connsiteY8" fmla="*/ 0 h 28604"/>
                  <a:gd name="connsiteX9" fmla="*/ 19767 w 23818"/>
                  <a:gd name="connsiteY9" fmla="*/ 2261 h 28604"/>
                  <a:gd name="connsiteX10" fmla="*/ 23403 w 23818"/>
                  <a:gd name="connsiteY10" fmla="*/ 8668 h 28604"/>
                  <a:gd name="connsiteX11" fmla="*/ 18900 w 23818"/>
                  <a:gd name="connsiteY11" fmla="*/ 9365 h 28604"/>
                  <a:gd name="connsiteX12" fmla="*/ 16620 w 23818"/>
                  <a:gd name="connsiteY12" fmla="*/ 5220 h 28604"/>
                  <a:gd name="connsiteX13" fmla="*/ 12663 w 23818"/>
                  <a:gd name="connsiteY13" fmla="*/ 3825 h 28604"/>
                  <a:gd name="connsiteX14" fmla="*/ 6972 w 23818"/>
                  <a:gd name="connsiteY14" fmla="*/ 6331 h 28604"/>
                  <a:gd name="connsiteX15" fmla="*/ 4786 w 23818"/>
                  <a:gd name="connsiteY15" fmla="*/ 14283 h 28604"/>
                  <a:gd name="connsiteX16" fmla="*/ 6897 w 23818"/>
                  <a:gd name="connsiteY16" fmla="*/ 22292 h 28604"/>
                  <a:gd name="connsiteX17" fmla="*/ 12418 w 23818"/>
                  <a:gd name="connsiteY17" fmla="*/ 24798 h 28604"/>
                  <a:gd name="connsiteX18" fmla="*/ 16978 w 23818"/>
                  <a:gd name="connsiteY18" fmla="*/ 23121 h 28604"/>
                  <a:gd name="connsiteX19" fmla="*/ 19296 w 23818"/>
                  <a:gd name="connsiteY19" fmla="*/ 17977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818" h="28604">
                    <a:moveTo>
                      <a:pt x="19258" y="17958"/>
                    </a:moveTo>
                    <a:lnTo>
                      <a:pt x="23818" y="18542"/>
                    </a:lnTo>
                    <a:cubicBezTo>
                      <a:pt x="23328" y="21689"/>
                      <a:pt x="22047" y="24138"/>
                      <a:pt x="19993" y="25928"/>
                    </a:cubicBezTo>
                    <a:cubicBezTo>
                      <a:pt x="17939" y="27700"/>
                      <a:pt x="15414" y="28604"/>
                      <a:pt x="12437" y="28604"/>
                    </a:cubicBezTo>
                    <a:cubicBezTo>
                      <a:pt x="8687" y="28604"/>
                      <a:pt x="5691" y="27379"/>
                      <a:pt x="3411" y="24930"/>
                    </a:cubicBezTo>
                    <a:cubicBezTo>
                      <a:pt x="1131" y="22480"/>
                      <a:pt x="0" y="18975"/>
                      <a:pt x="0" y="14415"/>
                    </a:cubicBezTo>
                    <a:cubicBezTo>
                      <a:pt x="0" y="11457"/>
                      <a:pt x="490" y="8875"/>
                      <a:pt x="1470" y="6652"/>
                    </a:cubicBezTo>
                    <a:cubicBezTo>
                      <a:pt x="2450" y="4428"/>
                      <a:pt x="3938" y="2770"/>
                      <a:pt x="5936" y="1658"/>
                    </a:cubicBezTo>
                    <a:cubicBezTo>
                      <a:pt x="7933" y="546"/>
                      <a:pt x="10119" y="0"/>
                      <a:pt x="12474" y="0"/>
                    </a:cubicBezTo>
                    <a:cubicBezTo>
                      <a:pt x="15452" y="0"/>
                      <a:pt x="17882" y="754"/>
                      <a:pt x="19767" y="2261"/>
                    </a:cubicBezTo>
                    <a:cubicBezTo>
                      <a:pt x="21651" y="3769"/>
                      <a:pt x="22876" y="5898"/>
                      <a:pt x="23403" y="8668"/>
                    </a:cubicBezTo>
                    <a:lnTo>
                      <a:pt x="18900" y="9365"/>
                    </a:lnTo>
                    <a:cubicBezTo>
                      <a:pt x="18467" y="7518"/>
                      <a:pt x="17713" y="6143"/>
                      <a:pt x="16620" y="5220"/>
                    </a:cubicBezTo>
                    <a:cubicBezTo>
                      <a:pt x="15527" y="4296"/>
                      <a:pt x="14208" y="3825"/>
                      <a:pt x="12663" y="3825"/>
                    </a:cubicBezTo>
                    <a:cubicBezTo>
                      <a:pt x="10326" y="3825"/>
                      <a:pt x="8423" y="4654"/>
                      <a:pt x="6972" y="6331"/>
                    </a:cubicBezTo>
                    <a:cubicBezTo>
                      <a:pt x="5521" y="8008"/>
                      <a:pt x="4786" y="10646"/>
                      <a:pt x="4786" y="14283"/>
                    </a:cubicBezTo>
                    <a:cubicBezTo>
                      <a:pt x="4786" y="17920"/>
                      <a:pt x="5483" y="20633"/>
                      <a:pt x="6897" y="22292"/>
                    </a:cubicBezTo>
                    <a:cubicBezTo>
                      <a:pt x="8310" y="23950"/>
                      <a:pt x="10138" y="24798"/>
                      <a:pt x="12418" y="24798"/>
                    </a:cubicBezTo>
                    <a:cubicBezTo>
                      <a:pt x="14246" y="24798"/>
                      <a:pt x="15753" y="24233"/>
                      <a:pt x="16978" y="23121"/>
                    </a:cubicBezTo>
                    <a:cubicBezTo>
                      <a:pt x="18203" y="22009"/>
                      <a:pt x="18975" y="20294"/>
                      <a:pt x="19296" y="1797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54" name="Freihandform: Form 3353">
                <a:extLst>
                  <a:ext uri="{FF2B5EF4-FFF2-40B4-BE49-F238E27FC236}">
                    <a16:creationId xmlns:a16="http://schemas.microsoft.com/office/drawing/2014/main" id="{7F3C7972-B55B-777E-90EB-97416220E757}"/>
                  </a:ext>
                </a:extLst>
              </p:cNvPr>
              <p:cNvSpPr/>
              <p:nvPr/>
            </p:nvSpPr>
            <p:spPr>
              <a:xfrm>
                <a:off x="3058078" y="2119282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78" name="Grafik 21">
              <a:extLst>
                <a:ext uri="{FF2B5EF4-FFF2-40B4-BE49-F238E27FC236}">
                  <a16:creationId xmlns:a16="http://schemas.microsoft.com/office/drawing/2014/main" id="{8A577EA1-D756-8B94-74A9-C82E12CC37BC}"/>
                </a:ext>
              </a:extLst>
            </p:cNvPr>
            <p:cNvGrpSpPr/>
            <p:nvPr/>
          </p:nvGrpSpPr>
          <p:grpSpPr>
            <a:xfrm>
              <a:off x="3436170" y="1417932"/>
              <a:ext cx="232734" cy="38402"/>
              <a:chOff x="3436170" y="1417932"/>
              <a:chExt cx="232734" cy="38402"/>
            </a:xfrm>
            <a:solidFill>
              <a:srgbClr val="000000"/>
            </a:solidFill>
          </p:grpSpPr>
          <p:sp>
            <p:nvSpPr>
              <p:cNvPr id="3338" name="Freihandform: Form 3337">
                <a:extLst>
                  <a:ext uri="{FF2B5EF4-FFF2-40B4-BE49-F238E27FC236}">
                    <a16:creationId xmlns:a16="http://schemas.microsoft.com/office/drawing/2014/main" id="{18143BD5-8785-1C52-CCC3-6E0B9ACF34DB}"/>
                  </a:ext>
                </a:extLst>
              </p:cNvPr>
              <p:cNvSpPr/>
              <p:nvPr/>
            </p:nvSpPr>
            <p:spPr>
              <a:xfrm>
                <a:off x="3436170" y="1417932"/>
                <a:ext cx="28189" cy="37780"/>
              </a:xfrm>
              <a:custGeom>
                <a:avLst/>
                <a:gdLst>
                  <a:gd name="connsiteX0" fmla="*/ 19 w 28189"/>
                  <a:gd name="connsiteY0" fmla="*/ 37762 h 37780"/>
                  <a:gd name="connsiteX1" fmla="*/ 19 w 28189"/>
                  <a:gd name="connsiteY1" fmla="*/ 0 h 37780"/>
                  <a:gd name="connsiteX2" fmla="*/ 27323 w 28189"/>
                  <a:gd name="connsiteY2" fmla="*/ 0 h 37780"/>
                  <a:gd name="connsiteX3" fmla="*/ 27323 w 28189"/>
                  <a:gd name="connsiteY3" fmla="*/ 4466 h 37780"/>
                  <a:gd name="connsiteX4" fmla="*/ 5012 w 28189"/>
                  <a:gd name="connsiteY4" fmla="*/ 4466 h 37780"/>
                  <a:gd name="connsiteX5" fmla="*/ 5012 w 28189"/>
                  <a:gd name="connsiteY5" fmla="*/ 16036 h 37780"/>
                  <a:gd name="connsiteX6" fmla="*/ 25910 w 28189"/>
                  <a:gd name="connsiteY6" fmla="*/ 16036 h 37780"/>
                  <a:gd name="connsiteX7" fmla="*/ 25910 w 28189"/>
                  <a:gd name="connsiteY7" fmla="*/ 20464 h 37780"/>
                  <a:gd name="connsiteX8" fmla="*/ 5012 w 28189"/>
                  <a:gd name="connsiteY8" fmla="*/ 20464 h 37780"/>
                  <a:gd name="connsiteX9" fmla="*/ 5012 w 28189"/>
                  <a:gd name="connsiteY9" fmla="*/ 33315 h 37780"/>
                  <a:gd name="connsiteX10" fmla="*/ 28190 w 28189"/>
                  <a:gd name="connsiteY10" fmla="*/ 33315 h 37780"/>
                  <a:gd name="connsiteX11" fmla="*/ 28190 w 28189"/>
                  <a:gd name="connsiteY11" fmla="*/ 37781 h 37780"/>
                  <a:gd name="connsiteX12" fmla="*/ 0 w 28189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189" h="37780">
                    <a:moveTo>
                      <a:pt x="19" y="37762"/>
                    </a:moveTo>
                    <a:lnTo>
                      <a:pt x="19" y="0"/>
                    </a:lnTo>
                    <a:lnTo>
                      <a:pt x="27323" y="0"/>
                    </a:lnTo>
                    <a:lnTo>
                      <a:pt x="27323" y="4466"/>
                    </a:lnTo>
                    <a:lnTo>
                      <a:pt x="5012" y="4466"/>
                    </a:lnTo>
                    <a:lnTo>
                      <a:pt x="5012" y="16036"/>
                    </a:lnTo>
                    <a:lnTo>
                      <a:pt x="25910" y="16036"/>
                    </a:lnTo>
                    <a:lnTo>
                      <a:pt x="25910" y="20464"/>
                    </a:lnTo>
                    <a:lnTo>
                      <a:pt x="5012" y="20464"/>
                    </a:lnTo>
                    <a:lnTo>
                      <a:pt x="5012" y="33315"/>
                    </a:lnTo>
                    <a:lnTo>
                      <a:pt x="28190" y="33315"/>
                    </a:lnTo>
                    <a:lnTo>
                      <a:pt x="28190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39" name="Freihandform: Form 3338">
                <a:extLst>
                  <a:ext uri="{FF2B5EF4-FFF2-40B4-BE49-F238E27FC236}">
                    <a16:creationId xmlns:a16="http://schemas.microsoft.com/office/drawing/2014/main" id="{F69CDF3D-5408-B1E9-4C5D-CB79B4FF0E2C}"/>
                  </a:ext>
                </a:extLst>
              </p:cNvPr>
              <p:cNvSpPr/>
              <p:nvPr/>
            </p:nvSpPr>
            <p:spPr>
              <a:xfrm>
                <a:off x="3469014" y="1417951"/>
                <a:ext cx="23723" cy="38365"/>
              </a:xfrm>
              <a:custGeom>
                <a:avLst/>
                <a:gdLst>
                  <a:gd name="connsiteX0" fmla="*/ 19428 w 23723"/>
                  <a:gd name="connsiteY0" fmla="*/ 37743 h 38365"/>
                  <a:gd name="connsiteX1" fmla="*/ 19428 w 23723"/>
                  <a:gd name="connsiteY1" fmla="*/ 34295 h 38365"/>
                  <a:gd name="connsiteX2" fmla="*/ 11777 w 23723"/>
                  <a:gd name="connsiteY2" fmla="*/ 38365 h 38365"/>
                  <a:gd name="connsiteX3" fmla="*/ 5766 w 23723"/>
                  <a:gd name="connsiteY3" fmla="*/ 36556 h 38365"/>
                  <a:gd name="connsiteX4" fmla="*/ 1507 w 23723"/>
                  <a:gd name="connsiteY4" fmla="*/ 31525 h 38365"/>
                  <a:gd name="connsiteX5" fmla="*/ 0 w 23723"/>
                  <a:gd name="connsiteY5" fmla="*/ 24101 h 38365"/>
                  <a:gd name="connsiteX6" fmla="*/ 1357 w 23723"/>
                  <a:gd name="connsiteY6" fmla="*/ 16676 h 38365"/>
                  <a:gd name="connsiteX7" fmla="*/ 5446 w 23723"/>
                  <a:gd name="connsiteY7" fmla="*/ 11570 h 38365"/>
                  <a:gd name="connsiteX8" fmla="*/ 11551 w 23723"/>
                  <a:gd name="connsiteY8" fmla="*/ 9799 h 38365"/>
                  <a:gd name="connsiteX9" fmla="*/ 15960 w 23723"/>
                  <a:gd name="connsiteY9" fmla="*/ 10835 h 38365"/>
                  <a:gd name="connsiteX10" fmla="*/ 19107 w 23723"/>
                  <a:gd name="connsiteY10" fmla="*/ 13548 h 38365"/>
                  <a:gd name="connsiteX11" fmla="*/ 19107 w 23723"/>
                  <a:gd name="connsiteY11" fmla="*/ 0 h 38365"/>
                  <a:gd name="connsiteX12" fmla="*/ 23724 w 23723"/>
                  <a:gd name="connsiteY12" fmla="*/ 0 h 38365"/>
                  <a:gd name="connsiteX13" fmla="*/ 23724 w 23723"/>
                  <a:gd name="connsiteY13" fmla="*/ 37762 h 38365"/>
                  <a:gd name="connsiteX14" fmla="*/ 19428 w 23723"/>
                  <a:gd name="connsiteY14" fmla="*/ 37762 h 38365"/>
                  <a:gd name="connsiteX15" fmla="*/ 4767 w 23723"/>
                  <a:gd name="connsiteY15" fmla="*/ 24082 h 38365"/>
                  <a:gd name="connsiteX16" fmla="*/ 6991 w 23723"/>
                  <a:gd name="connsiteY16" fmla="*/ 31940 h 38365"/>
                  <a:gd name="connsiteX17" fmla="*/ 12229 w 23723"/>
                  <a:gd name="connsiteY17" fmla="*/ 34540 h 38365"/>
                  <a:gd name="connsiteX18" fmla="*/ 17392 w 23723"/>
                  <a:gd name="connsiteY18" fmla="*/ 32053 h 38365"/>
                  <a:gd name="connsiteX19" fmla="*/ 19522 w 23723"/>
                  <a:gd name="connsiteY19" fmla="*/ 24459 h 38365"/>
                  <a:gd name="connsiteX20" fmla="*/ 17355 w 23723"/>
                  <a:gd name="connsiteY20" fmla="*/ 16205 h 38365"/>
                  <a:gd name="connsiteX21" fmla="*/ 12022 w 23723"/>
                  <a:gd name="connsiteY21" fmla="*/ 13586 h 38365"/>
                  <a:gd name="connsiteX22" fmla="*/ 6859 w 23723"/>
                  <a:gd name="connsiteY22" fmla="*/ 16111 h 38365"/>
                  <a:gd name="connsiteX23" fmla="*/ 4786 w 23723"/>
                  <a:gd name="connsiteY23" fmla="*/ 24063 h 38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723" h="38365">
                    <a:moveTo>
                      <a:pt x="19428" y="37743"/>
                    </a:moveTo>
                    <a:lnTo>
                      <a:pt x="19428" y="34295"/>
                    </a:lnTo>
                    <a:cubicBezTo>
                      <a:pt x="17694" y="37008"/>
                      <a:pt x="15150" y="38365"/>
                      <a:pt x="11777" y="38365"/>
                    </a:cubicBezTo>
                    <a:cubicBezTo>
                      <a:pt x="9591" y="38365"/>
                      <a:pt x="7594" y="37762"/>
                      <a:pt x="5766" y="36556"/>
                    </a:cubicBezTo>
                    <a:cubicBezTo>
                      <a:pt x="3938" y="35350"/>
                      <a:pt x="2525" y="33673"/>
                      <a:pt x="1507" y="31525"/>
                    </a:cubicBezTo>
                    <a:cubicBezTo>
                      <a:pt x="490" y="29377"/>
                      <a:pt x="0" y="26890"/>
                      <a:pt x="0" y="24101"/>
                    </a:cubicBezTo>
                    <a:cubicBezTo>
                      <a:pt x="0" y="21312"/>
                      <a:pt x="452" y="18900"/>
                      <a:pt x="1357" y="16676"/>
                    </a:cubicBezTo>
                    <a:cubicBezTo>
                      <a:pt x="2261" y="14453"/>
                      <a:pt x="3637" y="12757"/>
                      <a:pt x="5446" y="11570"/>
                    </a:cubicBezTo>
                    <a:cubicBezTo>
                      <a:pt x="7274" y="10383"/>
                      <a:pt x="9309" y="9799"/>
                      <a:pt x="11551" y="9799"/>
                    </a:cubicBezTo>
                    <a:cubicBezTo>
                      <a:pt x="13209" y="9799"/>
                      <a:pt x="14660" y="10138"/>
                      <a:pt x="15960" y="10835"/>
                    </a:cubicBezTo>
                    <a:cubicBezTo>
                      <a:pt x="17260" y="11532"/>
                      <a:pt x="18297" y="12437"/>
                      <a:pt x="19107" y="13548"/>
                    </a:cubicBezTo>
                    <a:lnTo>
                      <a:pt x="19107" y="0"/>
                    </a:lnTo>
                    <a:lnTo>
                      <a:pt x="23724" y="0"/>
                    </a:lnTo>
                    <a:lnTo>
                      <a:pt x="23724" y="37762"/>
                    </a:lnTo>
                    <a:lnTo>
                      <a:pt x="19428" y="37762"/>
                    </a:lnTo>
                    <a:close/>
                    <a:moveTo>
                      <a:pt x="4767" y="24082"/>
                    </a:moveTo>
                    <a:cubicBezTo>
                      <a:pt x="4767" y="27587"/>
                      <a:pt x="5502" y="30206"/>
                      <a:pt x="6991" y="31940"/>
                    </a:cubicBezTo>
                    <a:cubicBezTo>
                      <a:pt x="8461" y="33673"/>
                      <a:pt x="10213" y="34540"/>
                      <a:pt x="12229" y="34540"/>
                    </a:cubicBezTo>
                    <a:cubicBezTo>
                      <a:pt x="14246" y="34540"/>
                      <a:pt x="15979" y="33711"/>
                      <a:pt x="17392" y="32053"/>
                    </a:cubicBezTo>
                    <a:cubicBezTo>
                      <a:pt x="18806" y="30394"/>
                      <a:pt x="19522" y="27869"/>
                      <a:pt x="19522" y="24459"/>
                    </a:cubicBezTo>
                    <a:cubicBezTo>
                      <a:pt x="19522" y="20709"/>
                      <a:pt x="18806" y="17958"/>
                      <a:pt x="17355" y="16205"/>
                    </a:cubicBezTo>
                    <a:cubicBezTo>
                      <a:pt x="15904" y="14453"/>
                      <a:pt x="14133" y="13586"/>
                      <a:pt x="12022" y="13586"/>
                    </a:cubicBezTo>
                    <a:cubicBezTo>
                      <a:pt x="9912" y="13586"/>
                      <a:pt x="8235" y="14434"/>
                      <a:pt x="6859" y="16111"/>
                    </a:cubicBezTo>
                    <a:cubicBezTo>
                      <a:pt x="5483" y="17788"/>
                      <a:pt x="4786" y="20445"/>
                      <a:pt x="4786" y="2406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40" name="Freihandform: Form 3339">
                <a:extLst>
                  <a:ext uri="{FF2B5EF4-FFF2-40B4-BE49-F238E27FC236}">
                    <a16:creationId xmlns:a16="http://schemas.microsoft.com/office/drawing/2014/main" id="{EECBE709-7F3F-01C9-04AA-772F11C051F6}"/>
                  </a:ext>
                </a:extLst>
              </p:cNvPr>
              <p:cNvSpPr/>
              <p:nvPr/>
            </p:nvSpPr>
            <p:spPr>
              <a:xfrm>
                <a:off x="3500012" y="1427712"/>
                <a:ext cx="37083" cy="27982"/>
              </a:xfrm>
              <a:custGeom>
                <a:avLst/>
                <a:gdLst>
                  <a:gd name="connsiteX0" fmla="*/ 19 w 37083"/>
                  <a:gd name="connsiteY0" fmla="*/ 27982 h 27982"/>
                  <a:gd name="connsiteX1" fmla="*/ 19 w 37083"/>
                  <a:gd name="connsiteY1" fmla="*/ 622 h 27982"/>
                  <a:gd name="connsiteX2" fmla="*/ 4164 w 37083"/>
                  <a:gd name="connsiteY2" fmla="*/ 622 h 27982"/>
                  <a:gd name="connsiteX3" fmla="*/ 4164 w 37083"/>
                  <a:gd name="connsiteY3" fmla="*/ 4466 h 27982"/>
                  <a:gd name="connsiteX4" fmla="*/ 7594 w 37083"/>
                  <a:gd name="connsiteY4" fmla="*/ 1225 h 27982"/>
                  <a:gd name="connsiteX5" fmla="*/ 12455 w 37083"/>
                  <a:gd name="connsiteY5" fmla="*/ 0 h 27982"/>
                  <a:gd name="connsiteX6" fmla="*/ 17449 w 37083"/>
                  <a:gd name="connsiteY6" fmla="*/ 1262 h 27982"/>
                  <a:gd name="connsiteX7" fmla="*/ 20200 w 37083"/>
                  <a:gd name="connsiteY7" fmla="*/ 4786 h 27982"/>
                  <a:gd name="connsiteX8" fmla="*/ 28642 w 37083"/>
                  <a:gd name="connsiteY8" fmla="*/ 0 h 27982"/>
                  <a:gd name="connsiteX9" fmla="*/ 34898 w 37083"/>
                  <a:gd name="connsiteY9" fmla="*/ 2261 h 27982"/>
                  <a:gd name="connsiteX10" fmla="*/ 37084 w 37083"/>
                  <a:gd name="connsiteY10" fmla="*/ 9196 h 27982"/>
                  <a:gd name="connsiteX11" fmla="*/ 37084 w 37083"/>
                  <a:gd name="connsiteY11" fmla="*/ 27982 h 27982"/>
                  <a:gd name="connsiteX12" fmla="*/ 32467 w 37083"/>
                  <a:gd name="connsiteY12" fmla="*/ 27982 h 27982"/>
                  <a:gd name="connsiteX13" fmla="*/ 32467 w 37083"/>
                  <a:gd name="connsiteY13" fmla="*/ 10741 h 27982"/>
                  <a:gd name="connsiteX14" fmla="*/ 32015 w 37083"/>
                  <a:gd name="connsiteY14" fmla="*/ 6727 h 27982"/>
                  <a:gd name="connsiteX15" fmla="*/ 30376 w 37083"/>
                  <a:gd name="connsiteY15" fmla="*/ 4748 h 27982"/>
                  <a:gd name="connsiteX16" fmla="*/ 27587 w 37083"/>
                  <a:gd name="connsiteY16" fmla="*/ 3995 h 27982"/>
                  <a:gd name="connsiteX17" fmla="*/ 22800 w 37083"/>
                  <a:gd name="connsiteY17" fmla="*/ 5917 h 27982"/>
                  <a:gd name="connsiteX18" fmla="*/ 20897 w 37083"/>
                  <a:gd name="connsiteY18" fmla="*/ 12060 h 27982"/>
                  <a:gd name="connsiteX19" fmla="*/ 20897 w 37083"/>
                  <a:gd name="connsiteY19" fmla="*/ 27963 h 27982"/>
                  <a:gd name="connsiteX20" fmla="*/ 16262 w 37083"/>
                  <a:gd name="connsiteY20" fmla="*/ 27963 h 27982"/>
                  <a:gd name="connsiteX21" fmla="*/ 16262 w 37083"/>
                  <a:gd name="connsiteY21" fmla="*/ 10194 h 27982"/>
                  <a:gd name="connsiteX22" fmla="*/ 15131 w 37083"/>
                  <a:gd name="connsiteY22" fmla="*/ 5559 h 27982"/>
                  <a:gd name="connsiteX23" fmla="*/ 11419 w 37083"/>
                  <a:gd name="connsiteY23" fmla="*/ 4014 h 27982"/>
                  <a:gd name="connsiteX24" fmla="*/ 7801 w 37083"/>
                  <a:gd name="connsiteY24" fmla="*/ 5050 h 27982"/>
                  <a:gd name="connsiteX25" fmla="*/ 5389 w 37083"/>
                  <a:gd name="connsiteY25" fmla="*/ 8065 h 27982"/>
                  <a:gd name="connsiteX26" fmla="*/ 4635 w 37083"/>
                  <a:gd name="connsiteY26" fmla="*/ 13793 h 27982"/>
                  <a:gd name="connsiteX27" fmla="*/ 4635 w 37083"/>
                  <a:gd name="connsiteY27" fmla="*/ 27982 h 27982"/>
                  <a:gd name="connsiteX28" fmla="*/ 0 w 37083"/>
                  <a:gd name="connsiteY28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7083" h="27982">
                    <a:moveTo>
                      <a:pt x="19" y="27982"/>
                    </a:moveTo>
                    <a:lnTo>
                      <a:pt x="19" y="622"/>
                    </a:lnTo>
                    <a:lnTo>
                      <a:pt x="4164" y="622"/>
                    </a:lnTo>
                    <a:lnTo>
                      <a:pt x="4164" y="4466"/>
                    </a:lnTo>
                    <a:cubicBezTo>
                      <a:pt x="5031" y="3128"/>
                      <a:pt x="6162" y="2054"/>
                      <a:pt x="7594" y="1225"/>
                    </a:cubicBezTo>
                    <a:cubicBezTo>
                      <a:pt x="9026" y="414"/>
                      <a:pt x="10646" y="0"/>
                      <a:pt x="12455" y="0"/>
                    </a:cubicBezTo>
                    <a:cubicBezTo>
                      <a:pt x="14491" y="0"/>
                      <a:pt x="16149" y="414"/>
                      <a:pt x="17449" y="1262"/>
                    </a:cubicBezTo>
                    <a:cubicBezTo>
                      <a:pt x="18749" y="2110"/>
                      <a:pt x="19654" y="3279"/>
                      <a:pt x="20200" y="4786"/>
                    </a:cubicBezTo>
                    <a:cubicBezTo>
                      <a:pt x="22367" y="1583"/>
                      <a:pt x="25175" y="0"/>
                      <a:pt x="28642" y="0"/>
                    </a:cubicBezTo>
                    <a:cubicBezTo>
                      <a:pt x="31355" y="0"/>
                      <a:pt x="33447" y="754"/>
                      <a:pt x="34898" y="2261"/>
                    </a:cubicBezTo>
                    <a:cubicBezTo>
                      <a:pt x="36349" y="3769"/>
                      <a:pt x="37084" y="6086"/>
                      <a:pt x="37084" y="9196"/>
                    </a:cubicBezTo>
                    <a:lnTo>
                      <a:pt x="37084" y="27982"/>
                    </a:lnTo>
                    <a:lnTo>
                      <a:pt x="32467" y="27982"/>
                    </a:lnTo>
                    <a:lnTo>
                      <a:pt x="32467" y="10741"/>
                    </a:lnTo>
                    <a:cubicBezTo>
                      <a:pt x="32467" y="8894"/>
                      <a:pt x="32316" y="7556"/>
                      <a:pt x="32015" y="6727"/>
                    </a:cubicBezTo>
                    <a:cubicBezTo>
                      <a:pt x="31713" y="5917"/>
                      <a:pt x="31167" y="5257"/>
                      <a:pt x="30376" y="4748"/>
                    </a:cubicBezTo>
                    <a:cubicBezTo>
                      <a:pt x="29584" y="4259"/>
                      <a:pt x="28661" y="3995"/>
                      <a:pt x="27587" y="3995"/>
                    </a:cubicBezTo>
                    <a:cubicBezTo>
                      <a:pt x="25665" y="3995"/>
                      <a:pt x="24063" y="4635"/>
                      <a:pt x="22800" y="5917"/>
                    </a:cubicBezTo>
                    <a:cubicBezTo>
                      <a:pt x="21538" y="7198"/>
                      <a:pt x="20897" y="9252"/>
                      <a:pt x="20897" y="12060"/>
                    </a:cubicBezTo>
                    <a:lnTo>
                      <a:pt x="20897" y="27963"/>
                    </a:lnTo>
                    <a:lnTo>
                      <a:pt x="16262" y="27963"/>
                    </a:lnTo>
                    <a:lnTo>
                      <a:pt x="16262" y="10194"/>
                    </a:lnTo>
                    <a:cubicBezTo>
                      <a:pt x="16262" y="8140"/>
                      <a:pt x="15885" y="6595"/>
                      <a:pt x="15131" y="5559"/>
                    </a:cubicBezTo>
                    <a:cubicBezTo>
                      <a:pt x="14378" y="4522"/>
                      <a:pt x="13134" y="4014"/>
                      <a:pt x="11419" y="4014"/>
                    </a:cubicBezTo>
                    <a:cubicBezTo>
                      <a:pt x="10119" y="4014"/>
                      <a:pt x="8913" y="4353"/>
                      <a:pt x="7801" y="5050"/>
                    </a:cubicBezTo>
                    <a:cubicBezTo>
                      <a:pt x="6689" y="5747"/>
                      <a:pt x="5898" y="6746"/>
                      <a:pt x="5389" y="8065"/>
                    </a:cubicBezTo>
                    <a:cubicBezTo>
                      <a:pt x="4899" y="9384"/>
                      <a:pt x="4635" y="11287"/>
                      <a:pt x="4635" y="13793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41" name="Freihandform: Form 3340">
                <a:extLst>
                  <a:ext uri="{FF2B5EF4-FFF2-40B4-BE49-F238E27FC236}">
                    <a16:creationId xmlns:a16="http://schemas.microsoft.com/office/drawing/2014/main" id="{3EA7E7AE-25E0-454D-272D-30DEF83E2F78}"/>
                  </a:ext>
                </a:extLst>
              </p:cNvPr>
              <p:cNvSpPr/>
              <p:nvPr/>
            </p:nvSpPr>
            <p:spPr>
              <a:xfrm>
                <a:off x="3542239" y="1427730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42" name="Freihandform: Form 3341">
                <a:extLst>
                  <a:ext uri="{FF2B5EF4-FFF2-40B4-BE49-F238E27FC236}">
                    <a16:creationId xmlns:a16="http://schemas.microsoft.com/office/drawing/2014/main" id="{36C470C0-EEF3-7943-483F-345578D779E2}"/>
                  </a:ext>
                </a:extLst>
              </p:cNvPr>
              <p:cNvSpPr/>
              <p:nvPr/>
            </p:nvSpPr>
            <p:spPr>
              <a:xfrm>
                <a:off x="3573331" y="1427712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2" y="7179"/>
                      <a:pt x="4636" y="9553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43" name="Freihandform: Form 3342">
                <a:extLst>
                  <a:ext uri="{FF2B5EF4-FFF2-40B4-BE49-F238E27FC236}">
                    <a16:creationId xmlns:a16="http://schemas.microsoft.com/office/drawing/2014/main" id="{E633EDF9-4501-DF78-00DD-B43C917F2C38}"/>
                  </a:ext>
                </a:extLst>
              </p:cNvPr>
              <p:cNvSpPr/>
              <p:nvPr/>
            </p:nvSpPr>
            <p:spPr>
              <a:xfrm>
                <a:off x="3600126" y="1418780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2 h 37272"/>
                  <a:gd name="connsiteX7" fmla="*/ 0 w 13341"/>
                  <a:gd name="connsiteY7" fmla="*/ 13172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5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3" y="35953"/>
                      <a:pt x="4334" y="35256"/>
                      <a:pt x="3957" y="34389"/>
                    </a:cubicBezTo>
                    <a:cubicBezTo>
                      <a:pt x="3580" y="33522"/>
                      <a:pt x="3392" y="31695"/>
                      <a:pt x="3392" y="28906"/>
                    </a:cubicBezTo>
                    <a:lnTo>
                      <a:pt x="3392" y="13172"/>
                    </a:lnTo>
                    <a:lnTo>
                      <a:pt x="0" y="13172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44" name="Freihandform: Form 3343">
                <a:extLst>
                  <a:ext uri="{FF2B5EF4-FFF2-40B4-BE49-F238E27FC236}">
                    <a16:creationId xmlns:a16="http://schemas.microsoft.com/office/drawing/2014/main" id="{F81F8F8D-2096-443A-6CF6-98D4F6FB5899}"/>
                  </a:ext>
                </a:extLst>
              </p:cNvPr>
              <p:cNvSpPr/>
              <p:nvPr/>
            </p:nvSpPr>
            <p:spPr>
              <a:xfrm>
                <a:off x="3615578" y="1427730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45" name="Freihandform: Form 3344">
                <a:extLst>
                  <a:ext uri="{FF2B5EF4-FFF2-40B4-BE49-F238E27FC236}">
                    <a16:creationId xmlns:a16="http://schemas.microsoft.com/office/drawing/2014/main" id="{E290FE05-CBCD-E904-5A86-5A716D249ECD}"/>
                  </a:ext>
                </a:extLst>
              </p:cNvPr>
              <p:cNvSpPr/>
              <p:nvPr/>
            </p:nvSpPr>
            <p:spPr>
              <a:xfrm>
                <a:off x="3646669" y="1427712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2" y="7179"/>
                      <a:pt x="4636" y="9553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79" name="Grafik 21">
              <a:extLst>
                <a:ext uri="{FF2B5EF4-FFF2-40B4-BE49-F238E27FC236}">
                  <a16:creationId xmlns:a16="http://schemas.microsoft.com/office/drawing/2014/main" id="{5AEE231B-E194-57C0-86C8-7FD401BECAA5}"/>
                </a:ext>
              </a:extLst>
            </p:cNvPr>
            <p:cNvGrpSpPr/>
            <p:nvPr/>
          </p:nvGrpSpPr>
          <p:grpSpPr>
            <a:xfrm>
              <a:off x="2821782" y="1595060"/>
              <a:ext cx="248826" cy="38402"/>
              <a:chOff x="2821782" y="1595060"/>
              <a:chExt cx="248826" cy="38402"/>
            </a:xfrm>
            <a:solidFill>
              <a:srgbClr val="000000"/>
            </a:solidFill>
          </p:grpSpPr>
          <p:sp>
            <p:nvSpPr>
              <p:cNvPr id="3329" name="Freihandform: Form 3328">
                <a:extLst>
                  <a:ext uri="{FF2B5EF4-FFF2-40B4-BE49-F238E27FC236}">
                    <a16:creationId xmlns:a16="http://schemas.microsoft.com/office/drawing/2014/main" id="{99A2B157-9BF2-3E24-14AD-F85C2CFBEA6D}"/>
                  </a:ext>
                </a:extLst>
              </p:cNvPr>
              <p:cNvSpPr/>
              <p:nvPr/>
            </p:nvSpPr>
            <p:spPr>
              <a:xfrm>
                <a:off x="2821782" y="1595060"/>
                <a:ext cx="34539" cy="37762"/>
              </a:xfrm>
              <a:custGeom>
                <a:avLst/>
                <a:gdLst>
                  <a:gd name="connsiteX0" fmla="*/ 14641 w 34539"/>
                  <a:gd name="connsiteY0" fmla="*/ 37762 h 37762"/>
                  <a:gd name="connsiteX1" fmla="*/ 0 w 34539"/>
                  <a:gd name="connsiteY1" fmla="*/ 0 h 37762"/>
                  <a:gd name="connsiteX2" fmla="*/ 5408 w 34539"/>
                  <a:gd name="connsiteY2" fmla="*/ 0 h 37762"/>
                  <a:gd name="connsiteX3" fmla="*/ 15225 w 34539"/>
                  <a:gd name="connsiteY3" fmla="*/ 27436 h 37762"/>
                  <a:gd name="connsiteX4" fmla="*/ 17204 w 34539"/>
                  <a:gd name="connsiteY4" fmla="*/ 33617 h 37762"/>
                  <a:gd name="connsiteX5" fmla="*/ 19239 w 34539"/>
                  <a:gd name="connsiteY5" fmla="*/ 27436 h 37762"/>
                  <a:gd name="connsiteX6" fmla="*/ 29433 w 34539"/>
                  <a:gd name="connsiteY6" fmla="*/ 0 h 37762"/>
                  <a:gd name="connsiteX7" fmla="*/ 34540 w 34539"/>
                  <a:gd name="connsiteY7" fmla="*/ 0 h 37762"/>
                  <a:gd name="connsiteX8" fmla="*/ 19748 w 34539"/>
                  <a:gd name="connsiteY8" fmla="*/ 37762 h 37762"/>
                  <a:gd name="connsiteX9" fmla="*/ 14622 w 34539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539" h="37762">
                    <a:moveTo>
                      <a:pt x="14641" y="37762"/>
                    </a:moveTo>
                    <a:lnTo>
                      <a:pt x="0" y="0"/>
                    </a:lnTo>
                    <a:lnTo>
                      <a:pt x="5408" y="0"/>
                    </a:lnTo>
                    <a:lnTo>
                      <a:pt x="15225" y="27436"/>
                    </a:lnTo>
                    <a:cubicBezTo>
                      <a:pt x="16017" y="29641"/>
                      <a:pt x="16676" y="31695"/>
                      <a:pt x="17204" y="33617"/>
                    </a:cubicBezTo>
                    <a:cubicBezTo>
                      <a:pt x="17788" y="31563"/>
                      <a:pt x="18466" y="29490"/>
                      <a:pt x="19239" y="27436"/>
                    </a:cubicBezTo>
                    <a:lnTo>
                      <a:pt x="29433" y="0"/>
                    </a:lnTo>
                    <a:lnTo>
                      <a:pt x="34540" y="0"/>
                    </a:lnTo>
                    <a:lnTo>
                      <a:pt x="19748" y="37762"/>
                    </a:lnTo>
                    <a:lnTo>
                      <a:pt x="14622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30" name="Freihandform: Form 3329">
                <a:extLst>
                  <a:ext uri="{FF2B5EF4-FFF2-40B4-BE49-F238E27FC236}">
                    <a16:creationId xmlns:a16="http://schemas.microsoft.com/office/drawing/2014/main" id="{D73BA625-FBCC-FBB1-48D1-5DAFFBD41486}"/>
                  </a:ext>
                </a:extLst>
              </p:cNvPr>
              <p:cNvSpPr/>
              <p:nvPr/>
            </p:nvSpPr>
            <p:spPr>
              <a:xfrm>
                <a:off x="2854739" y="1604820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31" name="Freihandform: Form 3330">
                <a:extLst>
                  <a:ext uri="{FF2B5EF4-FFF2-40B4-BE49-F238E27FC236}">
                    <a16:creationId xmlns:a16="http://schemas.microsoft.com/office/drawing/2014/main" id="{04C52B3F-41D1-42A1-67B6-7F1461B4D38A}"/>
                  </a:ext>
                </a:extLst>
              </p:cNvPr>
              <p:cNvSpPr/>
              <p:nvPr/>
            </p:nvSpPr>
            <p:spPr>
              <a:xfrm>
                <a:off x="2885661" y="1604839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3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1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2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32" name="Freihandform: Form 3331">
                <a:extLst>
                  <a:ext uri="{FF2B5EF4-FFF2-40B4-BE49-F238E27FC236}">
                    <a16:creationId xmlns:a16="http://schemas.microsoft.com/office/drawing/2014/main" id="{E284FE7F-E562-A937-2BCB-C4C248C45E62}"/>
                  </a:ext>
                </a:extLst>
              </p:cNvPr>
              <p:cNvSpPr/>
              <p:nvPr/>
            </p:nvSpPr>
            <p:spPr>
              <a:xfrm>
                <a:off x="2913587" y="1604839"/>
                <a:ext cx="23817" cy="28604"/>
              </a:xfrm>
              <a:custGeom>
                <a:avLst/>
                <a:gdLst>
                  <a:gd name="connsiteX0" fmla="*/ 19258 w 23817"/>
                  <a:gd name="connsiteY0" fmla="*/ 17958 h 28604"/>
                  <a:gd name="connsiteX1" fmla="*/ 23818 w 23817"/>
                  <a:gd name="connsiteY1" fmla="*/ 18542 h 28604"/>
                  <a:gd name="connsiteX2" fmla="*/ 19993 w 23817"/>
                  <a:gd name="connsiteY2" fmla="*/ 25928 h 28604"/>
                  <a:gd name="connsiteX3" fmla="*/ 12437 w 23817"/>
                  <a:gd name="connsiteY3" fmla="*/ 28604 h 28604"/>
                  <a:gd name="connsiteX4" fmla="*/ 3411 w 23817"/>
                  <a:gd name="connsiteY4" fmla="*/ 24930 h 28604"/>
                  <a:gd name="connsiteX5" fmla="*/ 0 w 23817"/>
                  <a:gd name="connsiteY5" fmla="*/ 14415 h 28604"/>
                  <a:gd name="connsiteX6" fmla="*/ 1470 w 23817"/>
                  <a:gd name="connsiteY6" fmla="*/ 6652 h 28604"/>
                  <a:gd name="connsiteX7" fmla="*/ 5936 w 23817"/>
                  <a:gd name="connsiteY7" fmla="*/ 1658 h 28604"/>
                  <a:gd name="connsiteX8" fmla="*/ 12474 w 23817"/>
                  <a:gd name="connsiteY8" fmla="*/ 0 h 28604"/>
                  <a:gd name="connsiteX9" fmla="*/ 19767 w 23817"/>
                  <a:gd name="connsiteY9" fmla="*/ 2261 h 28604"/>
                  <a:gd name="connsiteX10" fmla="*/ 23403 w 23817"/>
                  <a:gd name="connsiteY10" fmla="*/ 8668 h 28604"/>
                  <a:gd name="connsiteX11" fmla="*/ 18900 w 23817"/>
                  <a:gd name="connsiteY11" fmla="*/ 9365 h 28604"/>
                  <a:gd name="connsiteX12" fmla="*/ 16620 w 23817"/>
                  <a:gd name="connsiteY12" fmla="*/ 5220 h 28604"/>
                  <a:gd name="connsiteX13" fmla="*/ 12663 w 23817"/>
                  <a:gd name="connsiteY13" fmla="*/ 3825 h 28604"/>
                  <a:gd name="connsiteX14" fmla="*/ 6972 w 23817"/>
                  <a:gd name="connsiteY14" fmla="*/ 6331 h 28604"/>
                  <a:gd name="connsiteX15" fmla="*/ 4786 w 23817"/>
                  <a:gd name="connsiteY15" fmla="*/ 14283 h 28604"/>
                  <a:gd name="connsiteX16" fmla="*/ 6897 w 23817"/>
                  <a:gd name="connsiteY16" fmla="*/ 22292 h 28604"/>
                  <a:gd name="connsiteX17" fmla="*/ 12418 w 23817"/>
                  <a:gd name="connsiteY17" fmla="*/ 24798 h 28604"/>
                  <a:gd name="connsiteX18" fmla="*/ 16978 w 23817"/>
                  <a:gd name="connsiteY18" fmla="*/ 23121 h 28604"/>
                  <a:gd name="connsiteX19" fmla="*/ 19296 w 23817"/>
                  <a:gd name="connsiteY19" fmla="*/ 17977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817" h="28604">
                    <a:moveTo>
                      <a:pt x="19258" y="17958"/>
                    </a:moveTo>
                    <a:lnTo>
                      <a:pt x="23818" y="18542"/>
                    </a:lnTo>
                    <a:cubicBezTo>
                      <a:pt x="23328" y="21689"/>
                      <a:pt x="22047" y="24138"/>
                      <a:pt x="19993" y="25928"/>
                    </a:cubicBezTo>
                    <a:cubicBezTo>
                      <a:pt x="17939" y="27700"/>
                      <a:pt x="15414" y="28604"/>
                      <a:pt x="12437" y="28604"/>
                    </a:cubicBezTo>
                    <a:cubicBezTo>
                      <a:pt x="8687" y="28604"/>
                      <a:pt x="5691" y="27379"/>
                      <a:pt x="3411" y="24930"/>
                    </a:cubicBezTo>
                    <a:cubicBezTo>
                      <a:pt x="1131" y="22480"/>
                      <a:pt x="0" y="18975"/>
                      <a:pt x="0" y="14415"/>
                    </a:cubicBezTo>
                    <a:cubicBezTo>
                      <a:pt x="0" y="11457"/>
                      <a:pt x="490" y="8875"/>
                      <a:pt x="1470" y="6652"/>
                    </a:cubicBezTo>
                    <a:cubicBezTo>
                      <a:pt x="2450" y="4428"/>
                      <a:pt x="3938" y="2770"/>
                      <a:pt x="5936" y="1658"/>
                    </a:cubicBezTo>
                    <a:cubicBezTo>
                      <a:pt x="7933" y="546"/>
                      <a:pt x="10119" y="0"/>
                      <a:pt x="12474" y="0"/>
                    </a:cubicBezTo>
                    <a:cubicBezTo>
                      <a:pt x="15452" y="0"/>
                      <a:pt x="17882" y="754"/>
                      <a:pt x="19767" y="2261"/>
                    </a:cubicBezTo>
                    <a:cubicBezTo>
                      <a:pt x="21651" y="3769"/>
                      <a:pt x="22876" y="5898"/>
                      <a:pt x="23403" y="8668"/>
                    </a:cubicBezTo>
                    <a:lnTo>
                      <a:pt x="18900" y="9365"/>
                    </a:lnTo>
                    <a:cubicBezTo>
                      <a:pt x="18466" y="7518"/>
                      <a:pt x="17713" y="6143"/>
                      <a:pt x="16620" y="5220"/>
                    </a:cubicBezTo>
                    <a:cubicBezTo>
                      <a:pt x="15527" y="4296"/>
                      <a:pt x="14208" y="3825"/>
                      <a:pt x="12663" y="3825"/>
                    </a:cubicBezTo>
                    <a:cubicBezTo>
                      <a:pt x="10326" y="3825"/>
                      <a:pt x="8423" y="4654"/>
                      <a:pt x="6972" y="6331"/>
                    </a:cubicBezTo>
                    <a:cubicBezTo>
                      <a:pt x="5521" y="8008"/>
                      <a:pt x="4786" y="10646"/>
                      <a:pt x="4786" y="14283"/>
                    </a:cubicBezTo>
                    <a:cubicBezTo>
                      <a:pt x="4786" y="17920"/>
                      <a:pt x="5483" y="20633"/>
                      <a:pt x="6897" y="22292"/>
                    </a:cubicBezTo>
                    <a:cubicBezTo>
                      <a:pt x="8310" y="23950"/>
                      <a:pt x="10138" y="24798"/>
                      <a:pt x="12418" y="24798"/>
                    </a:cubicBezTo>
                    <a:cubicBezTo>
                      <a:pt x="14246" y="24798"/>
                      <a:pt x="15753" y="24233"/>
                      <a:pt x="16978" y="23121"/>
                    </a:cubicBezTo>
                    <a:cubicBezTo>
                      <a:pt x="18203" y="22009"/>
                      <a:pt x="18975" y="20294"/>
                      <a:pt x="19296" y="1797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33" name="Freihandform: Form 3332">
                <a:extLst>
                  <a:ext uri="{FF2B5EF4-FFF2-40B4-BE49-F238E27FC236}">
                    <a16:creationId xmlns:a16="http://schemas.microsoft.com/office/drawing/2014/main" id="{2EEE7DC0-ECB8-C1C2-8DF2-E8E12D43D6CD}"/>
                  </a:ext>
                </a:extLst>
              </p:cNvPr>
              <p:cNvSpPr/>
              <p:nvPr/>
            </p:nvSpPr>
            <p:spPr>
              <a:xfrm>
                <a:off x="2939628" y="1604858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5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5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34" name="Freihandform: Form 3333">
                <a:extLst>
                  <a:ext uri="{FF2B5EF4-FFF2-40B4-BE49-F238E27FC236}">
                    <a16:creationId xmlns:a16="http://schemas.microsoft.com/office/drawing/2014/main" id="{F97CC10C-3A94-3AA4-E6E1-AFE603DEB21E}"/>
                  </a:ext>
                </a:extLst>
              </p:cNvPr>
              <p:cNvSpPr/>
              <p:nvPr/>
            </p:nvSpPr>
            <p:spPr>
              <a:xfrm>
                <a:off x="2970626" y="1605423"/>
                <a:ext cx="22159" cy="28020"/>
              </a:xfrm>
              <a:custGeom>
                <a:avLst/>
                <a:gdLst>
                  <a:gd name="connsiteX0" fmla="*/ 18033 w 22159"/>
                  <a:gd name="connsiteY0" fmla="*/ 27398 h 28020"/>
                  <a:gd name="connsiteX1" fmla="*/ 18033 w 22159"/>
                  <a:gd name="connsiteY1" fmla="*/ 23385 h 28020"/>
                  <a:gd name="connsiteX2" fmla="*/ 9346 w 22159"/>
                  <a:gd name="connsiteY2" fmla="*/ 28020 h 28020"/>
                  <a:gd name="connsiteX3" fmla="*/ 4824 w 22159"/>
                  <a:gd name="connsiteY3" fmla="*/ 27097 h 28020"/>
                  <a:gd name="connsiteX4" fmla="*/ 1715 w 22159"/>
                  <a:gd name="connsiteY4" fmla="*/ 24760 h 28020"/>
                  <a:gd name="connsiteX5" fmla="*/ 283 w 22159"/>
                  <a:gd name="connsiteY5" fmla="*/ 21312 h 28020"/>
                  <a:gd name="connsiteX6" fmla="*/ 0 w 22159"/>
                  <a:gd name="connsiteY6" fmla="*/ 16978 h 28020"/>
                  <a:gd name="connsiteX7" fmla="*/ 0 w 22159"/>
                  <a:gd name="connsiteY7" fmla="*/ 19 h 28020"/>
                  <a:gd name="connsiteX8" fmla="*/ 4636 w 22159"/>
                  <a:gd name="connsiteY8" fmla="*/ 19 h 28020"/>
                  <a:gd name="connsiteX9" fmla="*/ 4636 w 22159"/>
                  <a:gd name="connsiteY9" fmla="*/ 15188 h 28020"/>
                  <a:gd name="connsiteX10" fmla="*/ 4918 w 22159"/>
                  <a:gd name="connsiteY10" fmla="*/ 20087 h 28020"/>
                  <a:gd name="connsiteX11" fmla="*/ 6765 w 22159"/>
                  <a:gd name="connsiteY11" fmla="*/ 22951 h 28020"/>
                  <a:gd name="connsiteX12" fmla="*/ 10270 w 22159"/>
                  <a:gd name="connsiteY12" fmla="*/ 23988 h 28020"/>
                  <a:gd name="connsiteX13" fmla="*/ 14189 w 22159"/>
                  <a:gd name="connsiteY13" fmla="*/ 22913 h 28020"/>
                  <a:gd name="connsiteX14" fmla="*/ 16771 w 22159"/>
                  <a:gd name="connsiteY14" fmla="*/ 20012 h 28020"/>
                  <a:gd name="connsiteX15" fmla="*/ 17524 w 22159"/>
                  <a:gd name="connsiteY15" fmla="*/ 14660 h 28020"/>
                  <a:gd name="connsiteX16" fmla="*/ 17524 w 22159"/>
                  <a:gd name="connsiteY16" fmla="*/ 0 h 28020"/>
                  <a:gd name="connsiteX17" fmla="*/ 22160 w 22159"/>
                  <a:gd name="connsiteY17" fmla="*/ 0 h 28020"/>
                  <a:gd name="connsiteX18" fmla="*/ 22160 w 22159"/>
                  <a:gd name="connsiteY18" fmla="*/ 27360 h 28020"/>
                  <a:gd name="connsiteX19" fmla="*/ 18014 w 22159"/>
                  <a:gd name="connsiteY19" fmla="*/ 27360 h 2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159" h="28020">
                    <a:moveTo>
                      <a:pt x="18033" y="27398"/>
                    </a:moveTo>
                    <a:lnTo>
                      <a:pt x="18033" y="23385"/>
                    </a:lnTo>
                    <a:cubicBezTo>
                      <a:pt x="15904" y="26475"/>
                      <a:pt x="13002" y="28020"/>
                      <a:pt x="9346" y="28020"/>
                    </a:cubicBezTo>
                    <a:cubicBezTo>
                      <a:pt x="7726" y="28020"/>
                      <a:pt x="6218" y="27719"/>
                      <a:pt x="4824" y="27097"/>
                    </a:cubicBezTo>
                    <a:cubicBezTo>
                      <a:pt x="3430" y="26475"/>
                      <a:pt x="2393" y="25702"/>
                      <a:pt x="1715" y="24760"/>
                    </a:cubicBezTo>
                    <a:cubicBezTo>
                      <a:pt x="1036" y="23818"/>
                      <a:pt x="565" y="22669"/>
                      <a:pt x="283" y="21312"/>
                    </a:cubicBezTo>
                    <a:cubicBezTo>
                      <a:pt x="94" y="20407"/>
                      <a:pt x="0" y="18956"/>
                      <a:pt x="0" y="16978"/>
                    </a:cubicBezTo>
                    <a:lnTo>
                      <a:pt x="0" y="19"/>
                    </a:lnTo>
                    <a:lnTo>
                      <a:pt x="4636" y="19"/>
                    </a:lnTo>
                    <a:lnTo>
                      <a:pt x="4636" y="15188"/>
                    </a:lnTo>
                    <a:cubicBezTo>
                      <a:pt x="4636" y="17619"/>
                      <a:pt x="4730" y="19239"/>
                      <a:pt x="4918" y="20087"/>
                    </a:cubicBezTo>
                    <a:cubicBezTo>
                      <a:pt x="5201" y="21312"/>
                      <a:pt x="5823" y="22273"/>
                      <a:pt x="6765" y="22951"/>
                    </a:cubicBezTo>
                    <a:cubicBezTo>
                      <a:pt x="7707" y="23648"/>
                      <a:pt x="8875" y="23988"/>
                      <a:pt x="10270" y="23988"/>
                    </a:cubicBezTo>
                    <a:cubicBezTo>
                      <a:pt x="11664" y="23988"/>
                      <a:pt x="12964" y="23630"/>
                      <a:pt x="14189" y="22913"/>
                    </a:cubicBezTo>
                    <a:cubicBezTo>
                      <a:pt x="15414" y="22197"/>
                      <a:pt x="16262" y="21236"/>
                      <a:pt x="16771" y="20012"/>
                    </a:cubicBezTo>
                    <a:cubicBezTo>
                      <a:pt x="17279" y="18787"/>
                      <a:pt x="17524" y="16997"/>
                      <a:pt x="17524" y="14660"/>
                    </a:cubicBezTo>
                    <a:lnTo>
                      <a:pt x="17524" y="0"/>
                    </a:lnTo>
                    <a:lnTo>
                      <a:pt x="22160" y="0"/>
                    </a:lnTo>
                    <a:lnTo>
                      <a:pt x="22160" y="27360"/>
                    </a:lnTo>
                    <a:lnTo>
                      <a:pt x="18014" y="27360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35" name="Freihandform: Form 3334">
                <a:extLst>
                  <a:ext uri="{FF2B5EF4-FFF2-40B4-BE49-F238E27FC236}">
                    <a16:creationId xmlns:a16="http://schemas.microsoft.com/office/drawing/2014/main" id="{26D4F027-8297-5544-0685-3DF0FC23E87B}"/>
                  </a:ext>
                </a:extLst>
              </p:cNvPr>
              <p:cNvSpPr/>
              <p:nvPr/>
            </p:nvSpPr>
            <p:spPr>
              <a:xfrm>
                <a:off x="2997270" y="1605461"/>
                <a:ext cx="25118" cy="27379"/>
              </a:xfrm>
              <a:custGeom>
                <a:avLst/>
                <a:gdLst>
                  <a:gd name="connsiteX0" fmla="*/ 10402 w 25118"/>
                  <a:gd name="connsiteY0" fmla="*/ 27361 h 27379"/>
                  <a:gd name="connsiteX1" fmla="*/ 0 w 25118"/>
                  <a:gd name="connsiteY1" fmla="*/ 0 h 27379"/>
                  <a:gd name="connsiteX2" fmla="*/ 4899 w 25118"/>
                  <a:gd name="connsiteY2" fmla="*/ 0 h 27379"/>
                  <a:gd name="connsiteX3" fmla="*/ 10778 w 25118"/>
                  <a:gd name="connsiteY3" fmla="*/ 16394 h 27379"/>
                  <a:gd name="connsiteX4" fmla="*/ 12531 w 25118"/>
                  <a:gd name="connsiteY4" fmla="*/ 21915 h 27379"/>
                  <a:gd name="connsiteX5" fmla="*/ 14264 w 25118"/>
                  <a:gd name="connsiteY5" fmla="*/ 16714 h 27379"/>
                  <a:gd name="connsiteX6" fmla="*/ 20351 w 25118"/>
                  <a:gd name="connsiteY6" fmla="*/ 19 h 27379"/>
                  <a:gd name="connsiteX7" fmla="*/ 25118 w 25118"/>
                  <a:gd name="connsiteY7" fmla="*/ 19 h 27379"/>
                  <a:gd name="connsiteX8" fmla="*/ 14754 w 25118"/>
                  <a:gd name="connsiteY8" fmla="*/ 27379 h 27379"/>
                  <a:gd name="connsiteX9" fmla="*/ 10420 w 25118"/>
                  <a:gd name="connsiteY9" fmla="*/ 27379 h 2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18" h="27379">
                    <a:moveTo>
                      <a:pt x="10402" y="27361"/>
                    </a:moveTo>
                    <a:lnTo>
                      <a:pt x="0" y="0"/>
                    </a:lnTo>
                    <a:lnTo>
                      <a:pt x="4899" y="0"/>
                    </a:lnTo>
                    <a:lnTo>
                      <a:pt x="10778" y="16394"/>
                    </a:lnTo>
                    <a:cubicBezTo>
                      <a:pt x="11419" y="18165"/>
                      <a:pt x="12003" y="19993"/>
                      <a:pt x="12531" y="21915"/>
                    </a:cubicBezTo>
                    <a:cubicBezTo>
                      <a:pt x="12945" y="20464"/>
                      <a:pt x="13511" y="18730"/>
                      <a:pt x="14264" y="16714"/>
                    </a:cubicBezTo>
                    <a:lnTo>
                      <a:pt x="20351" y="19"/>
                    </a:lnTo>
                    <a:lnTo>
                      <a:pt x="25118" y="19"/>
                    </a:lnTo>
                    <a:lnTo>
                      <a:pt x="14754" y="27379"/>
                    </a:lnTo>
                    <a:lnTo>
                      <a:pt x="10420" y="27379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36" name="Freihandform: Form 3335">
                <a:extLst>
                  <a:ext uri="{FF2B5EF4-FFF2-40B4-BE49-F238E27FC236}">
                    <a16:creationId xmlns:a16="http://schemas.microsoft.com/office/drawing/2014/main" id="{743999CB-2D3F-93A3-17BB-52E69A7249CB}"/>
                  </a:ext>
                </a:extLst>
              </p:cNvPr>
              <p:cNvSpPr/>
              <p:nvPr/>
            </p:nvSpPr>
            <p:spPr>
              <a:xfrm>
                <a:off x="3024876" y="1604839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0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4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37" name="Freihandform: Form 3336">
                <a:extLst>
                  <a:ext uri="{FF2B5EF4-FFF2-40B4-BE49-F238E27FC236}">
                    <a16:creationId xmlns:a16="http://schemas.microsoft.com/office/drawing/2014/main" id="{8B3E24DE-67BC-FEE4-A2DD-32F976340ACA}"/>
                  </a:ext>
                </a:extLst>
              </p:cNvPr>
              <p:cNvSpPr/>
              <p:nvPr/>
            </p:nvSpPr>
            <p:spPr>
              <a:xfrm>
                <a:off x="3055741" y="1604839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09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1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6" y="5785"/>
                    </a:lnTo>
                    <a:cubicBezTo>
                      <a:pt x="12135" y="5106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09"/>
                    </a:cubicBezTo>
                    <a:cubicBezTo>
                      <a:pt x="6331" y="6312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80" name="Grafik 21">
              <a:extLst>
                <a:ext uri="{FF2B5EF4-FFF2-40B4-BE49-F238E27FC236}">
                  <a16:creationId xmlns:a16="http://schemas.microsoft.com/office/drawing/2014/main" id="{561565C0-5C63-8B76-15B6-243DBFAD971E}"/>
                </a:ext>
              </a:extLst>
            </p:cNvPr>
            <p:cNvGrpSpPr/>
            <p:nvPr/>
          </p:nvGrpSpPr>
          <p:grpSpPr>
            <a:xfrm>
              <a:off x="2921652" y="1660333"/>
              <a:ext cx="159678" cy="39062"/>
              <a:chOff x="2921652" y="1660333"/>
              <a:chExt cx="159678" cy="39062"/>
            </a:xfrm>
            <a:solidFill>
              <a:srgbClr val="000000"/>
            </a:solidFill>
          </p:grpSpPr>
          <p:sp>
            <p:nvSpPr>
              <p:cNvPr id="3322" name="Freihandform: Form 3321">
                <a:extLst>
                  <a:ext uri="{FF2B5EF4-FFF2-40B4-BE49-F238E27FC236}">
                    <a16:creationId xmlns:a16="http://schemas.microsoft.com/office/drawing/2014/main" id="{7EBCDE61-C2AF-F8D9-C659-CBD2CCB04710}"/>
                  </a:ext>
                </a:extLst>
              </p:cNvPr>
              <p:cNvSpPr/>
              <p:nvPr/>
            </p:nvSpPr>
            <p:spPr>
              <a:xfrm>
                <a:off x="2921652" y="1660333"/>
                <a:ext cx="30092" cy="39062"/>
              </a:xfrm>
              <a:custGeom>
                <a:avLst/>
                <a:gdLst>
                  <a:gd name="connsiteX0" fmla="*/ 0 w 30092"/>
                  <a:gd name="connsiteY0" fmla="*/ 26305 h 39062"/>
                  <a:gd name="connsiteX1" fmla="*/ 4711 w 30092"/>
                  <a:gd name="connsiteY1" fmla="*/ 25891 h 39062"/>
                  <a:gd name="connsiteX2" fmla="*/ 6275 w 30092"/>
                  <a:gd name="connsiteY2" fmla="*/ 30545 h 39062"/>
                  <a:gd name="connsiteX3" fmla="*/ 10081 w 30092"/>
                  <a:gd name="connsiteY3" fmla="*/ 33485 h 39062"/>
                  <a:gd name="connsiteX4" fmla="*/ 15885 w 30092"/>
                  <a:gd name="connsiteY4" fmla="*/ 34597 h 39062"/>
                  <a:gd name="connsiteX5" fmla="*/ 20935 w 30092"/>
                  <a:gd name="connsiteY5" fmla="*/ 33749 h 39062"/>
                  <a:gd name="connsiteX6" fmla="*/ 24195 w 30092"/>
                  <a:gd name="connsiteY6" fmla="*/ 31412 h 39062"/>
                  <a:gd name="connsiteX7" fmla="*/ 25269 w 30092"/>
                  <a:gd name="connsiteY7" fmla="*/ 28171 h 39062"/>
                  <a:gd name="connsiteX8" fmla="*/ 24233 w 30092"/>
                  <a:gd name="connsiteY8" fmla="*/ 25062 h 39062"/>
                  <a:gd name="connsiteX9" fmla="*/ 20841 w 30092"/>
                  <a:gd name="connsiteY9" fmla="*/ 22838 h 39062"/>
                  <a:gd name="connsiteX10" fmla="*/ 14114 w 30092"/>
                  <a:gd name="connsiteY10" fmla="*/ 20992 h 39062"/>
                  <a:gd name="connsiteX11" fmla="*/ 6821 w 30092"/>
                  <a:gd name="connsiteY11" fmla="*/ 18636 h 39062"/>
                  <a:gd name="connsiteX12" fmla="*/ 2789 w 30092"/>
                  <a:gd name="connsiteY12" fmla="*/ 15112 h 39062"/>
                  <a:gd name="connsiteX13" fmla="*/ 1470 w 30092"/>
                  <a:gd name="connsiteY13" fmla="*/ 10402 h 39062"/>
                  <a:gd name="connsiteX14" fmla="*/ 3090 w 30092"/>
                  <a:gd name="connsiteY14" fmla="*/ 5050 h 39062"/>
                  <a:gd name="connsiteX15" fmla="*/ 7839 w 30092"/>
                  <a:gd name="connsiteY15" fmla="*/ 1281 h 39062"/>
                  <a:gd name="connsiteX16" fmla="*/ 14773 w 30092"/>
                  <a:gd name="connsiteY16" fmla="*/ 0 h 39062"/>
                  <a:gd name="connsiteX17" fmla="*/ 22179 w 30092"/>
                  <a:gd name="connsiteY17" fmla="*/ 1357 h 39062"/>
                  <a:gd name="connsiteX18" fmla="*/ 27116 w 30092"/>
                  <a:gd name="connsiteY18" fmla="*/ 5333 h 39062"/>
                  <a:gd name="connsiteX19" fmla="*/ 28962 w 30092"/>
                  <a:gd name="connsiteY19" fmla="*/ 11287 h 39062"/>
                  <a:gd name="connsiteX20" fmla="*/ 24176 w 30092"/>
                  <a:gd name="connsiteY20" fmla="*/ 11645 h 39062"/>
                  <a:gd name="connsiteX21" fmla="*/ 21557 w 30092"/>
                  <a:gd name="connsiteY21" fmla="*/ 6237 h 39062"/>
                  <a:gd name="connsiteX22" fmla="*/ 14981 w 30092"/>
                  <a:gd name="connsiteY22" fmla="*/ 4409 h 39062"/>
                  <a:gd name="connsiteX23" fmla="*/ 8366 w 30092"/>
                  <a:gd name="connsiteY23" fmla="*/ 6068 h 39062"/>
                  <a:gd name="connsiteX24" fmla="*/ 6294 w 30092"/>
                  <a:gd name="connsiteY24" fmla="*/ 10081 h 39062"/>
                  <a:gd name="connsiteX25" fmla="*/ 7763 w 30092"/>
                  <a:gd name="connsiteY25" fmla="*/ 13435 h 39062"/>
                  <a:gd name="connsiteX26" fmla="*/ 15301 w 30092"/>
                  <a:gd name="connsiteY26" fmla="*/ 16130 h 39062"/>
                  <a:gd name="connsiteX27" fmla="*/ 23667 w 30092"/>
                  <a:gd name="connsiteY27" fmla="*/ 18542 h 39062"/>
                  <a:gd name="connsiteX28" fmla="*/ 28529 w 30092"/>
                  <a:gd name="connsiteY28" fmla="*/ 22386 h 39062"/>
                  <a:gd name="connsiteX29" fmla="*/ 30093 w 30092"/>
                  <a:gd name="connsiteY29" fmla="*/ 27756 h 39062"/>
                  <a:gd name="connsiteX30" fmla="*/ 28359 w 30092"/>
                  <a:gd name="connsiteY30" fmla="*/ 33428 h 39062"/>
                  <a:gd name="connsiteX31" fmla="*/ 23403 w 30092"/>
                  <a:gd name="connsiteY31" fmla="*/ 37574 h 39062"/>
                  <a:gd name="connsiteX32" fmla="*/ 16130 w 30092"/>
                  <a:gd name="connsiteY32" fmla="*/ 39062 h 39062"/>
                  <a:gd name="connsiteX33" fmla="*/ 7537 w 30092"/>
                  <a:gd name="connsiteY33" fmla="*/ 37574 h 39062"/>
                  <a:gd name="connsiteX34" fmla="*/ 2110 w 30092"/>
                  <a:gd name="connsiteY34" fmla="*/ 33070 h 39062"/>
                  <a:gd name="connsiteX35" fmla="*/ 38 w 30092"/>
                  <a:gd name="connsiteY35" fmla="*/ 26287 h 39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0092" h="39062">
                    <a:moveTo>
                      <a:pt x="0" y="26305"/>
                    </a:moveTo>
                    <a:lnTo>
                      <a:pt x="4711" y="25891"/>
                    </a:lnTo>
                    <a:cubicBezTo>
                      <a:pt x="4937" y="27775"/>
                      <a:pt x="5446" y="29339"/>
                      <a:pt x="6275" y="30545"/>
                    </a:cubicBezTo>
                    <a:cubicBezTo>
                      <a:pt x="7085" y="31751"/>
                      <a:pt x="8348" y="32731"/>
                      <a:pt x="10081" y="33485"/>
                    </a:cubicBezTo>
                    <a:cubicBezTo>
                      <a:pt x="11796" y="34238"/>
                      <a:pt x="13737" y="34597"/>
                      <a:pt x="15885" y="34597"/>
                    </a:cubicBezTo>
                    <a:cubicBezTo>
                      <a:pt x="17788" y="34597"/>
                      <a:pt x="19465" y="34314"/>
                      <a:pt x="20935" y="33749"/>
                    </a:cubicBezTo>
                    <a:cubicBezTo>
                      <a:pt x="22386" y="33183"/>
                      <a:pt x="23479" y="32411"/>
                      <a:pt x="24195" y="31412"/>
                    </a:cubicBezTo>
                    <a:cubicBezTo>
                      <a:pt x="24911" y="30432"/>
                      <a:pt x="25269" y="29339"/>
                      <a:pt x="25269" y="28171"/>
                    </a:cubicBezTo>
                    <a:cubicBezTo>
                      <a:pt x="25269" y="27003"/>
                      <a:pt x="24930" y="25947"/>
                      <a:pt x="24233" y="25062"/>
                    </a:cubicBezTo>
                    <a:cubicBezTo>
                      <a:pt x="23554" y="24176"/>
                      <a:pt x="22405" y="23441"/>
                      <a:pt x="20841" y="22838"/>
                    </a:cubicBezTo>
                    <a:cubicBezTo>
                      <a:pt x="19823" y="22443"/>
                      <a:pt x="17581" y="21821"/>
                      <a:pt x="14114" y="20992"/>
                    </a:cubicBezTo>
                    <a:cubicBezTo>
                      <a:pt x="10646" y="20162"/>
                      <a:pt x="8216" y="19371"/>
                      <a:pt x="6821" y="18636"/>
                    </a:cubicBezTo>
                    <a:cubicBezTo>
                      <a:pt x="5012" y="17694"/>
                      <a:pt x="3674" y="16526"/>
                      <a:pt x="2789" y="15112"/>
                    </a:cubicBezTo>
                    <a:cubicBezTo>
                      <a:pt x="1903" y="13718"/>
                      <a:pt x="1470" y="12154"/>
                      <a:pt x="1470" y="10402"/>
                    </a:cubicBezTo>
                    <a:cubicBezTo>
                      <a:pt x="1470" y="8498"/>
                      <a:pt x="2016" y="6708"/>
                      <a:pt x="3090" y="5050"/>
                    </a:cubicBezTo>
                    <a:cubicBezTo>
                      <a:pt x="4164" y="3392"/>
                      <a:pt x="5747" y="2129"/>
                      <a:pt x="7839" y="1281"/>
                    </a:cubicBezTo>
                    <a:cubicBezTo>
                      <a:pt x="9912" y="415"/>
                      <a:pt x="12229" y="0"/>
                      <a:pt x="14773" y="0"/>
                    </a:cubicBezTo>
                    <a:cubicBezTo>
                      <a:pt x="17581" y="0"/>
                      <a:pt x="20049" y="452"/>
                      <a:pt x="22179" y="1357"/>
                    </a:cubicBezTo>
                    <a:cubicBezTo>
                      <a:pt x="24308" y="2261"/>
                      <a:pt x="25966" y="3580"/>
                      <a:pt x="27116" y="5333"/>
                    </a:cubicBezTo>
                    <a:cubicBezTo>
                      <a:pt x="28265" y="7085"/>
                      <a:pt x="28887" y="9064"/>
                      <a:pt x="28962" y="11287"/>
                    </a:cubicBezTo>
                    <a:lnTo>
                      <a:pt x="24176" y="11645"/>
                    </a:lnTo>
                    <a:cubicBezTo>
                      <a:pt x="23912" y="9252"/>
                      <a:pt x="23045" y="7462"/>
                      <a:pt x="21557" y="6237"/>
                    </a:cubicBezTo>
                    <a:cubicBezTo>
                      <a:pt x="20068" y="5012"/>
                      <a:pt x="17882" y="4409"/>
                      <a:pt x="14981" y="4409"/>
                    </a:cubicBezTo>
                    <a:cubicBezTo>
                      <a:pt x="12079" y="4409"/>
                      <a:pt x="9761" y="4956"/>
                      <a:pt x="8366" y="6068"/>
                    </a:cubicBezTo>
                    <a:cubicBezTo>
                      <a:pt x="6991" y="7179"/>
                      <a:pt x="6294" y="8517"/>
                      <a:pt x="6294" y="10081"/>
                    </a:cubicBezTo>
                    <a:cubicBezTo>
                      <a:pt x="6294" y="11438"/>
                      <a:pt x="6784" y="12550"/>
                      <a:pt x="7763" y="13435"/>
                    </a:cubicBezTo>
                    <a:cubicBezTo>
                      <a:pt x="8724" y="14302"/>
                      <a:pt x="11231" y="15207"/>
                      <a:pt x="15301" y="16130"/>
                    </a:cubicBezTo>
                    <a:cubicBezTo>
                      <a:pt x="19371" y="17053"/>
                      <a:pt x="22141" y="17845"/>
                      <a:pt x="23667" y="18542"/>
                    </a:cubicBezTo>
                    <a:cubicBezTo>
                      <a:pt x="25872" y="19559"/>
                      <a:pt x="27492" y="20841"/>
                      <a:pt x="28529" y="22386"/>
                    </a:cubicBezTo>
                    <a:cubicBezTo>
                      <a:pt x="29584" y="23950"/>
                      <a:pt x="30093" y="25740"/>
                      <a:pt x="30093" y="27756"/>
                    </a:cubicBezTo>
                    <a:cubicBezTo>
                      <a:pt x="30093" y="29773"/>
                      <a:pt x="29509" y="31657"/>
                      <a:pt x="28359" y="33428"/>
                    </a:cubicBezTo>
                    <a:cubicBezTo>
                      <a:pt x="27210" y="35200"/>
                      <a:pt x="25552" y="36594"/>
                      <a:pt x="23403" y="37574"/>
                    </a:cubicBezTo>
                    <a:cubicBezTo>
                      <a:pt x="21255" y="38554"/>
                      <a:pt x="18825" y="39062"/>
                      <a:pt x="16130" y="39062"/>
                    </a:cubicBezTo>
                    <a:cubicBezTo>
                      <a:pt x="12719" y="39062"/>
                      <a:pt x="9855" y="38572"/>
                      <a:pt x="7537" y="37574"/>
                    </a:cubicBezTo>
                    <a:cubicBezTo>
                      <a:pt x="5220" y="36575"/>
                      <a:pt x="3411" y="35086"/>
                      <a:pt x="2110" y="33070"/>
                    </a:cubicBezTo>
                    <a:cubicBezTo>
                      <a:pt x="810" y="31054"/>
                      <a:pt x="113" y="28812"/>
                      <a:pt x="38" y="262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23" name="Freihandform: Form 3322">
                <a:extLst>
                  <a:ext uri="{FF2B5EF4-FFF2-40B4-BE49-F238E27FC236}">
                    <a16:creationId xmlns:a16="http://schemas.microsoft.com/office/drawing/2014/main" id="{84D27133-F4C6-F8D3-5983-E606E0AAFA73}"/>
                  </a:ext>
                </a:extLst>
              </p:cNvPr>
              <p:cNvSpPr/>
              <p:nvPr/>
            </p:nvSpPr>
            <p:spPr>
              <a:xfrm>
                <a:off x="2956380" y="1670791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0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4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24" name="Freihandform: Form 3323">
                <a:extLst>
                  <a:ext uri="{FF2B5EF4-FFF2-40B4-BE49-F238E27FC236}">
                    <a16:creationId xmlns:a16="http://schemas.microsoft.com/office/drawing/2014/main" id="{8E0331EE-0D65-EC72-0303-4BEF4DE56996}"/>
                  </a:ext>
                </a:extLst>
              </p:cNvPr>
              <p:cNvSpPr/>
              <p:nvPr/>
            </p:nvSpPr>
            <p:spPr>
              <a:xfrm>
                <a:off x="2985719" y="1670772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25" name="Freihandform: Form 3324">
                <a:extLst>
                  <a:ext uri="{FF2B5EF4-FFF2-40B4-BE49-F238E27FC236}">
                    <a16:creationId xmlns:a16="http://schemas.microsoft.com/office/drawing/2014/main" id="{8043E4E4-40CE-5C2D-21DA-21F20FFEA999}"/>
                  </a:ext>
                </a:extLst>
              </p:cNvPr>
              <p:cNvSpPr/>
              <p:nvPr/>
            </p:nvSpPr>
            <p:spPr>
              <a:xfrm>
                <a:off x="3014097" y="1661859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2 h 37272"/>
                  <a:gd name="connsiteX7" fmla="*/ 0 w 13341"/>
                  <a:gd name="connsiteY7" fmla="*/ 13172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5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3" y="35953"/>
                      <a:pt x="4334" y="35256"/>
                      <a:pt x="3957" y="34389"/>
                    </a:cubicBezTo>
                    <a:cubicBezTo>
                      <a:pt x="3580" y="33522"/>
                      <a:pt x="3392" y="31695"/>
                      <a:pt x="3392" y="28906"/>
                    </a:cubicBezTo>
                    <a:lnTo>
                      <a:pt x="3392" y="13172"/>
                    </a:lnTo>
                    <a:lnTo>
                      <a:pt x="0" y="13172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26" name="Freihandform: Form 3325">
                <a:extLst>
                  <a:ext uri="{FF2B5EF4-FFF2-40B4-BE49-F238E27FC236}">
                    <a16:creationId xmlns:a16="http://schemas.microsoft.com/office/drawing/2014/main" id="{851FCC50-BC15-AD0B-331F-BA26D989A062}"/>
                  </a:ext>
                </a:extLst>
              </p:cNvPr>
              <p:cNvSpPr/>
              <p:nvPr/>
            </p:nvSpPr>
            <p:spPr>
              <a:xfrm>
                <a:off x="3028758" y="1661859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2 h 37272"/>
                  <a:gd name="connsiteX7" fmla="*/ 0 w 13341"/>
                  <a:gd name="connsiteY7" fmla="*/ 13172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5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3" y="35953"/>
                      <a:pt x="4334" y="35256"/>
                      <a:pt x="3957" y="34389"/>
                    </a:cubicBezTo>
                    <a:cubicBezTo>
                      <a:pt x="3580" y="33522"/>
                      <a:pt x="3392" y="31695"/>
                      <a:pt x="3392" y="28906"/>
                    </a:cubicBezTo>
                    <a:lnTo>
                      <a:pt x="3392" y="13172"/>
                    </a:lnTo>
                    <a:lnTo>
                      <a:pt x="0" y="13172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27" name="Freihandform: Form 3326">
                <a:extLst>
                  <a:ext uri="{FF2B5EF4-FFF2-40B4-BE49-F238E27FC236}">
                    <a16:creationId xmlns:a16="http://schemas.microsoft.com/office/drawing/2014/main" id="{234D1B2E-8B65-AEDD-C4D8-7F191F00D11B}"/>
                  </a:ext>
                </a:extLst>
              </p:cNvPr>
              <p:cNvSpPr/>
              <p:nvPr/>
            </p:nvSpPr>
            <p:spPr>
              <a:xfrm>
                <a:off x="3045848" y="1661011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28" name="Freihandform: Form 3327">
                <a:extLst>
                  <a:ext uri="{FF2B5EF4-FFF2-40B4-BE49-F238E27FC236}">
                    <a16:creationId xmlns:a16="http://schemas.microsoft.com/office/drawing/2014/main" id="{90C43536-1772-B48E-06BA-BF1D35FC0EEC}"/>
                  </a:ext>
                </a:extLst>
              </p:cNvPr>
              <p:cNvSpPr/>
              <p:nvPr/>
            </p:nvSpPr>
            <p:spPr>
              <a:xfrm>
                <a:off x="3056099" y="1670791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0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4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2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81" name="Grafik 21">
              <a:extLst>
                <a:ext uri="{FF2B5EF4-FFF2-40B4-BE49-F238E27FC236}">
                  <a16:creationId xmlns:a16="http://schemas.microsoft.com/office/drawing/2014/main" id="{8E9DB326-DF78-C937-DA86-E3CAC136FD91}"/>
                </a:ext>
              </a:extLst>
            </p:cNvPr>
            <p:cNvGrpSpPr/>
            <p:nvPr/>
          </p:nvGrpSpPr>
          <p:grpSpPr>
            <a:xfrm>
              <a:off x="6067120" y="2375175"/>
              <a:ext cx="179652" cy="38383"/>
              <a:chOff x="6067120" y="2375175"/>
              <a:chExt cx="179652" cy="38383"/>
            </a:xfrm>
            <a:solidFill>
              <a:srgbClr val="000000"/>
            </a:solidFill>
          </p:grpSpPr>
          <p:sp>
            <p:nvSpPr>
              <p:cNvPr id="3315" name="Freihandform: Form 3314">
                <a:extLst>
                  <a:ext uri="{FF2B5EF4-FFF2-40B4-BE49-F238E27FC236}">
                    <a16:creationId xmlns:a16="http://schemas.microsoft.com/office/drawing/2014/main" id="{77687528-A553-D080-E8C0-96663FE7C74F}"/>
                  </a:ext>
                </a:extLst>
              </p:cNvPr>
              <p:cNvSpPr/>
              <p:nvPr/>
            </p:nvSpPr>
            <p:spPr>
              <a:xfrm>
                <a:off x="6067120" y="2375175"/>
                <a:ext cx="25476" cy="37799"/>
              </a:xfrm>
              <a:custGeom>
                <a:avLst/>
                <a:gdLst>
                  <a:gd name="connsiteX0" fmla="*/ 0 w 25476"/>
                  <a:gd name="connsiteY0" fmla="*/ 37762 h 37799"/>
                  <a:gd name="connsiteX1" fmla="*/ 0 w 25476"/>
                  <a:gd name="connsiteY1" fmla="*/ 0 h 37799"/>
                  <a:gd name="connsiteX2" fmla="*/ 25476 w 25476"/>
                  <a:gd name="connsiteY2" fmla="*/ 0 h 37799"/>
                  <a:gd name="connsiteX3" fmla="*/ 25476 w 25476"/>
                  <a:gd name="connsiteY3" fmla="*/ 4466 h 37799"/>
                  <a:gd name="connsiteX4" fmla="*/ 4994 w 25476"/>
                  <a:gd name="connsiteY4" fmla="*/ 4466 h 37799"/>
                  <a:gd name="connsiteX5" fmla="*/ 4994 w 25476"/>
                  <a:gd name="connsiteY5" fmla="*/ 16168 h 37799"/>
                  <a:gd name="connsiteX6" fmla="*/ 22725 w 25476"/>
                  <a:gd name="connsiteY6" fmla="*/ 16168 h 37799"/>
                  <a:gd name="connsiteX7" fmla="*/ 22725 w 25476"/>
                  <a:gd name="connsiteY7" fmla="*/ 20634 h 37799"/>
                  <a:gd name="connsiteX8" fmla="*/ 4994 w 25476"/>
                  <a:gd name="connsiteY8" fmla="*/ 20634 h 37799"/>
                  <a:gd name="connsiteX9" fmla="*/ 4994 w 25476"/>
                  <a:gd name="connsiteY9" fmla="*/ 37800 h 37799"/>
                  <a:gd name="connsiteX10" fmla="*/ 0 w 25476"/>
                  <a:gd name="connsiteY10" fmla="*/ 37800 h 37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476" h="37799">
                    <a:moveTo>
                      <a:pt x="0" y="37762"/>
                    </a:moveTo>
                    <a:lnTo>
                      <a:pt x="0" y="0"/>
                    </a:lnTo>
                    <a:lnTo>
                      <a:pt x="25476" y="0"/>
                    </a:lnTo>
                    <a:lnTo>
                      <a:pt x="25476" y="4466"/>
                    </a:lnTo>
                    <a:lnTo>
                      <a:pt x="4994" y="4466"/>
                    </a:lnTo>
                    <a:lnTo>
                      <a:pt x="4994" y="16168"/>
                    </a:lnTo>
                    <a:lnTo>
                      <a:pt x="22725" y="16168"/>
                    </a:lnTo>
                    <a:lnTo>
                      <a:pt x="22725" y="20634"/>
                    </a:lnTo>
                    <a:lnTo>
                      <a:pt x="4994" y="20634"/>
                    </a:lnTo>
                    <a:lnTo>
                      <a:pt x="4994" y="37800"/>
                    </a:lnTo>
                    <a:lnTo>
                      <a:pt x="0" y="37800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16" name="Freihandform: Form 3315">
                <a:extLst>
                  <a:ext uri="{FF2B5EF4-FFF2-40B4-BE49-F238E27FC236}">
                    <a16:creationId xmlns:a16="http://schemas.microsoft.com/office/drawing/2014/main" id="{08BB6AD2-AF85-BDC4-B91B-D3696C67D924}"/>
                  </a:ext>
                </a:extLst>
              </p:cNvPr>
              <p:cNvSpPr/>
              <p:nvPr/>
            </p:nvSpPr>
            <p:spPr>
              <a:xfrm>
                <a:off x="6098381" y="2385539"/>
                <a:ext cx="22178" cy="28020"/>
              </a:xfrm>
              <a:custGeom>
                <a:avLst/>
                <a:gdLst>
                  <a:gd name="connsiteX0" fmla="*/ 18033 w 22178"/>
                  <a:gd name="connsiteY0" fmla="*/ 27398 h 28020"/>
                  <a:gd name="connsiteX1" fmla="*/ 18033 w 22178"/>
                  <a:gd name="connsiteY1" fmla="*/ 23385 h 28020"/>
                  <a:gd name="connsiteX2" fmla="*/ 9346 w 22178"/>
                  <a:gd name="connsiteY2" fmla="*/ 28020 h 28020"/>
                  <a:gd name="connsiteX3" fmla="*/ 4824 w 22178"/>
                  <a:gd name="connsiteY3" fmla="*/ 27097 h 28020"/>
                  <a:gd name="connsiteX4" fmla="*/ 1715 w 22178"/>
                  <a:gd name="connsiteY4" fmla="*/ 24760 h 28020"/>
                  <a:gd name="connsiteX5" fmla="*/ 283 w 22178"/>
                  <a:gd name="connsiteY5" fmla="*/ 21312 h 28020"/>
                  <a:gd name="connsiteX6" fmla="*/ 0 w 22178"/>
                  <a:gd name="connsiteY6" fmla="*/ 16978 h 28020"/>
                  <a:gd name="connsiteX7" fmla="*/ 0 w 22178"/>
                  <a:gd name="connsiteY7" fmla="*/ 19 h 28020"/>
                  <a:gd name="connsiteX8" fmla="*/ 4636 w 22178"/>
                  <a:gd name="connsiteY8" fmla="*/ 19 h 28020"/>
                  <a:gd name="connsiteX9" fmla="*/ 4636 w 22178"/>
                  <a:gd name="connsiteY9" fmla="*/ 15188 h 28020"/>
                  <a:gd name="connsiteX10" fmla="*/ 4918 w 22178"/>
                  <a:gd name="connsiteY10" fmla="*/ 20087 h 28020"/>
                  <a:gd name="connsiteX11" fmla="*/ 6765 w 22178"/>
                  <a:gd name="connsiteY11" fmla="*/ 22951 h 28020"/>
                  <a:gd name="connsiteX12" fmla="*/ 10270 w 22178"/>
                  <a:gd name="connsiteY12" fmla="*/ 23988 h 28020"/>
                  <a:gd name="connsiteX13" fmla="*/ 14189 w 22178"/>
                  <a:gd name="connsiteY13" fmla="*/ 22914 h 28020"/>
                  <a:gd name="connsiteX14" fmla="*/ 16790 w 22178"/>
                  <a:gd name="connsiteY14" fmla="*/ 20012 h 28020"/>
                  <a:gd name="connsiteX15" fmla="*/ 17543 w 22178"/>
                  <a:gd name="connsiteY15" fmla="*/ 14660 h 28020"/>
                  <a:gd name="connsiteX16" fmla="*/ 17543 w 22178"/>
                  <a:gd name="connsiteY16" fmla="*/ 0 h 28020"/>
                  <a:gd name="connsiteX17" fmla="*/ 22179 w 22178"/>
                  <a:gd name="connsiteY17" fmla="*/ 0 h 28020"/>
                  <a:gd name="connsiteX18" fmla="*/ 22179 w 22178"/>
                  <a:gd name="connsiteY18" fmla="*/ 27361 h 28020"/>
                  <a:gd name="connsiteX19" fmla="*/ 18033 w 22178"/>
                  <a:gd name="connsiteY19" fmla="*/ 27361 h 2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178" h="28020">
                    <a:moveTo>
                      <a:pt x="18033" y="27398"/>
                    </a:moveTo>
                    <a:lnTo>
                      <a:pt x="18033" y="23385"/>
                    </a:lnTo>
                    <a:cubicBezTo>
                      <a:pt x="15904" y="26475"/>
                      <a:pt x="13002" y="28020"/>
                      <a:pt x="9346" y="28020"/>
                    </a:cubicBezTo>
                    <a:cubicBezTo>
                      <a:pt x="7726" y="28020"/>
                      <a:pt x="6218" y="27719"/>
                      <a:pt x="4824" y="27097"/>
                    </a:cubicBezTo>
                    <a:cubicBezTo>
                      <a:pt x="3429" y="26475"/>
                      <a:pt x="2393" y="25702"/>
                      <a:pt x="1715" y="24760"/>
                    </a:cubicBezTo>
                    <a:cubicBezTo>
                      <a:pt x="1036" y="23818"/>
                      <a:pt x="565" y="22669"/>
                      <a:pt x="283" y="21312"/>
                    </a:cubicBezTo>
                    <a:cubicBezTo>
                      <a:pt x="94" y="20408"/>
                      <a:pt x="0" y="18957"/>
                      <a:pt x="0" y="16978"/>
                    </a:cubicBezTo>
                    <a:lnTo>
                      <a:pt x="0" y="19"/>
                    </a:lnTo>
                    <a:lnTo>
                      <a:pt x="4636" y="19"/>
                    </a:lnTo>
                    <a:lnTo>
                      <a:pt x="4636" y="15188"/>
                    </a:lnTo>
                    <a:cubicBezTo>
                      <a:pt x="4636" y="17619"/>
                      <a:pt x="4730" y="19239"/>
                      <a:pt x="4918" y="20087"/>
                    </a:cubicBezTo>
                    <a:cubicBezTo>
                      <a:pt x="5220" y="21312"/>
                      <a:pt x="5823" y="22273"/>
                      <a:pt x="6765" y="22951"/>
                    </a:cubicBezTo>
                    <a:cubicBezTo>
                      <a:pt x="7707" y="23649"/>
                      <a:pt x="8875" y="23988"/>
                      <a:pt x="10270" y="23988"/>
                    </a:cubicBezTo>
                    <a:cubicBezTo>
                      <a:pt x="11664" y="23988"/>
                      <a:pt x="12964" y="23630"/>
                      <a:pt x="14189" y="22914"/>
                    </a:cubicBezTo>
                    <a:cubicBezTo>
                      <a:pt x="15414" y="22198"/>
                      <a:pt x="16281" y="21237"/>
                      <a:pt x="16790" y="20012"/>
                    </a:cubicBezTo>
                    <a:cubicBezTo>
                      <a:pt x="17298" y="18787"/>
                      <a:pt x="17543" y="16997"/>
                      <a:pt x="17543" y="14660"/>
                    </a:cubicBezTo>
                    <a:lnTo>
                      <a:pt x="17543" y="0"/>
                    </a:lnTo>
                    <a:lnTo>
                      <a:pt x="22179" y="0"/>
                    </a:lnTo>
                    <a:lnTo>
                      <a:pt x="22179" y="27361"/>
                    </a:lnTo>
                    <a:lnTo>
                      <a:pt x="18033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17" name="Freihandform: Form 3316">
                <a:extLst>
                  <a:ext uri="{FF2B5EF4-FFF2-40B4-BE49-F238E27FC236}">
                    <a16:creationId xmlns:a16="http://schemas.microsoft.com/office/drawing/2014/main" id="{B3313389-8A0A-6B07-2D6F-3EE90CA58D90}"/>
                  </a:ext>
                </a:extLst>
              </p:cNvPr>
              <p:cNvSpPr/>
              <p:nvPr/>
            </p:nvSpPr>
            <p:spPr>
              <a:xfrm>
                <a:off x="6127833" y="2384955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1 w 22235"/>
                  <a:gd name="connsiteY6" fmla="*/ 3222 h 28001"/>
                  <a:gd name="connsiteX7" fmla="*/ 21972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1" y="3222"/>
                    </a:cubicBezTo>
                    <a:cubicBezTo>
                      <a:pt x="21218" y="4183"/>
                      <a:pt x="21689" y="5333"/>
                      <a:pt x="21972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2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18" name="Freihandform: Form 3317">
                <a:extLst>
                  <a:ext uri="{FF2B5EF4-FFF2-40B4-BE49-F238E27FC236}">
                    <a16:creationId xmlns:a16="http://schemas.microsoft.com/office/drawing/2014/main" id="{E62C29ED-804C-1B56-CD91-73385E68C29B}"/>
                  </a:ext>
                </a:extLst>
              </p:cNvPr>
              <p:cNvSpPr/>
              <p:nvPr/>
            </p:nvSpPr>
            <p:spPr>
              <a:xfrm>
                <a:off x="6155778" y="2384955"/>
                <a:ext cx="23817" cy="28604"/>
              </a:xfrm>
              <a:custGeom>
                <a:avLst/>
                <a:gdLst>
                  <a:gd name="connsiteX0" fmla="*/ 19258 w 23817"/>
                  <a:gd name="connsiteY0" fmla="*/ 17958 h 28604"/>
                  <a:gd name="connsiteX1" fmla="*/ 23818 w 23817"/>
                  <a:gd name="connsiteY1" fmla="*/ 18542 h 28604"/>
                  <a:gd name="connsiteX2" fmla="*/ 19993 w 23817"/>
                  <a:gd name="connsiteY2" fmla="*/ 25928 h 28604"/>
                  <a:gd name="connsiteX3" fmla="*/ 12436 w 23817"/>
                  <a:gd name="connsiteY3" fmla="*/ 28604 h 28604"/>
                  <a:gd name="connsiteX4" fmla="*/ 3411 w 23817"/>
                  <a:gd name="connsiteY4" fmla="*/ 24930 h 28604"/>
                  <a:gd name="connsiteX5" fmla="*/ 0 w 23817"/>
                  <a:gd name="connsiteY5" fmla="*/ 14415 h 28604"/>
                  <a:gd name="connsiteX6" fmla="*/ 1470 w 23817"/>
                  <a:gd name="connsiteY6" fmla="*/ 6652 h 28604"/>
                  <a:gd name="connsiteX7" fmla="*/ 5935 w 23817"/>
                  <a:gd name="connsiteY7" fmla="*/ 1658 h 28604"/>
                  <a:gd name="connsiteX8" fmla="*/ 12455 w 23817"/>
                  <a:gd name="connsiteY8" fmla="*/ 0 h 28604"/>
                  <a:gd name="connsiteX9" fmla="*/ 19748 w 23817"/>
                  <a:gd name="connsiteY9" fmla="*/ 2261 h 28604"/>
                  <a:gd name="connsiteX10" fmla="*/ 23384 w 23817"/>
                  <a:gd name="connsiteY10" fmla="*/ 8668 h 28604"/>
                  <a:gd name="connsiteX11" fmla="*/ 18881 w 23817"/>
                  <a:gd name="connsiteY11" fmla="*/ 9365 h 28604"/>
                  <a:gd name="connsiteX12" fmla="*/ 16601 w 23817"/>
                  <a:gd name="connsiteY12" fmla="*/ 5220 h 28604"/>
                  <a:gd name="connsiteX13" fmla="*/ 12644 w 23817"/>
                  <a:gd name="connsiteY13" fmla="*/ 3825 h 28604"/>
                  <a:gd name="connsiteX14" fmla="*/ 6953 w 23817"/>
                  <a:gd name="connsiteY14" fmla="*/ 6331 h 28604"/>
                  <a:gd name="connsiteX15" fmla="*/ 4767 w 23817"/>
                  <a:gd name="connsiteY15" fmla="*/ 14283 h 28604"/>
                  <a:gd name="connsiteX16" fmla="*/ 6878 w 23817"/>
                  <a:gd name="connsiteY16" fmla="*/ 22292 h 28604"/>
                  <a:gd name="connsiteX17" fmla="*/ 12399 w 23817"/>
                  <a:gd name="connsiteY17" fmla="*/ 24798 h 28604"/>
                  <a:gd name="connsiteX18" fmla="*/ 16959 w 23817"/>
                  <a:gd name="connsiteY18" fmla="*/ 23121 h 28604"/>
                  <a:gd name="connsiteX19" fmla="*/ 19277 w 23817"/>
                  <a:gd name="connsiteY19" fmla="*/ 17976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817" h="28604">
                    <a:moveTo>
                      <a:pt x="19258" y="17958"/>
                    </a:moveTo>
                    <a:lnTo>
                      <a:pt x="23818" y="18542"/>
                    </a:lnTo>
                    <a:cubicBezTo>
                      <a:pt x="23328" y="21689"/>
                      <a:pt x="22047" y="24138"/>
                      <a:pt x="19993" y="25928"/>
                    </a:cubicBezTo>
                    <a:cubicBezTo>
                      <a:pt x="17939" y="27700"/>
                      <a:pt x="15414" y="28604"/>
                      <a:pt x="12436" y="28604"/>
                    </a:cubicBezTo>
                    <a:cubicBezTo>
                      <a:pt x="8687" y="28604"/>
                      <a:pt x="5691" y="27379"/>
                      <a:pt x="3411" y="24930"/>
                    </a:cubicBezTo>
                    <a:cubicBezTo>
                      <a:pt x="1130" y="22480"/>
                      <a:pt x="0" y="18975"/>
                      <a:pt x="0" y="14415"/>
                    </a:cubicBezTo>
                    <a:cubicBezTo>
                      <a:pt x="0" y="11457"/>
                      <a:pt x="490" y="8875"/>
                      <a:pt x="1470" y="6652"/>
                    </a:cubicBezTo>
                    <a:cubicBezTo>
                      <a:pt x="2450" y="4428"/>
                      <a:pt x="3938" y="2770"/>
                      <a:pt x="5935" y="1658"/>
                    </a:cubicBezTo>
                    <a:cubicBezTo>
                      <a:pt x="7933" y="546"/>
                      <a:pt x="10119" y="0"/>
                      <a:pt x="12455" y="0"/>
                    </a:cubicBezTo>
                    <a:cubicBezTo>
                      <a:pt x="15433" y="0"/>
                      <a:pt x="17863" y="754"/>
                      <a:pt x="19748" y="2261"/>
                    </a:cubicBezTo>
                    <a:cubicBezTo>
                      <a:pt x="21632" y="3769"/>
                      <a:pt x="22857" y="5898"/>
                      <a:pt x="23384" y="8668"/>
                    </a:cubicBezTo>
                    <a:lnTo>
                      <a:pt x="18881" y="9365"/>
                    </a:lnTo>
                    <a:cubicBezTo>
                      <a:pt x="18448" y="7518"/>
                      <a:pt x="17694" y="6143"/>
                      <a:pt x="16601" y="5220"/>
                    </a:cubicBezTo>
                    <a:cubicBezTo>
                      <a:pt x="15508" y="4296"/>
                      <a:pt x="14189" y="3825"/>
                      <a:pt x="12644" y="3825"/>
                    </a:cubicBezTo>
                    <a:cubicBezTo>
                      <a:pt x="10307" y="3825"/>
                      <a:pt x="8404" y="4654"/>
                      <a:pt x="6953" y="6331"/>
                    </a:cubicBezTo>
                    <a:cubicBezTo>
                      <a:pt x="5502" y="8008"/>
                      <a:pt x="4767" y="10647"/>
                      <a:pt x="4767" y="14283"/>
                    </a:cubicBezTo>
                    <a:cubicBezTo>
                      <a:pt x="4767" y="17920"/>
                      <a:pt x="5464" y="20633"/>
                      <a:pt x="6878" y="22292"/>
                    </a:cubicBezTo>
                    <a:cubicBezTo>
                      <a:pt x="8291" y="23950"/>
                      <a:pt x="10119" y="24798"/>
                      <a:pt x="12399" y="24798"/>
                    </a:cubicBezTo>
                    <a:cubicBezTo>
                      <a:pt x="14227" y="24798"/>
                      <a:pt x="15734" y="24233"/>
                      <a:pt x="16959" y="23121"/>
                    </a:cubicBezTo>
                    <a:cubicBezTo>
                      <a:pt x="18184" y="22009"/>
                      <a:pt x="18957" y="20294"/>
                      <a:pt x="19277" y="1797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19" name="Freihandform: Form 3318">
                <a:extLst>
                  <a:ext uri="{FF2B5EF4-FFF2-40B4-BE49-F238E27FC236}">
                    <a16:creationId xmlns:a16="http://schemas.microsoft.com/office/drawing/2014/main" id="{24114EFA-FD14-1037-23A5-9EEA592EE405}"/>
                  </a:ext>
                </a:extLst>
              </p:cNvPr>
              <p:cNvSpPr/>
              <p:nvPr/>
            </p:nvSpPr>
            <p:spPr>
              <a:xfrm>
                <a:off x="6183534" y="2375175"/>
                <a:ext cx="22291" cy="37762"/>
              </a:xfrm>
              <a:custGeom>
                <a:avLst/>
                <a:gdLst>
                  <a:gd name="connsiteX0" fmla="*/ 19 w 22291"/>
                  <a:gd name="connsiteY0" fmla="*/ 37762 h 37762"/>
                  <a:gd name="connsiteX1" fmla="*/ 19 w 22291"/>
                  <a:gd name="connsiteY1" fmla="*/ 0 h 37762"/>
                  <a:gd name="connsiteX2" fmla="*/ 4654 w 22291"/>
                  <a:gd name="connsiteY2" fmla="*/ 0 h 37762"/>
                  <a:gd name="connsiteX3" fmla="*/ 4654 w 22291"/>
                  <a:gd name="connsiteY3" fmla="*/ 13549 h 37762"/>
                  <a:gd name="connsiteX4" fmla="*/ 12851 w 22291"/>
                  <a:gd name="connsiteY4" fmla="*/ 9780 h 37762"/>
                  <a:gd name="connsiteX5" fmla="*/ 18127 w 22291"/>
                  <a:gd name="connsiteY5" fmla="*/ 10986 h 37762"/>
                  <a:gd name="connsiteX6" fmla="*/ 21331 w 22291"/>
                  <a:gd name="connsiteY6" fmla="*/ 14302 h 37762"/>
                  <a:gd name="connsiteX7" fmla="*/ 22292 w 22291"/>
                  <a:gd name="connsiteY7" fmla="*/ 20426 h 37762"/>
                  <a:gd name="connsiteX8" fmla="*/ 22292 w 22291"/>
                  <a:gd name="connsiteY8" fmla="*/ 37762 h 37762"/>
                  <a:gd name="connsiteX9" fmla="*/ 17656 w 22291"/>
                  <a:gd name="connsiteY9" fmla="*/ 37762 h 37762"/>
                  <a:gd name="connsiteX10" fmla="*/ 17656 w 22291"/>
                  <a:gd name="connsiteY10" fmla="*/ 20426 h 37762"/>
                  <a:gd name="connsiteX11" fmla="*/ 16149 w 22291"/>
                  <a:gd name="connsiteY11" fmla="*/ 15357 h 37762"/>
                  <a:gd name="connsiteX12" fmla="*/ 11890 w 22291"/>
                  <a:gd name="connsiteY12" fmla="*/ 13775 h 37762"/>
                  <a:gd name="connsiteX13" fmla="*/ 8008 w 22291"/>
                  <a:gd name="connsiteY13" fmla="*/ 14849 h 37762"/>
                  <a:gd name="connsiteX14" fmla="*/ 5408 w 22291"/>
                  <a:gd name="connsiteY14" fmla="*/ 17751 h 37762"/>
                  <a:gd name="connsiteX15" fmla="*/ 4635 w 22291"/>
                  <a:gd name="connsiteY15" fmla="*/ 22801 h 37762"/>
                  <a:gd name="connsiteX16" fmla="*/ 4635 w 22291"/>
                  <a:gd name="connsiteY16" fmla="*/ 37762 h 37762"/>
                  <a:gd name="connsiteX17" fmla="*/ 0 w 22291"/>
                  <a:gd name="connsiteY17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291" h="37762">
                    <a:moveTo>
                      <a:pt x="19" y="37762"/>
                    </a:moveTo>
                    <a:lnTo>
                      <a:pt x="19" y="0"/>
                    </a:lnTo>
                    <a:lnTo>
                      <a:pt x="4654" y="0"/>
                    </a:lnTo>
                    <a:lnTo>
                      <a:pt x="4654" y="13549"/>
                    </a:lnTo>
                    <a:cubicBezTo>
                      <a:pt x="6821" y="11042"/>
                      <a:pt x="9554" y="9780"/>
                      <a:pt x="12851" y="9780"/>
                    </a:cubicBezTo>
                    <a:cubicBezTo>
                      <a:pt x="14886" y="9780"/>
                      <a:pt x="16639" y="10175"/>
                      <a:pt x="18127" y="10986"/>
                    </a:cubicBezTo>
                    <a:cubicBezTo>
                      <a:pt x="19616" y="11796"/>
                      <a:pt x="20690" y="12889"/>
                      <a:pt x="21331" y="14302"/>
                    </a:cubicBezTo>
                    <a:cubicBezTo>
                      <a:pt x="21971" y="15716"/>
                      <a:pt x="22292" y="17751"/>
                      <a:pt x="22292" y="20426"/>
                    </a:cubicBezTo>
                    <a:lnTo>
                      <a:pt x="22292" y="37762"/>
                    </a:lnTo>
                    <a:lnTo>
                      <a:pt x="17656" y="37762"/>
                    </a:lnTo>
                    <a:lnTo>
                      <a:pt x="17656" y="20426"/>
                    </a:lnTo>
                    <a:cubicBezTo>
                      <a:pt x="17656" y="18108"/>
                      <a:pt x="17148" y="16413"/>
                      <a:pt x="16149" y="15357"/>
                    </a:cubicBezTo>
                    <a:cubicBezTo>
                      <a:pt x="15150" y="14302"/>
                      <a:pt x="13718" y="13775"/>
                      <a:pt x="11890" y="13775"/>
                    </a:cubicBezTo>
                    <a:cubicBezTo>
                      <a:pt x="10515" y="13775"/>
                      <a:pt x="9233" y="14133"/>
                      <a:pt x="8008" y="14849"/>
                    </a:cubicBezTo>
                    <a:cubicBezTo>
                      <a:pt x="6784" y="15565"/>
                      <a:pt x="5935" y="16526"/>
                      <a:pt x="5408" y="17751"/>
                    </a:cubicBezTo>
                    <a:cubicBezTo>
                      <a:pt x="4881" y="18975"/>
                      <a:pt x="4635" y="20652"/>
                      <a:pt x="4635" y="22801"/>
                    </a:cubicBez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20" name="Freihandform: Form 3319">
                <a:extLst>
                  <a:ext uri="{FF2B5EF4-FFF2-40B4-BE49-F238E27FC236}">
                    <a16:creationId xmlns:a16="http://schemas.microsoft.com/office/drawing/2014/main" id="{8E405769-A19B-4C14-8114-D3111E0B4C59}"/>
                  </a:ext>
                </a:extLst>
              </p:cNvPr>
              <p:cNvSpPr/>
              <p:nvPr/>
            </p:nvSpPr>
            <p:spPr>
              <a:xfrm>
                <a:off x="6211328" y="2384936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0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1 w 25193"/>
                  <a:gd name="connsiteY13" fmla="*/ 4994 h 28622"/>
                  <a:gd name="connsiteX14" fmla="*/ 5352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3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6 w 25193"/>
                  <a:gd name="connsiteY35" fmla="*/ 23818 h 28622"/>
                  <a:gd name="connsiteX36" fmla="*/ 18297 w 25193"/>
                  <a:gd name="connsiteY36" fmla="*/ 20615 h 28622"/>
                  <a:gd name="connsiteX37" fmla="*/ 19050 w 25193"/>
                  <a:gd name="connsiteY37" fmla="*/ 15979 h 28622"/>
                  <a:gd name="connsiteX38" fmla="*/ 19050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1" y="4994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94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3" y="27963"/>
                    </a:cubicBezTo>
                    <a:lnTo>
                      <a:pt x="20351" y="27963"/>
                    </a:lnTo>
                    <a:cubicBezTo>
                      <a:pt x="19880" y="27002"/>
                      <a:pt x="19559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6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21" name="Freihandform: Form 3320">
                <a:extLst>
                  <a:ext uri="{FF2B5EF4-FFF2-40B4-BE49-F238E27FC236}">
                    <a16:creationId xmlns:a16="http://schemas.microsoft.com/office/drawing/2014/main" id="{FA80A616-468F-D3FC-207A-8D3892D91796}"/>
                  </a:ext>
                </a:extLst>
              </p:cNvPr>
              <p:cNvSpPr/>
              <p:nvPr/>
            </p:nvSpPr>
            <p:spPr>
              <a:xfrm>
                <a:off x="6242137" y="2375175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82" name="Grafik 21">
              <a:extLst>
                <a:ext uri="{FF2B5EF4-FFF2-40B4-BE49-F238E27FC236}">
                  <a16:creationId xmlns:a16="http://schemas.microsoft.com/office/drawing/2014/main" id="{0BE79430-C9BD-BB90-897D-182E9816A405}"/>
                </a:ext>
              </a:extLst>
            </p:cNvPr>
            <p:cNvGrpSpPr/>
            <p:nvPr/>
          </p:nvGrpSpPr>
          <p:grpSpPr>
            <a:xfrm>
              <a:off x="5693267" y="2476251"/>
              <a:ext cx="74582" cy="39062"/>
              <a:chOff x="5693267" y="2476251"/>
              <a:chExt cx="74582" cy="39062"/>
            </a:xfrm>
            <a:solidFill>
              <a:srgbClr val="000000"/>
            </a:solidFill>
          </p:grpSpPr>
          <p:sp>
            <p:nvSpPr>
              <p:cNvPr id="3312" name="Freihandform: Form 3311">
                <a:extLst>
                  <a:ext uri="{FF2B5EF4-FFF2-40B4-BE49-F238E27FC236}">
                    <a16:creationId xmlns:a16="http://schemas.microsoft.com/office/drawing/2014/main" id="{B2A97AAA-04A6-FDE7-3429-250DDE1061EA}"/>
                  </a:ext>
                </a:extLst>
              </p:cNvPr>
              <p:cNvSpPr/>
              <p:nvPr/>
            </p:nvSpPr>
            <p:spPr>
              <a:xfrm>
                <a:off x="5693267" y="2476251"/>
                <a:ext cx="30093" cy="39062"/>
              </a:xfrm>
              <a:custGeom>
                <a:avLst/>
                <a:gdLst>
                  <a:gd name="connsiteX0" fmla="*/ 0 w 30093"/>
                  <a:gd name="connsiteY0" fmla="*/ 26306 h 39062"/>
                  <a:gd name="connsiteX1" fmla="*/ 4711 w 30093"/>
                  <a:gd name="connsiteY1" fmla="*/ 25891 h 39062"/>
                  <a:gd name="connsiteX2" fmla="*/ 6275 w 30093"/>
                  <a:gd name="connsiteY2" fmla="*/ 30545 h 39062"/>
                  <a:gd name="connsiteX3" fmla="*/ 10081 w 30093"/>
                  <a:gd name="connsiteY3" fmla="*/ 33485 h 39062"/>
                  <a:gd name="connsiteX4" fmla="*/ 15885 w 30093"/>
                  <a:gd name="connsiteY4" fmla="*/ 34596 h 39062"/>
                  <a:gd name="connsiteX5" fmla="*/ 20935 w 30093"/>
                  <a:gd name="connsiteY5" fmla="*/ 33749 h 39062"/>
                  <a:gd name="connsiteX6" fmla="*/ 24195 w 30093"/>
                  <a:gd name="connsiteY6" fmla="*/ 31412 h 39062"/>
                  <a:gd name="connsiteX7" fmla="*/ 25269 w 30093"/>
                  <a:gd name="connsiteY7" fmla="*/ 28171 h 39062"/>
                  <a:gd name="connsiteX8" fmla="*/ 24233 w 30093"/>
                  <a:gd name="connsiteY8" fmla="*/ 25062 h 39062"/>
                  <a:gd name="connsiteX9" fmla="*/ 20841 w 30093"/>
                  <a:gd name="connsiteY9" fmla="*/ 22838 h 39062"/>
                  <a:gd name="connsiteX10" fmla="*/ 14114 w 30093"/>
                  <a:gd name="connsiteY10" fmla="*/ 20992 h 39062"/>
                  <a:gd name="connsiteX11" fmla="*/ 6821 w 30093"/>
                  <a:gd name="connsiteY11" fmla="*/ 18636 h 39062"/>
                  <a:gd name="connsiteX12" fmla="*/ 2789 w 30093"/>
                  <a:gd name="connsiteY12" fmla="*/ 15112 h 39062"/>
                  <a:gd name="connsiteX13" fmla="*/ 1470 w 30093"/>
                  <a:gd name="connsiteY13" fmla="*/ 10402 h 39062"/>
                  <a:gd name="connsiteX14" fmla="*/ 3090 w 30093"/>
                  <a:gd name="connsiteY14" fmla="*/ 5050 h 39062"/>
                  <a:gd name="connsiteX15" fmla="*/ 7839 w 30093"/>
                  <a:gd name="connsiteY15" fmla="*/ 1281 h 39062"/>
                  <a:gd name="connsiteX16" fmla="*/ 14773 w 30093"/>
                  <a:gd name="connsiteY16" fmla="*/ 0 h 39062"/>
                  <a:gd name="connsiteX17" fmla="*/ 22179 w 30093"/>
                  <a:gd name="connsiteY17" fmla="*/ 1357 h 39062"/>
                  <a:gd name="connsiteX18" fmla="*/ 27116 w 30093"/>
                  <a:gd name="connsiteY18" fmla="*/ 5333 h 39062"/>
                  <a:gd name="connsiteX19" fmla="*/ 28962 w 30093"/>
                  <a:gd name="connsiteY19" fmla="*/ 11287 h 39062"/>
                  <a:gd name="connsiteX20" fmla="*/ 24176 w 30093"/>
                  <a:gd name="connsiteY20" fmla="*/ 11645 h 39062"/>
                  <a:gd name="connsiteX21" fmla="*/ 21557 w 30093"/>
                  <a:gd name="connsiteY21" fmla="*/ 6237 h 39062"/>
                  <a:gd name="connsiteX22" fmla="*/ 14981 w 30093"/>
                  <a:gd name="connsiteY22" fmla="*/ 4409 h 39062"/>
                  <a:gd name="connsiteX23" fmla="*/ 8367 w 30093"/>
                  <a:gd name="connsiteY23" fmla="*/ 6068 h 39062"/>
                  <a:gd name="connsiteX24" fmla="*/ 6294 w 30093"/>
                  <a:gd name="connsiteY24" fmla="*/ 10081 h 39062"/>
                  <a:gd name="connsiteX25" fmla="*/ 7763 w 30093"/>
                  <a:gd name="connsiteY25" fmla="*/ 13435 h 39062"/>
                  <a:gd name="connsiteX26" fmla="*/ 15301 w 30093"/>
                  <a:gd name="connsiteY26" fmla="*/ 16130 h 39062"/>
                  <a:gd name="connsiteX27" fmla="*/ 23667 w 30093"/>
                  <a:gd name="connsiteY27" fmla="*/ 18542 h 39062"/>
                  <a:gd name="connsiteX28" fmla="*/ 28529 w 30093"/>
                  <a:gd name="connsiteY28" fmla="*/ 22386 h 39062"/>
                  <a:gd name="connsiteX29" fmla="*/ 30093 w 30093"/>
                  <a:gd name="connsiteY29" fmla="*/ 27756 h 39062"/>
                  <a:gd name="connsiteX30" fmla="*/ 28359 w 30093"/>
                  <a:gd name="connsiteY30" fmla="*/ 33428 h 39062"/>
                  <a:gd name="connsiteX31" fmla="*/ 23404 w 30093"/>
                  <a:gd name="connsiteY31" fmla="*/ 37574 h 39062"/>
                  <a:gd name="connsiteX32" fmla="*/ 16130 w 30093"/>
                  <a:gd name="connsiteY32" fmla="*/ 39062 h 39062"/>
                  <a:gd name="connsiteX33" fmla="*/ 7537 w 30093"/>
                  <a:gd name="connsiteY33" fmla="*/ 37574 h 39062"/>
                  <a:gd name="connsiteX34" fmla="*/ 2110 w 30093"/>
                  <a:gd name="connsiteY34" fmla="*/ 33070 h 39062"/>
                  <a:gd name="connsiteX35" fmla="*/ 38 w 30093"/>
                  <a:gd name="connsiteY35" fmla="*/ 26287 h 39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0093" h="39062">
                    <a:moveTo>
                      <a:pt x="0" y="26306"/>
                    </a:moveTo>
                    <a:lnTo>
                      <a:pt x="4711" y="25891"/>
                    </a:lnTo>
                    <a:cubicBezTo>
                      <a:pt x="4937" y="27775"/>
                      <a:pt x="5446" y="29339"/>
                      <a:pt x="6275" y="30545"/>
                    </a:cubicBezTo>
                    <a:cubicBezTo>
                      <a:pt x="7085" y="31751"/>
                      <a:pt x="8348" y="32731"/>
                      <a:pt x="10081" y="33485"/>
                    </a:cubicBezTo>
                    <a:cubicBezTo>
                      <a:pt x="11796" y="34238"/>
                      <a:pt x="13737" y="34596"/>
                      <a:pt x="15885" y="34596"/>
                    </a:cubicBezTo>
                    <a:cubicBezTo>
                      <a:pt x="17788" y="34596"/>
                      <a:pt x="19465" y="34314"/>
                      <a:pt x="20935" y="33749"/>
                    </a:cubicBezTo>
                    <a:cubicBezTo>
                      <a:pt x="22386" y="33183"/>
                      <a:pt x="23479" y="32411"/>
                      <a:pt x="24195" y="31412"/>
                    </a:cubicBezTo>
                    <a:cubicBezTo>
                      <a:pt x="24911" y="30432"/>
                      <a:pt x="25269" y="29339"/>
                      <a:pt x="25269" y="28171"/>
                    </a:cubicBezTo>
                    <a:cubicBezTo>
                      <a:pt x="25269" y="27003"/>
                      <a:pt x="24930" y="25947"/>
                      <a:pt x="24233" y="25062"/>
                    </a:cubicBezTo>
                    <a:cubicBezTo>
                      <a:pt x="23535" y="24176"/>
                      <a:pt x="22405" y="23441"/>
                      <a:pt x="20841" y="22838"/>
                    </a:cubicBezTo>
                    <a:cubicBezTo>
                      <a:pt x="19823" y="22443"/>
                      <a:pt x="17581" y="21821"/>
                      <a:pt x="14114" y="20992"/>
                    </a:cubicBezTo>
                    <a:cubicBezTo>
                      <a:pt x="10647" y="20163"/>
                      <a:pt x="8216" y="19371"/>
                      <a:pt x="6821" y="18636"/>
                    </a:cubicBezTo>
                    <a:cubicBezTo>
                      <a:pt x="5012" y="17694"/>
                      <a:pt x="3675" y="16526"/>
                      <a:pt x="2789" y="15112"/>
                    </a:cubicBezTo>
                    <a:cubicBezTo>
                      <a:pt x="1903" y="13718"/>
                      <a:pt x="1470" y="12154"/>
                      <a:pt x="1470" y="10402"/>
                    </a:cubicBezTo>
                    <a:cubicBezTo>
                      <a:pt x="1470" y="8498"/>
                      <a:pt x="2016" y="6708"/>
                      <a:pt x="3090" y="5050"/>
                    </a:cubicBezTo>
                    <a:cubicBezTo>
                      <a:pt x="4165" y="3392"/>
                      <a:pt x="5747" y="2129"/>
                      <a:pt x="7839" y="1281"/>
                    </a:cubicBezTo>
                    <a:cubicBezTo>
                      <a:pt x="9912" y="414"/>
                      <a:pt x="12229" y="0"/>
                      <a:pt x="14773" y="0"/>
                    </a:cubicBezTo>
                    <a:cubicBezTo>
                      <a:pt x="17581" y="0"/>
                      <a:pt x="20049" y="452"/>
                      <a:pt x="22179" y="1357"/>
                    </a:cubicBezTo>
                    <a:cubicBezTo>
                      <a:pt x="24308" y="2261"/>
                      <a:pt x="25966" y="3580"/>
                      <a:pt x="27116" y="5333"/>
                    </a:cubicBezTo>
                    <a:cubicBezTo>
                      <a:pt x="28265" y="7085"/>
                      <a:pt x="28887" y="9064"/>
                      <a:pt x="28962" y="11287"/>
                    </a:cubicBezTo>
                    <a:lnTo>
                      <a:pt x="24176" y="11645"/>
                    </a:lnTo>
                    <a:cubicBezTo>
                      <a:pt x="23912" y="9252"/>
                      <a:pt x="23045" y="7462"/>
                      <a:pt x="21557" y="6237"/>
                    </a:cubicBezTo>
                    <a:cubicBezTo>
                      <a:pt x="20068" y="5012"/>
                      <a:pt x="17882" y="4409"/>
                      <a:pt x="14981" y="4409"/>
                    </a:cubicBezTo>
                    <a:cubicBezTo>
                      <a:pt x="12079" y="4409"/>
                      <a:pt x="9761" y="4956"/>
                      <a:pt x="8367" y="6068"/>
                    </a:cubicBezTo>
                    <a:cubicBezTo>
                      <a:pt x="6991" y="7179"/>
                      <a:pt x="6294" y="8517"/>
                      <a:pt x="6294" y="10081"/>
                    </a:cubicBezTo>
                    <a:cubicBezTo>
                      <a:pt x="6294" y="11438"/>
                      <a:pt x="6784" y="12550"/>
                      <a:pt x="7763" y="13435"/>
                    </a:cubicBezTo>
                    <a:cubicBezTo>
                      <a:pt x="8724" y="14302"/>
                      <a:pt x="11231" y="15207"/>
                      <a:pt x="15301" y="16130"/>
                    </a:cubicBezTo>
                    <a:cubicBezTo>
                      <a:pt x="19371" y="17053"/>
                      <a:pt x="22141" y="17845"/>
                      <a:pt x="23667" y="18542"/>
                    </a:cubicBezTo>
                    <a:cubicBezTo>
                      <a:pt x="25872" y="19559"/>
                      <a:pt x="27493" y="20841"/>
                      <a:pt x="28529" y="22386"/>
                    </a:cubicBezTo>
                    <a:cubicBezTo>
                      <a:pt x="29584" y="23950"/>
                      <a:pt x="30093" y="25740"/>
                      <a:pt x="30093" y="27756"/>
                    </a:cubicBezTo>
                    <a:cubicBezTo>
                      <a:pt x="30093" y="29773"/>
                      <a:pt x="29509" y="31657"/>
                      <a:pt x="28359" y="33428"/>
                    </a:cubicBezTo>
                    <a:cubicBezTo>
                      <a:pt x="27210" y="35200"/>
                      <a:pt x="25552" y="36594"/>
                      <a:pt x="23404" y="37574"/>
                    </a:cubicBezTo>
                    <a:cubicBezTo>
                      <a:pt x="21255" y="38554"/>
                      <a:pt x="18825" y="39062"/>
                      <a:pt x="16130" y="39062"/>
                    </a:cubicBezTo>
                    <a:cubicBezTo>
                      <a:pt x="12719" y="39062"/>
                      <a:pt x="9855" y="38572"/>
                      <a:pt x="7537" y="37574"/>
                    </a:cubicBezTo>
                    <a:cubicBezTo>
                      <a:pt x="5220" y="36575"/>
                      <a:pt x="3411" y="35086"/>
                      <a:pt x="2110" y="33070"/>
                    </a:cubicBezTo>
                    <a:cubicBezTo>
                      <a:pt x="810" y="31054"/>
                      <a:pt x="113" y="28812"/>
                      <a:pt x="38" y="262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13" name="Freihandform: Form 3312">
                <a:extLst>
                  <a:ext uri="{FF2B5EF4-FFF2-40B4-BE49-F238E27FC236}">
                    <a16:creationId xmlns:a16="http://schemas.microsoft.com/office/drawing/2014/main" id="{E9252329-6737-375D-4F1C-020F22241CF3}"/>
                  </a:ext>
                </a:extLst>
              </p:cNvPr>
              <p:cNvSpPr/>
              <p:nvPr/>
            </p:nvSpPr>
            <p:spPr>
              <a:xfrm>
                <a:off x="5727016" y="2477777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1 h 37272"/>
                  <a:gd name="connsiteX7" fmla="*/ 0 w 13341"/>
                  <a:gd name="connsiteY7" fmla="*/ 13171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3 h 37272"/>
                  <a:gd name="connsiteX13" fmla="*/ 12663 w 13341"/>
                  <a:gd name="connsiteY13" fmla="*/ 9553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4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0" y="33522"/>
                      <a:pt x="3392" y="31694"/>
                      <a:pt x="3392" y="28906"/>
                    </a:cubicBezTo>
                    <a:lnTo>
                      <a:pt x="3392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3"/>
                    </a:lnTo>
                    <a:lnTo>
                      <a:pt x="12663" y="9553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4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14" name="Freihandform: Form 3313">
                <a:extLst>
                  <a:ext uri="{FF2B5EF4-FFF2-40B4-BE49-F238E27FC236}">
                    <a16:creationId xmlns:a16="http://schemas.microsoft.com/office/drawing/2014/main" id="{0342C642-1D4C-FFB4-1617-37CBF6A8E663}"/>
                  </a:ext>
                </a:extLst>
              </p:cNvPr>
              <p:cNvSpPr/>
              <p:nvPr/>
            </p:nvSpPr>
            <p:spPr>
              <a:xfrm>
                <a:off x="5742656" y="2486690"/>
                <a:ext cx="25193" cy="28622"/>
              </a:xfrm>
              <a:custGeom>
                <a:avLst/>
                <a:gdLst>
                  <a:gd name="connsiteX0" fmla="*/ 19427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7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7" y="24628"/>
                    </a:moveTo>
                    <a:cubicBezTo>
                      <a:pt x="17713" y="26079"/>
                      <a:pt x="16054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7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83" name="Grafik 21">
              <a:extLst>
                <a:ext uri="{FF2B5EF4-FFF2-40B4-BE49-F238E27FC236}">
                  <a16:creationId xmlns:a16="http://schemas.microsoft.com/office/drawing/2014/main" id="{E7BD7825-00DC-832B-0D76-67193CCD050F}"/>
                </a:ext>
              </a:extLst>
            </p:cNvPr>
            <p:cNvGrpSpPr/>
            <p:nvPr/>
          </p:nvGrpSpPr>
          <p:grpSpPr>
            <a:xfrm>
              <a:off x="5773408" y="2476289"/>
              <a:ext cx="262752" cy="39043"/>
              <a:chOff x="5773408" y="2476289"/>
              <a:chExt cx="262752" cy="39043"/>
            </a:xfrm>
            <a:solidFill>
              <a:srgbClr val="000000"/>
            </a:solidFill>
          </p:grpSpPr>
          <p:sp>
            <p:nvSpPr>
              <p:cNvPr id="3303" name="Freihandform: Form 3302">
                <a:extLst>
                  <a:ext uri="{FF2B5EF4-FFF2-40B4-BE49-F238E27FC236}">
                    <a16:creationId xmlns:a16="http://schemas.microsoft.com/office/drawing/2014/main" id="{F1202A08-06B9-0421-30EE-3EA457E9A4C0}"/>
                  </a:ext>
                </a:extLst>
              </p:cNvPr>
              <p:cNvSpPr/>
              <p:nvPr/>
            </p:nvSpPr>
            <p:spPr>
              <a:xfrm>
                <a:off x="5773408" y="2509415"/>
                <a:ext cx="5276" cy="5276"/>
              </a:xfrm>
              <a:custGeom>
                <a:avLst/>
                <a:gdLst>
                  <a:gd name="connsiteX0" fmla="*/ 0 w 5276"/>
                  <a:gd name="connsiteY0" fmla="*/ 5276 h 5276"/>
                  <a:gd name="connsiteX1" fmla="*/ 0 w 5276"/>
                  <a:gd name="connsiteY1" fmla="*/ 0 h 5276"/>
                  <a:gd name="connsiteX2" fmla="*/ 5276 w 5276"/>
                  <a:gd name="connsiteY2" fmla="*/ 0 h 5276"/>
                  <a:gd name="connsiteX3" fmla="*/ 5276 w 5276"/>
                  <a:gd name="connsiteY3" fmla="*/ 5276 h 5276"/>
                  <a:gd name="connsiteX4" fmla="*/ 0 w 5276"/>
                  <a:gd name="connsiteY4" fmla="*/ 5276 h 5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76" h="5276">
                    <a:moveTo>
                      <a:pt x="0" y="5276"/>
                    </a:moveTo>
                    <a:lnTo>
                      <a:pt x="0" y="0"/>
                    </a:lnTo>
                    <a:lnTo>
                      <a:pt x="5276" y="0"/>
                    </a:lnTo>
                    <a:lnTo>
                      <a:pt x="5276" y="5276"/>
                    </a:lnTo>
                    <a:lnTo>
                      <a:pt x="0" y="52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04" name="Freihandform: Form 3303">
                <a:extLst>
                  <a:ext uri="{FF2B5EF4-FFF2-40B4-BE49-F238E27FC236}">
                    <a16:creationId xmlns:a16="http://schemas.microsoft.com/office/drawing/2014/main" id="{512601B2-A010-BEED-E73D-8E3C494B5C7D}"/>
                  </a:ext>
                </a:extLst>
              </p:cNvPr>
              <p:cNvSpPr/>
              <p:nvPr/>
            </p:nvSpPr>
            <p:spPr>
              <a:xfrm>
                <a:off x="5800561" y="2476289"/>
                <a:ext cx="33390" cy="39043"/>
              </a:xfrm>
              <a:custGeom>
                <a:avLst/>
                <a:gdLst>
                  <a:gd name="connsiteX0" fmla="*/ 28397 w 33390"/>
                  <a:gd name="connsiteY0" fmla="*/ 25156 h 39043"/>
                  <a:gd name="connsiteX1" fmla="*/ 33390 w 33390"/>
                  <a:gd name="connsiteY1" fmla="*/ 26418 h 39043"/>
                  <a:gd name="connsiteX2" fmla="*/ 27737 w 33390"/>
                  <a:gd name="connsiteY2" fmla="*/ 35802 h 39043"/>
                  <a:gd name="connsiteX3" fmla="*/ 17750 w 33390"/>
                  <a:gd name="connsiteY3" fmla="*/ 39043 h 39043"/>
                  <a:gd name="connsiteX4" fmla="*/ 7820 w 33390"/>
                  <a:gd name="connsiteY4" fmla="*/ 36556 h 39043"/>
                  <a:gd name="connsiteX5" fmla="*/ 1997 w 33390"/>
                  <a:gd name="connsiteY5" fmla="*/ 29358 h 39043"/>
                  <a:gd name="connsiteX6" fmla="*/ 0 w 33390"/>
                  <a:gd name="connsiteY6" fmla="*/ 19239 h 39043"/>
                  <a:gd name="connsiteX7" fmla="*/ 2261 w 33390"/>
                  <a:gd name="connsiteY7" fmla="*/ 8951 h 39043"/>
                  <a:gd name="connsiteX8" fmla="*/ 8668 w 33390"/>
                  <a:gd name="connsiteY8" fmla="*/ 2280 h 39043"/>
                  <a:gd name="connsiteX9" fmla="*/ 17826 w 33390"/>
                  <a:gd name="connsiteY9" fmla="*/ 0 h 39043"/>
                  <a:gd name="connsiteX10" fmla="*/ 27361 w 33390"/>
                  <a:gd name="connsiteY10" fmla="*/ 2883 h 39043"/>
                  <a:gd name="connsiteX11" fmla="*/ 32750 w 33390"/>
                  <a:gd name="connsiteY11" fmla="*/ 11004 h 39043"/>
                  <a:gd name="connsiteX12" fmla="*/ 27832 w 33390"/>
                  <a:gd name="connsiteY12" fmla="*/ 12173 h 39043"/>
                  <a:gd name="connsiteX13" fmla="*/ 24025 w 33390"/>
                  <a:gd name="connsiteY13" fmla="*/ 6162 h 39043"/>
                  <a:gd name="connsiteX14" fmla="*/ 17731 w 33390"/>
                  <a:gd name="connsiteY14" fmla="*/ 4277 h 39043"/>
                  <a:gd name="connsiteX15" fmla="*/ 10458 w 33390"/>
                  <a:gd name="connsiteY15" fmla="*/ 6369 h 39043"/>
                  <a:gd name="connsiteX16" fmla="*/ 6350 w 33390"/>
                  <a:gd name="connsiteY16" fmla="*/ 11965 h 39043"/>
                  <a:gd name="connsiteX17" fmla="*/ 5163 w 33390"/>
                  <a:gd name="connsiteY17" fmla="*/ 19220 h 39043"/>
                  <a:gd name="connsiteX18" fmla="*/ 6576 w 33390"/>
                  <a:gd name="connsiteY18" fmla="*/ 27624 h 39043"/>
                  <a:gd name="connsiteX19" fmla="*/ 10948 w 33390"/>
                  <a:gd name="connsiteY19" fmla="*/ 32995 h 39043"/>
                  <a:gd name="connsiteX20" fmla="*/ 17355 w 33390"/>
                  <a:gd name="connsiteY20" fmla="*/ 34766 h 39043"/>
                  <a:gd name="connsiteX21" fmla="*/ 24459 w 33390"/>
                  <a:gd name="connsiteY21" fmla="*/ 32335 h 39043"/>
                  <a:gd name="connsiteX22" fmla="*/ 28397 w 33390"/>
                  <a:gd name="connsiteY22" fmla="*/ 25156 h 3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3390" h="39043">
                    <a:moveTo>
                      <a:pt x="28397" y="25156"/>
                    </a:moveTo>
                    <a:lnTo>
                      <a:pt x="33390" y="26418"/>
                    </a:lnTo>
                    <a:cubicBezTo>
                      <a:pt x="32335" y="30526"/>
                      <a:pt x="30451" y="33654"/>
                      <a:pt x="27737" y="35802"/>
                    </a:cubicBezTo>
                    <a:cubicBezTo>
                      <a:pt x="25005" y="37951"/>
                      <a:pt x="21689" y="39043"/>
                      <a:pt x="17750" y="39043"/>
                    </a:cubicBezTo>
                    <a:cubicBezTo>
                      <a:pt x="13812" y="39043"/>
                      <a:pt x="10364" y="38214"/>
                      <a:pt x="7820" y="36556"/>
                    </a:cubicBezTo>
                    <a:cubicBezTo>
                      <a:pt x="5276" y="34898"/>
                      <a:pt x="3335" y="32505"/>
                      <a:pt x="1997" y="29358"/>
                    </a:cubicBezTo>
                    <a:cubicBezTo>
                      <a:pt x="659" y="26211"/>
                      <a:pt x="0" y="22838"/>
                      <a:pt x="0" y="19239"/>
                    </a:cubicBezTo>
                    <a:cubicBezTo>
                      <a:pt x="0" y="15301"/>
                      <a:pt x="754" y="11871"/>
                      <a:pt x="2261" y="8951"/>
                    </a:cubicBezTo>
                    <a:cubicBezTo>
                      <a:pt x="3769" y="6030"/>
                      <a:pt x="5898" y="3806"/>
                      <a:pt x="8668" y="2280"/>
                    </a:cubicBezTo>
                    <a:cubicBezTo>
                      <a:pt x="11438" y="754"/>
                      <a:pt x="14490" y="0"/>
                      <a:pt x="17826" y="0"/>
                    </a:cubicBezTo>
                    <a:cubicBezTo>
                      <a:pt x="21594" y="0"/>
                      <a:pt x="24779" y="961"/>
                      <a:pt x="27361" y="2883"/>
                    </a:cubicBezTo>
                    <a:cubicBezTo>
                      <a:pt x="29942" y="4805"/>
                      <a:pt x="31732" y="7518"/>
                      <a:pt x="32750" y="11004"/>
                    </a:cubicBezTo>
                    <a:lnTo>
                      <a:pt x="27832" y="12173"/>
                    </a:lnTo>
                    <a:cubicBezTo>
                      <a:pt x="26965" y="9422"/>
                      <a:pt x="25684" y="7424"/>
                      <a:pt x="24025" y="6162"/>
                    </a:cubicBezTo>
                    <a:cubicBezTo>
                      <a:pt x="22367" y="4899"/>
                      <a:pt x="20257" y="4277"/>
                      <a:pt x="17731" y="4277"/>
                    </a:cubicBezTo>
                    <a:cubicBezTo>
                      <a:pt x="14830" y="4277"/>
                      <a:pt x="12399" y="4975"/>
                      <a:pt x="10458" y="6369"/>
                    </a:cubicBezTo>
                    <a:cubicBezTo>
                      <a:pt x="8498" y="7763"/>
                      <a:pt x="7141" y="9629"/>
                      <a:pt x="6350" y="11965"/>
                    </a:cubicBezTo>
                    <a:cubicBezTo>
                      <a:pt x="5559" y="14302"/>
                      <a:pt x="5163" y="16733"/>
                      <a:pt x="5163" y="19220"/>
                    </a:cubicBezTo>
                    <a:cubicBezTo>
                      <a:pt x="5163" y="22424"/>
                      <a:pt x="5634" y="25231"/>
                      <a:pt x="6576" y="27624"/>
                    </a:cubicBezTo>
                    <a:cubicBezTo>
                      <a:pt x="7518" y="30018"/>
                      <a:pt x="8969" y="31808"/>
                      <a:pt x="10948" y="32995"/>
                    </a:cubicBezTo>
                    <a:cubicBezTo>
                      <a:pt x="12927" y="34182"/>
                      <a:pt x="15056" y="34766"/>
                      <a:pt x="17355" y="34766"/>
                    </a:cubicBezTo>
                    <a:cubicBezTo>
                      <a:pt x="20162" y="34766"/>
                      <a:pt x="22518" y="33956"/>
                      <a:pt x="24459" y="32335"/>
                    </a:cubicBezTo>
                    <a:cubicBezTo>
                      <a:pt x="26400" y="30715"/>
                      <a:pt x="27719" y="28322"/>
                      <a:pt x="28397" y="251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05" name="Freihandform: Form 3304">
                <a:extLst>
                  <a:ext uri="{FF2B5EF4-FFF2-40B4-BE49-F238E27FC236}">
                    <a16:creationId xmlns:a16="http://schemas.microsoft.com/office/drawing/2014/main" id="{DA7B8DC8-C5E8-176D-D2F2-45A48D5E9FA4}"/>
                  </a:ext>
                </a:extLst>
              </p:cNvPr>
              <p:cNvSpPr/>
              <p:nvPr/>
            </p:nvSpPr>
            <p:spPr>
              <a:xfrm>
                <a:off x="5839473" y="2486709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8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1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19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8"/>
                    </a:cubicBezTo>
                    <a:lnTo>
                      <a:pt x="13266" y="5785"/>
                    </a:lnTo>
                    <a:cubicBezTo>
                      <a:pt x="12135" y="5106"/>
                      <a:pt x="11004" y="4786"/>
                      <a:pt x="9874" y="4786"/>
                    </a:cubicBezTo>
                    <a:cubicBezTo>
                      <a:pt x="8856" y="4786"/>
                      <a:pt x="7952" y="5088"/>
                      <a:pt x="7141" y="5710"/>
                    </a:cubicBezTo>
                    <a:cubicBezTo>
                      <a:pt x="6331" y="6312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06" name="Freihandform: Form 3305">
                <a:extLst>
                  <a:ext uri="{FF2B5EF4-FFF2-40B4-BE49-F238E27FC236}">
                    <a16:creationId xmlns:a16="http://schemas.microsoft.com/office/drawing/2014/main" id="{659C030C-7A3D-61C8-EB73-F07EBBD57FAE}"/>
                  </a:ext>
                </a:extLst>
              </p:cNvPr>
              <p:cNvSpPr/>
              <p:nvPr/>
            </p:nvSpPr>
            <p:spPr>
              <a:xfrm>
                <a:off x="5856978" y="2487293"/>
                <a:ext cx="22159" cy="28020"/>
              </a:xfrm>
              <a:custGeom>
                <a:avLst/>
                <a:gdLst>
                  <a:gd name="connsiteX0" fmla="*/ 18033 w 22159"/>
                  <a:gd name="connsiteY0" fmla="*/ 27398 h 28020"/>
                  <a:gd name="connsiteX1" fmla="*/ 18033 w 22159"/>
                  <a:gd name="connsiteY1" fmla="*/ 23385 h 28020"/>
                  <a:gd name="connsiteX2" fmla="*/ 9346 w 22159"/>
                  <a:gd name="connsiteY2" fmla="*/ 28020 h 28020"/>
                  <a:gd name="connsiteX3" fmla="*/ 4824 w 22159"/>
                  <a:gd name="connsiteY3" fmla="*/ 27097 h 28020"/>
                  <a:gd name="connsiteX4" fmla="*/ 1715 w 22159"/>
                  <a:gd name="connsiteY4" fmla="*/ 24760 h 28020"/>
                  <a:gd name="connsiteX5" fmla="*/ 283 w 22159"/>
                  <a:gd name="connsiteY5" fmla="*/ 21312 h 28020"/>
                  <a:gd name="connsiteX6" fmla="*/ 0 w 22159"/>
                  <a:gd name="connsiteY6" fmla="*/ 16978 h 28020"/>
                  <a:gd name="connsiteX7" fmla="*/ 0 w 22159"/>
                  <a:gd name="connsiteY7" fmla="*/ 19 h 28020"/>
                  <a:gd name="connsiteX8" fmla="*/ 4636 w 22159"/>
                  <a:gd name="connsiteY8" fmla="*/ 19 h 28020"/>
                  <a:gd name="connsiteX9" fmla="*/ 4636 w 22159"/>
                  <a:gd name="connsiteY9" fmla="*/ 15188 h 28020"/>
                  <a:gd name="connsiteX10" fmla="*/ 4918 w 22159"/>
                  <a:gd name="connsiteY10" fmla="*/ 20087 h 28020"/>
                  <a:gd name="connsiteX11" fmla="*/ 6765 w 22159"/>
                  <a:gd name="connsiteY11" fmla="*/ 22951 h 28020"/>
                  <a:gd name="connsiteX12" fmla="*/ 10270 w 22159"/>
                  <a:gd name="connsiteY12" fmla="*/ 23988 h 28020"/>
                  <a:gd name="connsiteX13" fmla="*/ 14189 w 22159"/>
                  <a:gd name="connsiteY13" fmla="*/ 22914 h 28020"/>
                  <a:gd name="connsiteX14" fmla="*/ 16771 w 22159"/>
                  <a:gd name="connsiteY14" fmla="*/ 20012 h 28020"/>
                  <a:gd name="connsiteX15" fmla="*/ 17524 w 22159"/>
                  <a:gd name="connsiteY15" fmla="*/ 14660 h 28020"/>
                  <a:gd name="connsiteX16" fmla="*/ 17524 w 22159"/>
                  <a:gd name="connsiteY16" fmla="*/ 0 h 28020"/>
                  <a:gd name="connsiteX17" fmla="*/ 22160 w 22159"/>
                  <a:gd name="connsiteY17" fmla="*/ 0 h 28020"/>
                  <a:gd name="connsiteX18" fmla="*/ 22160 w 22159"/>
                  <a:gd name="connsiteY18" fmla="*/ 27361 h 28020"/>
                  <a:gd name="connsiteX19" fmla="*/ 18014 w 22159"/>
                  <a:gd name="connsiteY19" fmla="*/ 27361 h 2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159" h="28020">
                    <a:moveTo>
                      <a:pt x="18033" y="27398"/>
                    </a:moveTo>
                    <a:lnTo>
                      <a:pt x="18033" y="23385"/>
                    </a:lnTo>
                    <a:cubicBezTo>
                      <a:pt x="15904" y="26475"/>
                      <a:pt x="13002" y="28020"/>
                      <a:pt x="9346" y="28020"/>
                    </a:cubicBezTo>
                    <a:cubicBezTo>
                      <a:pt x="7726" y="28020"/>
                      <a:pt x="6218" y="27719"/>
                      <a:pt x="4824" y="27097"/>
                    </a:cubicBezTo>
                    <a:cubicBezTo>
                      <a:pt x="3430" y="26475"/>
                      <a:pt x="2393" y="25702"/>
                      <a:pt x="1715" y="24760"/>
                    </a:cubicBezTo>
                    <a:cubicBezTo>
                      <a:pt x="1036" y="23818"/>
                      <a:pt x="565" y="22669"/>
                      <a:pt x="283" y="21312"/>
                    </a:cubicBezTo>
                    <a:cubicBezTo>
                      <a:pt x="94" y="20408"/>
                      <a:pt x="0" y="18957"/>
                      <a:pt x="0" y="16978"/>
                    </a:cubicBezTo>
                    <a:lnTo>
                      <a:pt x="0" y="19"/>
                    </a:lnTo>
                    <a:lnTo>
                      <a:pt x="4636" y="19"/>
                    </a:lnTo>
                    <a:lnTo>
                      <a:pt x="4636" y="15188"/>
                    </a:lnTo>
                    <a:cubicBezTo>
                      <a:pt x="4636" y="17619"/>
                      <a:pt x="4730" y="19239"/>
                      <a:pt x="4918" y="20087"/>
                    </a:cubicBezTo>
                    <a:cubicBezTo>
                      <a:pt x="5201" y="21312"/>
                      <a:pt x="5823" y="22273"/>
                      <a:pt x="6765" y="22951"/>
                    </a:cubicBezTo>
                    <a:cubicBezTo>
                      <a:pt x="7707" y="23649"/>
                      <a:pt x="8875" y="23988"/>
                      <a:pt x="10270" y="23988"/>
                    </a:cubicBezTo>
                    <a:cubicBezTo>
                      <a:pt x="11664" y="23988"/>
                      <a:pt x="12964" y="23630"/>
                      <a:pt x="14189" y="22914"/>
                    </a:cubicBezTo>
                    <a:cubicBezTo>
                      <a:pt x="15414" y="22198"/>
                      <a:pt x="16262" y="21237"/>
                      <a:pt x="16771" y="20012"/>
                    </a:cubicBezTo>
                    <a:cubicBezTo>
                      <a:pt x="17279" y="18787"/>
                      <a:pt x="17524" y="16997"/>
                      <a:pt x="17524" y="14660"/>
                    </a:cubicBezTo>
                    <a:lnTo>
                      <a:pt x="17524" y="0"/>
                    </a:lnTo>
                    <a:lnTo>
                      <a:pt x="22160" y="0"/>
                    </a:lnTo>
                    <a:lnTo>
                      <a:pt x="22160" y="27361"/>
                    </a:lnTo>
                    <a:lnTo>
                      <a:pt x="18014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07" name="Freihandform: Form 3306">
                <a:extLst>
                  <a:ext uri="{FF2B5EF4-FFF2-40B4-BE49-F238E27FC236}">
                    <a16:creationId xmlns:a16="http://schemas.microsoft.com/office/drawing/2014/main" id="{58ED86A0-D034-C46D-4309-17C47BBD2C16}"/>
                  </a:ext>
                </a:extLst>
              </p:cNvPr>
              <p:cNvSpPr/>
              <p:nvPr/>
            </p:nvSpPr>
            <p:spPr>
              <a:xfrm>
                <a:off x="5883962" y="2487312"/>
                <a:ext cx="24213" cy="27379"/>
              </a:xfrm>
              <a:custGeom>
                <a:avLst/>
                <a:gdLst>
                  <a:gd name="connsiteX0" fmla="*/ 19 w 24213"/>
                  <a:gd name="connsiteY0" fmla="*/ 27379 h 27379"/>
                  <a:gd name="connsiteX1" fmla="*/ 19 w 24213"/>
                  <a:gd name="connsiteY1" fmla="*/ 23611 h 27379"/>
                  <a:gd name="connsiteX2" fmla="*/ 17430 w 24213"/>
                  <a:gd name="connsiteY2" fmla="*/ 3618 h 27379"/>
                  <a:gd name="connsiteX3" fmla="*/ 12192 w 24213"/>
                  <a:gd name="connsiteY3" fmla="*/ 3769 h 27379"/>
                  <a:gd name="connsiteX4" fmla="*/ 1036 w 24213"/>
                  <a:gd name="connsiteY4" fmla="*/ 3769 h 27379"/>
                  <a:gd name="connsiteX5" fmla="*/ 1036 w 24213"/>
                  <a:gd name="connsiteY5" fmla="*/ 0 h 27379"/>
                  <a:gd name="connsiteX6" fmla="*/ 23403 w 24213"/>
                  <a:gd name="connsiteY6" fmla="*/ 0 h 27379"/>
                  <a:gd name="connsiteX7" fmla="*/ 23403 w 24213"/>
                  <a:gd name="connsiteY7" fmla="*/ 3071 h 27379"/>
                  <a:gd name="connsiteX8" fmla="*/ 8592 w 24213"/>
                  <a:gd name="connsiteY8" fmla="*/ 20426 h 27379"/>
                  <a:gd name="connsiteX9" fmla="*/ 5728 w 24213"/>
                  <a:gd name="connsiteY9" fmla="*/ 23592 h 27379"/>
                  <a:gd name="connsiteX10" fmla="*/ 11570 w 24213"/>
                  <a:gd name="connsiteY10" fmla="*/ 23366 h 27379"/>
                  <a:gd name="connsiteX11" fmla="*/ 24214 w 24213"/>
                  <a:gd name="connsiteY11" fmla="*/ 23366 h 27379"/>
                  <a:gd name="connsiteX12" fmla="*/ 24214 w 24213"/>
                  <a:gd name="connsiteY12" fmla="*/ 27361 h 27379"/>
                  <a:gd name="connsiteX13" fmla="*/ 0 w 24213"/>
                  <a:gd name="connsiteY13" fmla="*/ 27361 h 2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213" h="27379">
                    <a:moveTo>
                      <a:pt x="19" y="27379"/>
                    </a:moveTo>
                    <a:lnTo>
                      <a:pt x="19" y="23611"/>
                    </a:lnTo>
                    <a:lnTo>
                      <a:pt x="17430" y="3618"/>
                    </a:lnTo>
                    <a:cubicBezTo>
                      <a:pt x="15451" y="3712"/>
                      <a:pt x="13718" y="3769"/>
                      <a:pt x="12192" y="3769"/>
                    </a:cubicBezTo>
                    <a:lnTo>
                      <a:pt x="1036" y="3769"/>
                    </a:lnTo>
                    <a:lnTo>
                      <a:pt x="1036" y="0"/>
                    </a:lnTo>
                    <a:lnTo>
                      <a:pt x="23403" y="0"/>
                    </a:lnTo>
                    <a:lnTo>
                      <a:pt x="23403" y="3071"/>
                    </a:lnTo>
                    <a:lnTo>
                      <a:pt x="8592" y="20426"/>
                    </a:lnTo>
                    <a:lnTo>
                      <a:pt x="5728" y="23592"/>
                    </a:lnTo>
                    <a:cubicBezTo>
                      <a:pt x="7801" y="23441"/>
                      <a:pt x="9761" y="23366"/>
                      <a:pt x="11570" y="23366"/>
                    </a:cubicBezTo>
                    <a:lnTo>
                      <a:pt x="24214" y="23366"/>
                    </a:lnTo>
                    <a:lnTo>
                      <a:pt x="24214" y="27361"/>
                    </a:lnTo>
                    <a:lnTo>
                      <a:pt x="0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08" name="Freihandform: Form 3307">
                <a:extLst>
                  <a:ext uri="{FF2B5EF4-FFF2-40B4-BE49-F238E27FC236}">
                    <a16:creationId xmlns:a16="http://schemas.microsoft.com/office/drawing/2014/main" id="{03737186-3CD2-8C67-4BC4-1EDF36593784}"/>
                  </a:ext>
                </a:extLst>
              </p:cNvPr>
              <p:cNvSpPr/>
              <p:nvPr/>
            </p:nvSpPr>
            <p:spPr>
              <a:xfrm>
                <a:off x="5925794" y="2476948"/>
                <a:ext cx="23723" cy="38365"/>
              </a:xfrm>
              <a:custGeom>
                <a:avLst/>
                <a:gdLst>
                  <a:gd name="connsiteX0" fmla="*/ 19428 w 23723"/>
                  <a:gd name="connsiteY0" fmla="*/ 37743 h 38365"/>
                  <a:gd name="connsiteX1" fmla="*/ 19428 w 23723"/>
                  <a:gd name="connsiteY1" fmla="*/ 34295 h 38365"/>
                  <a:gd name="connsiteX2" fmla="*/ 11777 w 23723"/>
                  <a:gd name="connsiteY2" fmla="*/ 38365 h 38365"/>
                  <a:gd name="connsiteX3" fmla="*/ 5766 w 23723"/>
                  <a:gd name="connsiteY3" fmla="*/ 36556 h 38365"/>
                  <a:gd name="connsiteX4" fmla="*/ 1508 w 23723"/>
                  <a:gd name="connsiteY4" fmla="*/ 31525 h 38365"/>
                  <a:gd name="connsiteX5" fmla="*/ 0 w 23723"/>
                  <a:gd name="connsiteY5" fmla="*/ 24101 h 38365"/>
                  <a:gd name="connsiteX6" fmla="*/ 1357 w 23723"/>
                  <a:gd name="connsiteY6" fmla="*/ 16676 h 38365"/>
                  <a:gd name="connsiteX7" fmla="*/ 5446 w 23723"/>
                  <a:gd name="connsiteY7" fmla="*/ 11570 h 38365"/>
                  <a:gd name="connsiteX8" fmla="*/ 11551 w 23723"/>
                  <a:gd name="connsiteY8" fmla="*/ 9799 h 38365"/>
                  <a:gd name="connsiteX9" fmla="*/ 15960 w 23723"/>
                  <a:gd name="connsiteY9" fmla="*/ 10835 h 38365"/>
                  <a:gd name="connsiteX10" fmla="*/ 19107 w 23723"/>
                  <a:gd name="connsiteY10" fmla="*/ 13549 h 38365"/>
                  <a:gd name="connsiteX11" fmla="*/ 19107 w 23723"/>
                  <a:gd name="connsiteY11" fmla="*/ 0 h 38365"/>
                  <a:gd name="connsiteX12" fmla="*/ 23724 w 23723"/>
                  <a:gd name="connsiteY12" fmla="*/ 0 h 38365"/>
                  <a:gd name="connsiteX13" fmla="*/ 23724 w 23723"/>
                  <a:gd name="connsiteY13" fmla="*/ 37762 h 38365"/>
                  <a:gd name="connsiteX14" fmla="*/ 19428 w 23723"/>
                  <a:gd name="connsiteY14" fmla="*/ 37762 h 38365"/>
                  <a:gd name="connsiteX15" fmla="*/ 4767 w 23723"/>
                  <a:gd name="connsiteY15" fmla="*/ 24082 h 38365"/>
                  <a:gd name="connsiteX16" fmla="*/ 6991 w 23723"/>
                  <a:gd name="connsiteY16" fmla="*/ 31940 h 38365"/>
                  <a:gd name="connsiteX17" fmla="*/ 12229 w 23723"/>
                  <a:gd name="connsiteY17" fmla="*/ 34540 h 38365"/>
                  <a:gd name="connsiteX18" fmla="*/ 17392 w 23723"/>
                  <a:gd name="connsiteY18" fmla="*/ 32053 h 38365"/>
                  <a:gd name="connsiteX19" fmla="*/ 19522 w 23723"/>
                  <a:gd name="connsiteY19" fmla="*/ 24459 h 38365"/>
                  <a:gd name="connsiteX20" fmla="*/ 17355 w 23723"/>
                  <a:gd name="connsiteY20" fmla="*/ 16205 h 38365"/>
                  <a:gd name="connsiteX21" fmla="*/ 12022 w 23723"/>
                  <a:gd name="connsiteY21" fmla="*/ 13586 h 38365"/>
                  <a:gd name="connsiteX22" fmla="*/ 6859 w 23723"/>
                  <a:gd name="connsiteY22" fmla="*/ 16111 h 38365"/>
                  <a:gd name="connsiteX23" fmla="*/ 4786 w 23723"/>
                  <a:gd name="connsiteY23" fmla="*/ 24063 h 38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723" h="38365">
                    <a:moveTo>
                      <a:pt x="19428" y="37743"/>
                    </a:moveTo>
                    <a:lnTo>
                      <a:pt x="19428" y="34295"/>
                    </a:lnTo>
                    <a:cubicBezTo>
                      <a:pt x="17694" y="37008"/>
                      <a:pt x="15150" y="38365"/>
                      <a:pt x="11777" y="38365"/>
                    </a:cubicBezTo>
                    <a:cubicBezTo>
                      <a:pt x="9591" y="38365"/>
                      <a:pt x="7594" y="37762"/>
                      <a:pt x="5766" y="36556"/>
                    </a:cubicBezTo>
                    <a:cubicBezTo>
                      <a:pt x="3938" y="35350"/>
                      <a:pt x="2525" y="33673"/>
                      <a:pt x="1508" y="31525"/>
                    </a:cubicBezTo>
                    <a:cubicBezTo>
                      <a:pt x="490" y="29377"/>
                      <a:pt x="0" y="26890"/>
                      <a:pt x="0" y="24101"/>
                    </a:cubicBezTo>
                    <a:cubicBezTo>
                      <a:pt x="0" y="21312"/>
                      <a:pt x="452" y="18900"/>
                      <a:pt x="1357" y="16676"/>
                    </a:cubicBezTo>
                    <a:cubicBezTo>
                      <a:pt x="2261" y="14453"/>
                      <a:pt x="3637" y="12757"/>
                      <a:pt x="5446" y="11570"/>
                    </a:cubicBezTo>
                    <a:cubicBezTo>
                      <a:pt x="7274" y="10383"/>
                      <a:pt x="9309" y="9799"/>
                      <a:pt x="11551" y="9799"/>
                    </a:cubicBezTo>
                    <a:cubicBezTo>
                      <a:pt x="13209" y="9799"/>
                      <a:pt x="14660" y="10138"/>
                      <a:pt x="15960" y="10835"/>
                    </a:cubicBezTo>
                    <a:cubicBezTo>
                      <a:pt x="17261" y="11532"/>
                      <a:pt x="18297" y="12437"/>
                      <a:pt x="19107" y="13549"/>
                    </a:cubicBezTo>
                    <a:lnTo>
                      <a:pt x="19107" y="0"/>
                    </a:lnTo>
                    <a:lnTo>
                      <a:pt x="23724" y="0"/>
                    </a:lnTo>
                    <a:lnTo>
                      <a:pt x="23724" y="37762"/>
                    </a:lnTo>
                    <a:lnTo>
                      <a:pt x="19428" y="37762"/>
                    </a:lnTo>
                    <a:close/>
                    <a:moveTo>
                      <a:pt x="4767" y="24082"/>
                    </a:moveTo>
                    <a:cubicBezTo>
                      <a:pt x="4767" y="27587"/>
                      <a:pt x="5502" y="30206"/>
                      <a:pt x="6991" y="31940"/>
                    </a:cubicBezTo>
                    <a:cubicBezTo>
                      <a:pt x="8461" y="33673"/>
                      <a:pt x="10213" y="34540"/>
                      <a:pt x="12229" y="34540"/>
                    </a:cubicBezTo>
                    <a:cubicBezTo>
                      <a:pt x="14246" y="34540"/>
                      <a:pt x="15979" y="33711"/>
                      <a:pt x="17392" y="32053"/>
                    </a:cubicBezTo>
                    <a:cubicBezTo>
                      <a:pt x="18806" y="30394"/>
                      <a:pt x="19522" y="27869"/>
                      <a:pt x="19522" y="24459"/>
                    </a:cubicBezTo>
                    <a:cubicBezTo>
                      <a:pt x="19522" y="20709"/>
                      <a:pt x="18806" y="17958"/>
                      <a:pt x="17355" y="16205"/>
                    </a:cubicBezTo>
                    <a:cubicBezTo>
                      <a:pt x="15904" y="14453"/>
                      <a:pt x="14133" y="13586"/>
                      <a:pt x="12022" y="13586"/>
                    </a:cubicBezTo>
                    <a:cubicBezTo>
                      <a:pt x="9912" y="13586"/>
                      <a:pt x="8235" y="14434"/>
                      <a:pt x="6859" y="16111"/>
                    </a:cubicBezTo>
                    <a:cubicBezTo>
                      <a:pt x="5483" y="17788"/>
                      <a:pt x="4786" y="20445"/>
                      <a:pt x="4786" y="2406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09" name="Freihandform: Form 3308">
                <a:extLst>
                  <a:ext uri="{FF2B5EF4-FFF2-40B4-BE49-F238E27FC236}">
                    <a16:creationId xmlns:a16="http://schemas.microsoft.com/office/drawing/2014/main" id="{0E029BBF-CF0C-CF7B-2488-CD5521E2FE12}"/>
                  </a:ext>
                </a:extLst>
              </p:cNvPr>
              <p:cNvSpPr/>
              <p:nvPr/>
            </p:nvSpPr>
            <p:spPr>
              <a:xfrm>
                <a:off x="5955247" y="2486709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8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5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5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59" y="7631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10" name="Freihandform: Form 3309">
                <a:extLst>
                  <a:ext uri="{FF2B5EF4-FFF2-40B4-BE49-F238E27FC236}">
                    <a16:creationId xmlns:a16="http://schemas.microsoft.com/office/drawing/2014/main" id="{5E92FA14-7E90-D907-1E56-D665F2303C41}"/>
                  </a:ext>
                </a:extLst>
              </p:cNvPr>
              <p:cNvSpPr/>
              <p:nvPr/>
            </p:nvSpPr>
            <p:spPr>
              <a:xfrm>
                <a:off x="6000716" y="2476929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11" name="Freihandform: Form 3310">
                <a:extLst>
                  <a:ext uri="{FF2B5EF4-FFF2-40B4-BE49-F238E27FC236}">
                    <a16:creationId xmlns:a16="http://schemas.microsoft.com/office/drawing/2014/main" id="{81E2124D-3DF9-8A73-6753-5BF06ACA93A8}"/>
                  </a:ext>
                </a:extLst>
              </p:cNvPr>
              <p:cNvSpPr/>
              <p:nvPr/>
            </p:nvSpPr>
            <p:spPr>
              <a:xfrm>
                <a:off x="6010966" y="2486690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4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9 w 25193"/>
                  <a:gd name="connsiteY8" fmla="*/ 12210 h 28622"/>
                  <a:gd name="connsiteX9" fmla="*/ 19051 w 25193"/>
                  <a:gd name="connsiteY9" fmla="*/ 10609 h 28622"/>
                  <a:gd name="connsiteX10" fmla="*/ 19070 w 25193"/>
                  <a:gd name="connsiteY10" fmla="*/ 9403 h 28622"/>
                  <a:gd name="connsiteX11" fmla="*/ 17751 w 25193"/>
                  <a:gd name="connsiteY11" fmla="*/ 5408 h 28622"/>
                  <a:gd name="connsiteX12" fmla="*/ 12475 w 25193"/>
                  <a:gd name="connsiteY12" fmla="*/ 3844 h 28622"/>
                  <a:gd name="connsiteX13" fmla="*/ 7651 w 25193"/>
                  <a:gd name="connsiteY13" fmla="*/ 4994 h 28622"/>
                  <a:gd name="connsiteX14" fmla="*/ 5352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6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6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4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9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9" y="3844"/>
                      <a:pt x="8687" y="4221"/>
                      <a:pt x="7651" y="4994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84" name="Grafik 21">
              <a:extLst>
                <a:ext uri="{FF2B5EF4-FFF2-40B4-BE49-F238E27FC236}">
                  <a16:creationId xmlns:a16="http://schemas.microsoft.com/office/drawing/2014/main" id="{156058AE-03C7-F8DD-572E-2B794F3168A4}"/>
                </a:ext>
              </a:extLst>
            </p:cNvPr>
            <p:cNvGrpSpPr/>
            <p:nvPr/>
          </p:nvGrpSpPr>
          <p:grpSpPr>
            <a:xfrm>
              <a:off x="6052290" y="2476929"/>
              <a:ext cx="143228" cy="38383"/>
              <a:chOff x="6052290" y="2476929"/>
              <a:chExt cx="143228" cy="38383"/>
            </a:xfrm>
            <a:solidFill>
              <a:srgbClr val="000000"/>
            </a:solidFill>
          </p:grpSpPr>
          <p:sp>
            <p:nvSpPr>
              <p:cNvPr id="3298" name="Freihandform: Form 3297">
                <a:extLst>
                  <a:ext uri="{FF2B5EF4-FFF2-40B4-BE49-F238E27FC236}">
                    <a16:creationId xmlns:a16="http://schemas.microsoft.com/office/drawing/2014/main" id="{51404FE3-BAC7-7556-B1EA-98E156EFFA3F}"/>
                  </a:ext>
                </a:extLst>
              </p:cNvPr>
              <p:cNvSpPr/>
              <p:nvPr/>
            </p:nvSpPr>
            <p:spPr>
              <a:xfrm>
                <a:off x="6052290" y="2476929"/>
                <a:ext cx="28830" cy="37762"/>
              </a:xfrm>
              <a:custGeom>
                <a:avLst/>
                <a:gdLst>
                  <a:gd name="connsiteX0" fmla="*/ 0 w 28830"/>
                  <a:gd name="connsiteY0" fmla="*/ 37762 h 37762"/>
                  <a:gd name="connsiteX1" fmla="*/ 0 w 28830"/>
                  <a:gd name="connsiteY1" fmla="*/ 0 h 37762"/>
                  <a:gd name="connsiteX2" fmla="*/ 14246 w 28830"/>
                  <a:gd name="connsiteY2" fmla="*/ 0 h 37762"/>
                  <a:gd name="connsiteX3" fmla="*/ 19993 w 28830"/>
                  <a:gd name="connsiteY3" fmla="*/ 358 h 37762"/>
                  <a:gd name="connsiteX4" fmla="*/ 24647 w 28830"/>
                  <a:gd name="connsiteY4" fmla="*/ 2129 h 37762"/>
                  <a:gd name="connsiteX5" fmla="*/ 27681 w 28830"/>
                  <a:gd name="connsiteY5" fmla="*/ 5766 h 37762"/>
                  <a:gd name="connsiteX6" fmla="*/ 28830 w 28830"/>
                  <a:gd name="connsiteY6" fmla="*/ 10910 h 37762"/>
                  <a:gd name="connsiteX7" fmla="*/ 25759 w 28830"/>
                  <a:gd name="connsiteY7" fmla="*/ 19069 h 37762"/>
                  <a:gd name="connsiteX8" fmla="*/ 14679 w 28830"/>
                  <a:gd name="connsiteY8" fmla="*/ 22405 h 37762"/>
                  <a:gd name="connsiteX9" fmla="*/ 4994 w 28830"/>
                  <a:gd name="connsiteY9" fmla="*/ 22405 h 37762"/>
                  <a:gd name="connsiteX10" fmla="*/ 4994 w 28830"/>
                  <a:gd name="connsiteY10" fmla="*/ 37762 h 37762"/>
                  <a:gd name="connsiteX11" fmla="*/ 0 w 28830"/>
                  <a:gd name="connsiteY11" fmla="*/ 37762 h 37762"/>
                  <a:gd name="connsiteX12" fmla="*/ 4994 w 28830"/>
                  <a:gd name="connsiteY12" fmla="*/ 17958 h 37762"/>
                  <a:gd name="connsiteX13" fmla="*/ 14754 w 28830"/>
                  <a:gd name="connsiteY13" fmla="*/ 17958 h 37762"/>
                  <a:gd name="connsiteX14" fmla="*/ 21632 w 28830"/>
                  <a:gd name="connsiteY14" fmla="*/ 16149 h 37762"/>
                  <a:gd name="connsiteX15" fmla="*/ 23667 w 28830"/>
                  <a:gd name="connsiteY15" fmla="*/ 11080 h 37762"/>
                  <a:gd name="connsiteX16" fmla="*/ 22461 w 28830"/>
                  <a:gd name="connsiteY16" fmla="*/ 7029 h 37762"/>
                  <a:gd name="connsiteX17" fmla="*/ 19314 w 28830"/>
                  <a:gd name="connsiteY17" fmla="*/ 4805 h 37762"/>
                  <a:gd name="connsiteX18" fmla="*/ 14660 w 28830"/>
                  <a:gd name="connsiteY18" fmla="*/ 4466 h 37762"/>
                  <a:gd name="connsiteX19" fmla="*/ 4994 w 28830"/>
                  <a:gd name="connsiteY19" fmla="*/ 4466 h 37762"/>
                  <a:gd name="connsiteX20" fmla="*/ 4994 w 28830"/>
                  <a:gd name="connsiteY20" fmla="*/ 17958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8830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14246" y="0"/>
                    </a:lnTo>
                    <a:cubicBezTo>
                      <a:pt x="16752" y="0"/>
                      <a:pt x="18674" y="113"/>
                      <a:pt x="19993" y="358"/>
                    </a:cubicBezTo>
                    <a:cubicBezTo>
                      <a:pt x="21839" y="660"/>
                      <a:pt x="23404" y="1263"/>
                      <a:pt x="24647" y="2129"/>
                    </a:cubicBezTo>
                    <a:cubicBezTo>
                      <a:pt x="25891" y="2996"/>
                      <a:pt x="26908" y="4221"/>
                      <a:pt x="27681" y="5766"/>
                    </a:cubicBezTo>
                    <a:cubicBezTo>
                      <a:pt x="28453" y="7330"/>
                      <a:pt x="28830" y="9045"/>
                      <a:pt x="28830" y="10910"/>
                    </a:cubicBezTo>
                    <a:cubicBezTo>
                      <a:pt x="28830" y="14114"/>
                      <a:pt x="27813" y="16846"/>
                      <a:pt x="25759" y="19069"/>
                    </a:cubicBezTo>
                    <a:cubicBezTo>
                      <a:pt x="23705" y="21293"/>
                      <a:pt x="20031" y="22405"/>
                      <a:pt x="14679" y="22405"/>
                    </a:cubicBezTo>
                    <a:lnTo>
                      <a:pt x="4994" y="22405"/>
                    </a:lnTo>
                    <a:lnTo>
                      <a:pt x="4994" y="37762"/>
                    </a:lnTo>
                    <a:lnTo>
                      <a:pt x="0" y="37762"/>
                    </a:lnTo>
                    <a:close/>
                    <a:moveTo>
                      <a:pt x="4994" y="17958"/>
                    </a:moveTo>
                    <a:lnTo>
                      <a:pt x="14754" y="17958"/>
                    </a:lnTo>
                    <a:cubicBezTo>
                      <a:pt x="17977" y="17958"/>
                      <a:pt x="20275" y="17355"/>
                      <a:pt x="21632" y="16149"/>
                    </a:cubicBezTo>
                    <a:cubicBezTo>
                      <a:pt x="22989" y="14943"/>
                      <a:pt x="23667" y="13247"/>
                      <a:pt x="23667" y="11080"/>
                    </a:cubicBezTo>
                    <a:cubicBezTo>
                      <a:pt x="23667" y="9497"/>
                      <a:pt x="23272" y="8140"/>
                      <a:pt x="22461" y="7029"/>
                    </a:cubicBezTo>
                    <a:cubicBezTo>
                      <a:pt x="21651" y="5917"/>
                      <a:pt x="20615" y="5163"/>
                      <a:pt x="19314" y="4805"/>
                    </a:cubicBezTo>
                    <a:cubicBezTo>
                      <a:pt x="18467" y="4579"/>
                      <a:pt x="16921" y="4466"/>
                      <a:pt x="14660" y="4466"/>
                    </a:cubicBezTo>
                    <a:lnTo>
                      <a:pt x="4994" y="4466"/>
                    </a:lnTo>
                    <a:lnTo>
                      <a:pt x="4994" y="1795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99" name="Freihandform: Form 3298">
                <a:extLst>
                  <a:ext uri="{FF2B5EF4-FFF2-40B4-BE49-F238E27FC236}">
                    <a16:creationId xmlns:a16="http://schemas.microsoft.com/office/drawing/2014/main" id="{8BDD337F-EF8B-D52C-B439-E769B415DD90}"/>
                  </a:ext>
                </a:extLst>
              </p:cNvPr>
              <p:cNvSpPr/>
              <p:nvPr/>
            </p:nvSpPr>
            <p:spPr>
              <a:xfrm>
                <a:off x="6085322" y="2486690"/>
                <a:ext cx="25193" cy="28622"/>
              </a:xfrm>
              <a:custGeom>
                <a:avLst/>
                <a:gdLst>
                  <a:gd name="connsiteX0" fmla="*/ 19427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1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4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7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7" y="24628"/>
                    </a:moveTo>
                    <a:cubicBezTo>
                      <a:pt x="17713" y="26079"/>
                      <a:pt x="16054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1" y="0"/>
                      <a:pt x="17374" y="283"/>
                      <a:pt x="18824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80" y="27002"/>
                      <a:pt x="19559" y="25872"/>
                      <a:pt x="19427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00" name="Freihandform: Form 3299">
                <a:extLst>
                  <a:ext uri="{FF2B5EF4-FFF2-40B4-BE49-F238E27FC236}">
                    <a16:creationId xmlns:a16="http://schemas.microsoft.com/office/drawing/2014/main" id="{83F4937D-473D-F981-E3A8-9682449A2DA4}"/>
                  </a:ext>
                </a:extLst>
              </p:cNvPr>
              <p:cNvSpPr/>
              <p:nvPr/>
            </p:nvSpPr>
            <p:spPr>
              <a:xfrm>
                <a:off x="6116131" y="2476929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01" name="Freihandform: Form 3300">
                <a:extLst>
                  <a:ext uri="{FF2B5EF4-FFF2-40B4-BE49-F238E27FC236}">
                    <a16:creationId xmlns:a16="http://schemas.microsoft.com/office/drawing/2014/main" id="{A9967EC1-805D-0B23-A96D-A8CC6D3C56C2}"/>
                  </a:ext>
                </a:extLst>
              </p:cNvPr>
              <p:cNvSpPr/>
              <p:nvPr/>
            </p:nvSpPr>
            <p:spPr>
              <a:xfrm>
                <a:off x="6127927" y="2486709"/>
                <a:ext cx="37083" cy="27982"/>
              </a:xfrm>
              <a:custGeom>
                <a:avLst/>
                <a:gdLst>
                  <a:gd name="connsiteX0" fmla="*/ 19 w 37083"/>
                  <a:gd name="connsiteY0" fmla="*/ 27982 h 27982"/>
                  <a:gd name="connsiteX1" fmla="*/ 19 w 37083"/>
                  <a:gd name="connsiteY1" fmla="*/ 622 h 27982"/>
                  <a:gd name="connsiteX2" fmla="*/ 4164 w 37083"/>
                  <a:gd name="connsiteY2" fmla="*/ 622 h 27982"/>
                  <a:gd name="connsiteX3" fmla="*/ 4164 w 37083"/>
                  <a:gd name="connsiteY3" fmla="*/ 4466 h 27982"/>
                  <a:gd name="connsiteX4" fmla="*/ 7594 w 37083"/>
                  <a:gd name="connsiteY4" fmla="*/ 1225 h 27982"/>
                  <a:gd name="connsiteX5" fmla="*/ 12456 w 37083"/>
                  <a:gd name="connsiteY5" fmla="*/ 0 h 27982"/>
                  <a:gd name="connsiteX6" fmla="*/ 17449 w 37083"/>
                  <a:gd name="connsiteY6" fmla="*/ 1262 h 27982"/>
                  <a:gd name="connsiteX7" fmla="*/ 20200 w 37083"/>
                  <a:gd name="connsiteY7" fmla="*/ 4786 h 27982"/>
                  <a:gd name="connsiteX8" fmla="*/ 28642 w 37083"/>
                  <a:gd name="connsiteY8" fmla="*/ 0 h 27982"/>
                  <a:gd name="connsiteX9" fmla="*/ 34898 w 37083"/>
                  <a:gd name="connsiteY9" fmla="*/ 2261 h 27982"/>
                  <a:gd name="connsiteX10" fmla="*/ 37084 w 37083"/>
                  <a:gd name="connsiteY10" fmla="*/ 9196 h 27982"/>
                  <a:gd name="connsiteX11" fmla="*/ 37084 w 37083"/>
                  <a:gd name="connsiteY11" fmla="*/ 27982 h 27982"/>
                  <a:gd name="connsiteX12" fmla="*/ 32467 w 37083"/>
                  <a:gd name="connsiteY12" fmla="*/ 27982 h 27982"/>
                  <a:gd name="connsiteX13" fmla="*/ 32467 w 37083"/>
                  <a:gd name="connsiteY13" fmla="*/ 10741 h 27982"/>
                  <a:gd name="connsiteX14" fmla="*/ 32015 w 37083"/>
                  <a:gd name="connsiteY14" fmla="*/ 6727 h 27982"/>
                  <a:gd name="connsiteX15" fmla="*/ 30375 w 37083"/>
                  <a:gd name="connsiteY15" fmla="*/ 4749 h 27982"/>
                  <a:gd name="connsiteX16" fmla="*/ 27586 w 37083"/>
                  <a:gd name="connsiteY16" fmla="*/ 3995 h 27982"/>
                  <a:gd name="connsiteX17" fmla="*/ 22801 w 37083"/>
                  <a:gd name="connsiteY17" fmla="*/ 5917 h 27982"/>
                  <a:gd name="connsiteX18" fmla="*/ 20897 w 37083"/>
                  <a:gd name="connsiteY18" fmla="*/ 12060 h 27982"/>
                  <a:gd name="connsiteX19" fmla="*/ 20897 w 37083"/>
                  <a:gd name="connsiteY19" fmla="*/ 27963 h 27982"/>
                  <a:gd name="connsiteX20" fmla="*/ 16262 w 37083"/>
                  <a:gd name="connsiteY20" fmla="*/ 27963 h 27982"/>
                  <a:gd name="connsiteX21" fmla="*/ 16262 w 37083"/>
                  <a:gd name="connsiteY21" fmla="*/ 10194 h 27982"/>
                  <a:gd name="connsiteX22" fmla="*/ 15131 w 37083"/>
                  <a:gd name="connsiteY22" fmla="*/ 5559 h 27982"/>
                  <a:gd name="connsiteX23" fmla="*/ 11419 w 37083"/>
                  <a:gd name="connsiteY23" fmla="*/ 4014 h 27982"/>
                  <a:gd name="connsiteX24" fmla="*/ 7801 w 37083"/>
                  <a:gd name="connsiteY24" fmla="*/ 5050 h 27982"/>
                  <a:gd name="connsiteX25" fmla="*/ 5389 w 37083"/>
                  <a:gd name="connsiteY25" fmla="*/ 8065 h 27982"/>
                  <a:gd name="connsiteX26" fmla="*/ 4635 w 37083"/>
                  <a:gd name="connsiteY26" fmla="*/ 13793 h 27982"/>
                  <a:gd name="connsiteX27" fmla="*/ 4635 w 37083"/>
                  <a:gd name="connsiteY27" fmla="*/ 27982 h 27982"/>
                  <a:gd name="connsiteX28" fmla="*/ 0 w 37083"/>
                  <a:gd name="connsiteY28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7083" h="27982">
                    <a:moveTo>
                      <a:pt x="19" y="27982"/>
                    </a:moveTo>
                    <a:lnTo>
                      <a:pt x="19" y="622"/>
                    </a:lnTo>
                    <a:lnTo>
                      <a:pt x="4164" y="622"/>
                    </a:lnTo>
                    <a:lnTo>
                      <a:pt x="4164" y="4466"/>
                    </a:lnTo>
                    <a:cubicBezTo>
                      <a:pt x="5031" y="3128"/>
                      <a:pt x="6162" y="2054"/>
                      <a:pt x="7594" y="1225"/>
                    </a:cubicBezTo>
                    <a:cubicBezTo>
                      <a:pt x="9026" y="396"/>
                      <a:pt x="10646" y="0"/>
                      <a:pt x="12456" y="0"/>
                    </a:cubicBezTo>
                    <a:cubicBezTo>
                      <a:pt x="14490" y="0"/>
                      <a:pt x="16149" y="414"/>
                      <a:pt x="17449" y="1262"/>
                    </a:cubicBezTo>
                    <a:cubicBezTo>
                      <a:pt x="18749" y="2110"/>
                      <a:pt x="19654" y="3279"/>
                      <a:pt x="20200" y="4786"/>
                    </a:cubicBezTo>
                    <a:cubicBezTo>
                      <a:pt x="22367" y="1583"/>
                      <a:pt x="25175" y="0"/>
                      <a:pt x="28642" y="0"/>
                    </a:cubicBezTo>
                    <a:cubicBezTo>
                      <a:pt x="31355" y="0"/>
                      <a:pt x="33447" y="754"/>
                      <a:pt x="34898" y="2261"/>
                    </a:cubicBezTo>
                    <a:cubicBezTo>
                      <a:pt x="36349" y="3769"/>
                      <a:pt x="37084" y="6086"/>
                      <a:pt x="37084" y="9196"/>
                    </a:cubicBezTo>
                    <a:lnTo>
                      <a:pt x="37084" y="27982"/>
                    </a:lnTo>
                    <a:lnTo>
                      <a:pt x="32467" y="27982"/>
                    </a:lnTo>
                    <a:lnTo>
                      <a:pt x="32467" y="10741"/>
                    </a:lnTo>
                    <a:cubicBezTo>
                      <a:pt x="32467" y="8894"/>
                      <a:pt x="32316" y="7556"/>
                      <a:pt x="32015" y="6727"/>
                    </a:cubicBezTo>
                    <a:cubicBezTo>
                      <a:pt x="31714" y="5917"/>
                      <a:pt x="31167" y="5257"/>
                      <a:pt x="30375" y="4749"/>
                    </a:cubicBezTo>
                    <a:cubicBezTo>
                      <a:pt x="29584" y="4240"/>
                      <a:pt x="28661" y="3995"/>
                      <a:pt x="27586" y="3995"/>
                    </a:cubicBezTo>
                    <a:cubicBezTo>
                      <a:pt x="25664" y="3995"/>
                      <a:pt x="24063" y="4635"/>
                      <a:pt x="22801" y="5917"/>
                    </a:cubicBezTo>
                    <a:cubicBezTo>
                      <a:pt x="21538" y="7198"/>
                      <a:pt x="20897" y="9252"/>
                      <a:pt x="20897" y="12060"/>
                    </a:cubicBezTo>
                    <a:lnTo>
                      <a:pt x="20897" y="27963"/>
                    </a:lnTo>
                    <a:lnTo>
                      <a:pt x="16262" y="27963"/>
                    </a:lnTo>
                    <a:lnTo>
                      <a:pt x="16262" y="10194"/>
                    </a:lnTo>
                    <a:cubicBezTo>
                      <a:pt x="16262" y="8140"/>
                      <a:pt x="15885" y="6595"/>
                      <a:pt x="15131" y="5559"/>
                    </a:cubicBezTo>
                    <a:cubicBezTo>
                      <a:pt x="14377" y="4522"/>
                      <a:pt x="13134" y="4014"/>
                      <a:pt x="11419" y="4014"/>
                    </a:cubicBezTo>
                    <a:cubicBezTo>
                      <a:pt x="10119" y="4014"/>
                      <a:pt x="8913" y="4353"/>
                      <a:pt x="7801" y="5050"/>
                    </a:cubicBezTo>
                    <a:cubicBezTo>
                      <a:pt x="6689" y="5747"/>
                      <a:pt x="5898" y="6746"/>
                      <a:pt x="5389" y="8065"/>
                    </a:cubicBezTo>
                    <a:cubicBezTo>
                      <a:pt x="4881" y="9384"/>
                      <a:pt x="4635" y="11287"/>
                      <a:pt x="4635" y="13793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02" name="Freihandform: Form 3301">
                <a:extLst>
                  <a:ext uri="{FF2B5EF4-FFF2-40B4-BE49-F238E27FC236}">
                    <a16:creationId xmlns:a16="http://schemas.microsoft.com/office/drawing/2014/main" id="{569E9783-FF46-2D96-8DFB-F56A643046F5}"/>
                  </a:ext>
                </a:extLst>
              </p:cNvPr>
              <p:cNvSpPr/>
              <p:nvPr/>
            </p:nvSpPr>
            <p:spPr>
              <a:xfrm>
                <a:off x="6170325" y="2486690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1 w 25193"/>
                  <a:gd name="connsiteY13" fmla="*/ 4994 h 28622"/>
                  <a:gd name="connsiteX14" fmla="*/ 5352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3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6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1" y="4994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5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3" y="27963"/>
                    </a:cubicBezTo>
                    <a:lnTo>
                      <a:pt x="20351" y="27963"/>
                    </a:lnTo>
                    <a:cubicBezTo>
                      <a:pt x="19880" y="27002"/>
                      <a:pt x="19559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85" name="Grafik 21">
              <a:extLst>
                <a:ext uri="{FF2B5EF4-FFF2-40B4-BE49-F238E27FC236}">
                  <a16:creationId xmlns:a16="http://schemas.microsoft.com/office/drawing/2014/main" id="{BDD52055-C1A3-4E9F-7E76-147115C866DF}"/>
                </a:ext>
              </a:extLst>
            </p:cNvPr>
            <p:cNvGrpSpPr/>
            <p:nvPr/>
          </p:nvGrpSpPr>
          <p:grpSpPr>
            <a:xfrm>
              <a:off x="6519474" y="2495151"/>
              <a:ext cx="179652" cy="39005"/>
              <a:chOff x="6519474" y="2495151"/>
              <a:chExt cx="179652" cy="39005"/>
            </a:xfrm>
            <a:solidFill>
              <a:srgbClr val="000000"/>
            </a:solidFill>
          </p:grpSpPr>
          <p:sp>
            <p:nvSpPr>
              <p:cNvPr id="3290" name="Freihandform: Form 3289">
                <a:extLst>
                  <a:ext uri="{FF2B5EF4-FFF2-40B4-BE49-F238E27FC236}">
                    <a16:creationId xmlns:a16="http://schemas.microsoft.com/office/drawing/2014/main" id="{BAD79364-6B13-80BF-A3FD-771AA1303364}"/>
                  </a:ext>
                </a:extLst>
              </p:cNvPr>
              <p:cNvSpPr/>
              <p:nvPr/>
            </p:nvSpPr>
            <p:spPr>
              <a:xfrm>
                <a:off x="6519474" y="2495773"/>
                <a:ext cx="35350" cy="37762"/>
              </a:xfrm>
              <a:custGeom>
                <a:avLst/>
                <a:gdLst>
                  <a:gd name="connsiteX0" fmla="*/ 0 w 35350"/>
                  <a:gd name="connsiteY0" fmla="*/ 37762 h 37762"/>
                  <a:gd name="connsiteX1" fmla="*/ 14509 w 35350"/>
                  <a:gd name="connsiteY1" fmla="*/ 0 h 37762"/>
                  <a:gd name="connsiteX2" fmla="*/ 19899 w 35350"/>
                  <a:gd name="connsiteY2" fmla="*/ 0 h 37762"/>
                  <a:gd name="connsiteX3" fmla="*/ 35350 w 35350"/>
                  <a:gd name="connsiteY3" fmla="*/ 37762 h 37762"/>
                  <a:gd name="connsiteX4" fmla="*/ 29659 w 35350"/>
                  <a:gd name="connsiteY4" fmla="*/ 37762 h 37762"/>
                  <a:gd name="connsiteX5" fmla="*/ 25250 w 35350"/>
                  <a:gd name="connsiteY5" fmla="*/ 26324 h 37762"/>
                  <a:gd name="connsiteX6" fmla="*/ 9459 w 35350"/>
                  <a:gd name="connsiteY6" fmla="*/ 26324 h 37762"/>
                  <a:gd name="connsiteX7" fmla="*/ 5314 w 35350"/>
                  <a:gd name="connsiteY7" fmla="*/ 37762 h 37762"/>
                  <a:gd name="connsiteX8" fmla="*/ 0 w 35350"/>
                  <a:gd name="connsiteY8" fmla="*/ 37762 h 37762"/>
                  <a:gd name="connsiteX9" fmla="*/ 10892 w 35350"/>
                  <a:gd name="connsiteY9" fmla="*/ 22254 h 37762"/>
                  <a:gd name="connsiteX10" fmla="*/ 23686 w 35350"/>
                  <a:gd name="connsiteY10" fmla="*/ 22254 h 37762"/>
                  <a:gd name="connsiteX11" fmla="*/ 19748 w 35350"/>
                  <a:gd name="connsiteY11" fmla="*/ 11796 h 37762"/>
                  <a:gd name="connsiteX12" fmla="*/ 17072 w 35350"/>
                  <a:gd name="connsiteY12" fmla="*/ 3957 h 37762"/>
                  <a:gd name="connsiteX13" fmla="*/ 15037 w 35350"/>
                  <a:gd name="connsiteY13" fmla="*/ 11174 h 37762"/>
                  <a:gd name="connsiteX14" fmla="*/ 10892 w 35350"/>
                  <a:gd name="connsiteY14" fmla="*/ 22254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5350" h="37762">
                    <a:moveTo>
                      <a:pt x="0" y="37762"/>
                    </a:moveTo>
                    <a:lnTo>
                      <a:pt x="14509" y="0"/>
                    </a:lnTo>
                    <a:lnTo>
                      <a:pt x="19899" y="0"/>
                    </a:lnTo>
                    <a:lnTo>
                      <a:pt x="35350" y="37762"/>
                    </a:lnTo>
                    <a:lnTo>
                      <a:pt x="29659" y="37762"/>
                    </a:lnTo>
                    <a:lnTo>
                      <a:pt x="25250" y="26324"/>
                    </a:lnTo>
                    <a:lnTo>
                      <a:pt x="9459" y="26324"/>
                    </a:lnTo>
                    <a:lnTo>
                      <a:pt x="5314" y="37762"/>
                    </a:lnTo>
                    <a:lnTo>
                      <a:pt x="0" y="37762"/>
                    </a:lnTo>
                    <a:close/>
                    <a:moveTo>
                      <a:pt x="10892" y="22254"/>
                    </a:moveTo>
                    <a:lnTo>
                      <a:pt x="23686" y="22254"/>
                    </a:lnTo>
                    <a:lnTo>
                      <a:pt x="19748" y="11796"/>
                    </a:lnTo>
                    <a:cubicBezTo>
                      <a:pt x="18542" y="8612"/>
                      <a:pt x="17656" y="6011"/>
                      <a:pt x="17072" y="3957"/>
                    </a:cubicBezTo>
                    <a:cubicBezTo>
                      <a:pt x="16601" y="6388"/>
                      <a:pt x="15904" y="8781"/>
                      <a:pt x="15037" y="11174"/>
                    </a:cubicBezTo>
                    <a:lnTo>
                      <a:pt x="10892" y="22254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91" name="Freihandform: Form 3290">
                <a:extLst>
                  <a:ext uri="{FF2B5EF4-FFF2-40B4-BE49-F238E27FC236}">
                    <a16:creationId xmlns:a16="http://schemas.microsoft.com/office/drawing/2014/main" id="{F55A334F-2625-6E62-2AFF-56E5D84EB9C5}"/>
                  </a:ext>
                </a:extLst>
              </p:cNvPr>
              <p:cNvSpPr/>
              <p:nvPr/>
            </p:nvSpPr>
            <p:spPr>
              <a:xfrm>
                <a:off x="6558159" y="2505552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8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39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8"/>
                    </a:cubicBezTo>
                    <a:lnTo>
                      <a:pt x="13266" y="5785"/>
                    </a:lnTo>
                    <a:cubicBezTo>
                      <a:pt x="12135" y="5106"/>
                      <a:pt x="11004" y="4786"/>
                      <a:pt x="9874" y="4786"/>
                    </a:cubicBezTo>
                    <a:cubicBezTo>
                      <a:pt x="8856" y="4786"/>
                      <a:pt x="7952" y="5088"/>
                      <a:pt x="7142" y="5710"/>
                    </a:cubicBezTo>
                    <a:cubicBezTo>
                      <a:pt x="6331" y="6331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92" name="Freihandform: Form 3291">
                <a:extLst>
                  <a:ext uri="{FF2B5EF4-FFF2-40B4-BE49-F238E27FC236}">
                    <a16:creationId xmlns:a16="http://schemas.microsoft.com/office/drawing/2014/main" id="{5A25AF1B-C3E6-E131-092B-79A4CC9DB4AE}"/>
                  </a:ext>
                </a:extLst>
              </p:cNvPr>
              <p:cNvSpPr/>
              <p:nvPr/>
            </p:nvSpPr>
            <p:spPr>
              <a:xfrm>
                <a:off x="6575740" y="2505552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5 w 14867"/>
                  <a:gd name="connsiteY2" fmla="*/ 622 h 27982"/>
                  <a:gd name="connsiteX3" fmla="*/ 4165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8 w 14867"/>
                  <a:gd name="connsiteY6" fmla="*/ 1488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6 w 14867"/>
                  <a:gd name="connsiteY11" fmla="*/ 13661 h 27982"/>
                  <a:gd name="connsiteX12" fmla="*/ 4636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5" y="622"/>
                    </a:lnTo>
                    <a:lnTo>
                      <a:pt x="4165" y="4767"/>
                    </a:lnTo>
                    <a:cubicBezTo>
                      <a:pt x="5239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8" y="1488"/>
                    </a:cubicBezTo>
                    <a:lnTo>
                      <a:pt x="13266" y="5785"/>
                    </a:lnTo>
                    <a:cubicBezTo>
                      <a:pt x="12135" y="5106"/>
                      <a:pt x="11005" y="4786"/>
                      <a:pt x="9874" y="4786"/>
                    </a:cubicBezTo>
                    <a:cubicBezTo>
                      <a:pt x="8857" y="4786"/>
                      <a:pt x="7952" y="5088"/>
                      <a:pt x="7142" y="5710"/>
                    </a:cubicBezTo>
                    <a:cubicBezTo>
                      <a:pt x="6332" y="6331"/>
                      <a:pt x="5766" y="7160"/>
                      <a:pt x="5408" y="8253"/>
                    </a:cubicBezTo>
                    <a:cubicBezTo>
                      <a:pt x="4899" y="9912"/>
                      <a:pt x="4636" y="11702"/>
                      <a:pt x="4636" y="13661"/>
                    </a:cubicBezTo>
                    <a:lnTo>
                      <a:pt x="4636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93" name="Freihandform: Form 3292">
                <a:extLst>
                  <a:ext uri="{FF2B5EF4-FFF2-40B4-BE49-F238E27FC236}">
                    <a16:creationId xmlns:a16="http://schemas.microsoft.com/office/drawing/2014/main" id="{4FDF1FE9-8870-54A4-E1EF-C67984DEA677}"/>
                  </a:ext>
                </a:extLst>
              </p:cNvPr>
              <p:cNvSpPr/>
              <p:nvPr/>
            </p:nvSpPr>
            <p:spPr>
              <a:xfrm>
                <a:off x="6591795" y="2505552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2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2 w 25231"/>
                  <a:gd name="connsiteY9" fmla="*/ 14245 h 28585"/>
                  <a:gd name="connsiteX10" fmla="*/ 25213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8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9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3" y="24722"/>
                      <a:pt x="20879" y="26268"/>
                    </a:cubicBezTo>
                    <a:cubicBezTo>
                      <a:pt x="18825" y="27813"/>
                      <a:pt x="16224" y="28585"/>
                      <a:pt x="13040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2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2" y="9723"/>
                      <a:pt x="25232" y="14245"/>
                    </a:cubicBezTo>
                    <a:cubicBezTo>
                      <a:pt x="25232" y="14528"/>
                      <a:pt x="25232" y="14924"/>
                      <a:pt x="25213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69"/>
                      <a:pt x="10778" y="24779"/>
                      <a:pt x="13078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9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60" y="7631"/>
                      <a:pt x="18599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49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94" name="Freihandform: Form 3293">
                <a:extLst>
                  <a:ext uri="{FF2B5EF4-FFF2-40B4-BE49-F238E27FC236}">
                    <a16:creationId xmlns:a16="http://schemas.microsoft.com/office/drawing/2014/main" id="{283C3AF5-DD97-D1D6-5E92-076D736E1355}"/>
                  </a:ext>
                </a:extLst>
              </p:cNvPr>
              <p:cNvSpPr/>
              <p:nvPr/>
            </p:nvSpPr>
            <p:spPr>
              <a:xfrm>
                <a:off x="6621304" y="2505552"/>
                <a:ext cx="23817" cy="28604"/>
              </a:xfrm>
              <a:custGeom>
                <a:avLst/>
                <a:gdLst>
                  <a:gd name="connsiteX0" fmla="*/ 19258 w 23817"/>
                  <a:gd name="connsiteY0" fmla="*/ 17958 h 28604"/>
                  <a:gd name="connsiteX1" fmla="*/ 23818 w 23817"/>
                  <a:gd name="connsiteY1" fmla="*/ 18542 h 28604"/>
                  <a:gd name="connsiteX2" fmla="*/ 19993 w 23817"/>
                  <a:gd name="connsiteY2" fmla="*/ 25928 h 28604"/>
                  <a:gd name="connsiteX3" fmla="*/ 12436 w 23817"/>
                  <a:gd name="connsiteY3" fmla="*/ 28604 h 28604"/>
                  <a:gd name="connsiteX4" fmla="*/ 3410 w 23817"/>
                  <a:gd name="connsiteY4" fmla="*/ 24930 h 28604"/>
                  <a:gd name="connsiteX5" fmla="*/ 0 w 23817"/>
                  <a:gd name="connsiteY5" fmla="*/ 14415 h 28604"/>
                  <a:gd name="connsiteX6" fmla="*/ 1470 w 23817"/>
                  <a:gd name="connsiteY6" fmla="*/ 6652 h 28604"/>
                  <a:gd name="connsiteX7" fmla="*/ 5935 w 23817"/>
                  <a:gd name="connsiteY7" fmla="*/ 1658 h 28604"/>
                  <a:gd name="connsiteX8" fmla="*/ 12474 w 23817"/>
                  <a:gd name="connsiteY8" fmla="*/ 0 h 28604"/>
                  <a:gd name="connsiteX9" fmla="*/ 19767 w 23817"/>
                  <a:gd name="connsiteY9" fmla="*/ 2261 h 28604"/>
                  <a:gd name="connsiteX10" fmla="*/ 23403 w 23817"/>
                  <a:gd name="connsiteY10" fmla="*/ 8668 h 28604"/>
                  <a:gd name="connsiteX11" fmla="*/ 18900 w 23817"/>
                  <a:gd name="connsiteY11" fmla="*/ 9365 h 28604"/>
                  <a:gd name="connsiteX12" fmla="*/ 16620 w 23817"/>
                  <a:gd name="connsiteY12" fmla="*/ 5220 h 28604"/>
                  <a:gd name="connsiteX13" fmla="*/ 12663 w 23817"/>
                  <a:gd name="connsiteY13" fmla="*/ 3825 h 28604"/>
                  <a:gd name="connsiteX14" fmla="*/ 6972 w 23817"/>
                  <a:gd name="connsiteY14" fmla="*/ 6331 h 28604"/>
                  <a:gd name="connsiteX15" fmla="*/ 4786 w 23817"/>
                  <a:gd name="connsiteY15" fmla="*/ 14283 h 28604"/>
                  <a:gd name="connsiteX16" fmla="*/ 6897 w 23817"/>
                  <a:gd name="connsiteY16" fmla="*/ 22292 h 28604"/>
                  <a:gd name="connsiteX17" fmla="*/ 12417 w 23817"/>
                  <a:gd name="connsiteY17" fmla="*/ 24798 h 28604"/>
                  <a:gd name="connsiteX18" fmla="*/ 16978 w 23817"/>
                  <a:gd name="connsiteY18" fmla="*/ 23121 h 28604"/>
                  <a:gd name="connsiteX19" fmla="*/ 19296 w 23817"/>
                  <a:gd name="connsiteY19" fmla="*/ 17976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817" h="28604">
                    <a:moveTo>
                      <a:pt x="19258" y="17958"/>
                    </a:moveTo>
                    <a:lnTo>
                      <a:pt x="23818" y="18542"/>
                    </a:lnTo>
                    <a:cubicBezTo>
                      <a:pt x="23328" y="21689"/>
                      <a:pt x="22047" y="24138"/>
                      <a:pt x="19993" y="25928"/>
                    </a:cubicBezTo>
                    <a:cubicBezTo>
                      <a:pt x="17939" y="27719"/>
                      <a:pt x="15414" y="28604"/>
                      <a:pt x="12436" y="28604"/>
                    </a:cubicBezTo>
                    <a:cubicBezTo>
                      <a:pt x="8687" y="28604"/>
                      <a:pt x="5691" y="27379"/>
                      <a:pt x="3410" y="24930"/>
                    </a:cubicBezTo>
                    <a:cubicBezTo>
                      <a:pt x="1130" y="22480"/>
                      <a:pt x="0" y="18975"/>
                      <a:pt x="0" y="14415"/>
                    </a:cubicBezTo>
                    <a:cubicBezTo>
                      <a:pt x="0" y="11457"/>
                      <a:pt x="490" y="8875"/>
                      <a:pt x="1470" y="6652"/>
                    </a:cubicBezTo>
                    <a:cubicBezTo>
                      <a:pt x="2449" y="4428"/>
                      <a:pt x="3938" y="2770"/>
                      <a:pt x="5935" y="1658"/>
                    </a:cubicBezTo>
                    <a:cubicBezTo>
                      <a:pt x="7933" y="546"/>
                      <a:pt x="10119" y="0"/>
                      <a:pt x="12474" y="0"/>
                    </a:cubicBezTo>
                    <a:cubicBezTo>
                      <a:pt x="15451" y="0"/>
                      <a:pt x="17882" y="754"/>
                      <a:pt x="19767" y="2261"/>
                    </a:cubicBezTo>
                    <a:cubicBezTo>
                      <a:pt x="21651" y="3769"/>
                      <a:pt x="22876" y="5898"/>
                      <a:pt x="23403" y="8668"/>
                    </a:cubicBezTo>
                    <a:lnTo>
                      <a:pt x="18900" y="9365"/>
                    </a:lnTo>
                    <a:cubicBezTo>
                      <a:pt x="18466" y="7518"/>
                      <a:pt x="17713" y="6143"/>
                      <a:pt x="16620" y="5220"/>
                    </a:cubicBezTo>
                    <a:cubicBezTo>
                      <a:pt x="15527" y="4296"/>
                      <a:pt x="14208" y="3825"/>
                      <a:pt x="12663" y="3825"/>
                    </a:cubicBezTo>
                    <a:cubicBezTo>
                      <a:pt x="10326" y="3825"/>
                      <a:pt x="8423" y="4654"/>
                      <a:pt x="6972" y="6331"/>
                    </a:cubicBezTo>
                    <a:cubicBezTo>
                      <a:pt x="5521" y="8008"/>
                      <a:pt x="4786" y="10647"/>
                      <a:pt x="4786" y="14283"/>
                    </a:cubicBezTo>
                    <a:cubicBezTo>
                      <a:pt x="4786" y="17920"/>
                      <a:pt x="5483" y="20633"/>
                      <a:pt x="6897" y="22292"/>
                    </a:cubicBezTo>
                    <a:cubicBezTo>
                      <a:pt x="8310" y="23950"/>
                      <a:pt x="10138" y="24798"/>
                      <a:pt x="12417" y="24798"/>
                    </a:cubicBezTo>
                    <a:cubicBezTo>
                      <a:pt x="14245" y="24798"/>
                      <a:pt x="15753" y="24233"/>
                      <a:pt x="16978" y="23121"/>
                    </a:cubicBezTo>
                    <a:cubicBezTo>
                      <a:pt x="18203" y="22009"/>
                      <a:pt x="18975" y="20294"/>
                      <a:pt x="19296" y="1797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95" name="Freihandform: Form 3294">
                <a:extLst>
                  <a:ext uri="{FF2B5EF4-FFF2-40B4-BE49-F238E27FC236}">
                    <a16:creationId xmlns:a16="http://schemas.microsoft.com/office/drawing/2014/main" id="{73C49E79-CC90-129A-7E3A-E99B0BEDFAD2}"/>
                  </a:ext>
                </a:extLst>
              </p:cNvPr>
              <p:cNvSpPr/>
              <p:nvPr/>
            </p:nvSpPr>
            <p:spPr>
              <a:xfrm>
                <a:off x="6649116" y="2495773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5 w 4635"/>
                  <a:gd name="connsiteY7" fmla="*/ 10402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5" y="10402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96" name="Freihandform: Form 3295">
                <a:extLst>
                  <a:ext uri="{FF2B5EF4-FFF2-40B4-BE49-F238E27FC236}">
                    <a16:creationId xmlns:a16="http://schemas.microsoft.com/office/drawing/2014/main" id="{6B07D1C8-D6DC-CABB-AE4A-14787B24F401}"/>
                  </a:ext>
                </a:extLst>
              </p:cNvPr>
              <p:cNvSpPr/>
              <p:nvPr/>
            </p:nvSpPr>
            <p:spPr>
              <a:xfrm>
                <a:off x="6657822" y="2495151"/>
                <a:ext cx="15998" cy="38421"/>
              </a:xfrm>
              <a:custGeom>
                <a:avLst/>
                <a:gdLst>
                  <a:gd name="connsiteX0" fmla="*/ 4089 w 15998"/>
                  <a:gd name="connsiteY0" fmla="*/ 38384 h 38421"/>
                  <a:gd name="connsiteX1" fmla="*/ 4089 w 15998"/>
                  <a:gd name="connsiteY1" fmla="*/ 14622 h 38421"/>
                  <a:gd name="connsiteX2" fmla="*/ 0 w 15998"/>
                  <a:gd name="connsiteY2" fmla="*/ 14622 h 38421"/>
                  <a:gd name="connsiteX3" fmla="*/ 0 w 15998"/>
                  <a:gd name="connsiteY3" fmla="*/ 11023 h 38421"/>
                  <a:gd name="connsiteX4" fmla="*/ 4089 w 15998"/>
                  <a:gd name="connsiteY4" fmla="*/ 11023 h 38421"/>
                  <a:gd name="connsiteX5" fmla="*/ 4089 w 15998"/>
                  <a:gd name="connsiteY5" fmla="*/ 8121 h 38421"/>
                  <a:gd name="connsiteX6" fmla="*/ 4579 w 15998"/>
                  <a:gd name="connsiteY6" fmla="*/ 4033 h 38421"/>
                  <a:gd name="connsiteX7" fmla="*/ 6934 w 15998"/>
                  <a:gd name="connsiteY7" fmla="*/ 1112 h 38421"/>
                  <a:gd name="connsiteX8" fmla="*/ 11664 w 15998"/>
                  <a:gd name="connsiteY8" fmla="*/ 0 h 38421"/>
                  <a:gd name="connsiteX9" fmla="*/ 15998 w 15998"/>
                  <a:gd name="connsiteY9" fmla="*/ 471 h 38421"/>
                  <a:gd name="connsiteX10" fmla="*/ 15301 w 15998"/>
                  <a:gd name="connsiteY10" fmla="*/ 4522 h 38421"/>
                  <a:gd name="connsiteX11" fmla="*/ 12568 w 15998"/>
                  <a:gd name="connsiteY11" fmla="*/ 4259 h 38421"/>
                  <a:gd name="connsiteX12" fmla="*/ 9573 w 15998"/>
                  <a:gd name="connsiteY12" fmla="*/ 5163 h 38421"/>
                  <a:gd name="connsiteX13" fmla="*/ 8706 w 15998"/>
                  <a:gd name="connsiteY13" fmla="*/ 8536 h 38421"/>
                  <a:gd name="connsiteX14" fmla="*/ 8706 w 15998"/>
                  <a:gd name="connsiteY14" fmla="*/ 11061 h 38421"/>
                  <a:gd name="connsiteX15" fmla="*/ 14038 w 15998"/>
                  <a:gd name="connsiteY15" fmla="*/ 11061 h 38421"/>
                  <a:gd name="connsiteX16" fmla="*/ 14038 w 15998"/>
                  <a:gd name="connsiteY16" fmla="*/ 14660 h 38421"/>
                  <a:gd name="connsiteX17" fmla="*/ 8706 w 15998"/>
                  <a:gd name="connsiteY17" fmla="*/ 14660 h 38421"/>
                  <a:gd name="connsiteX18" fmla="*/ 8706 w 15998"/>
                  <a:gd name="connsiteY18" fmla="*/ 38422 h 38421"/>
                  <a:gd name="connsiteX19" fmla="*/ 4089 w 15998"/>
                  <a:gd name="connsiteY19" fmla="*/ 38422 h 38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998" h="38421">
                    <a:moveTo>
                      <a:pt x="4089" y="38384"/>
                    </a:moveTo>
                    <a:lnTo>
                      <a:pt x="4089" y="14622"/>
                    </a:lnTo>
                    <a:lnTo>
                      <a:pt x="0" y="14622"/>
                    </a:lnTo>
                    <a:lnTo>
                      <a:pt x="0" y="11023"/>
                    </a:lnTo>
                    <a:lnTo>
                      <a:pt x="4089" y="11023"/>
                    </a:lnTo>
                    <a:lnTo>
                      <a:pt x="4089" y="8121"/>
                    </a:lnTo>
                    <a:cubicBezTo>
                      <a:pt x="4089" y="6275"/>
                      <a:pt x="4259" y="4918"/>
                      <a:pt x="4579" y="4033"/>
                    </a:cubicBezTo>
                    <a:cubicBezTo>
                      <a:pt x="5031" y="2827"/>
                      <a:pt x="5804" y="1847"/>
                      <a:pt x="6934" y="1112"/>
                    </a:cubicBezTo>
                    <a:cubicBezTo>
                      <a:pt x="8065" y="377"/>
                      <a:pt x="9629" y="0"/>
                      <a:pt x="11664" y="0"/>
                    </a:cubicBezTo>
                    <a:cubicBezTo>
                      <a:pt x="12964" y="0"/>
                      <a:pt x="14415" y="151"/>
                      <a:pt x="15998" y="471"/>
                    </a:cubicBezTo>
                    <a:lnTo>
                      <a:pt x="15301" y="4522"/>
                    </a:lnTo>
                    <a:cubicBezTo>
                      <a:pt x="14340" y="4353"/>
                      <a:pt x="13436" y="4259"/>
                      <a:pt x="12568" y="4259"/>
                    </a:cubicBezTo>
                    <a:cubicBezTo>
                      <a:pt x="11155" y="4259"/>
                      <a:pt x="10157" y="4560"/>
                      <a:pt x="9573" y="5163"/>
                    </a:cubicBezTo>
                    <a:cubicBezTo>
                      <a:pt x="8988" y="5766"/>
                      <a:pt x="8706" y="6897"/>
                      <a:pt x="8706" y="8536"/>
                    </a:cubicBezTo>
                    <a:lnTo>
                      <a:pt x="8706" y="11061"/>
                    </a:lnTo>
                    <a:lnTo>
                      <a:pt x="14038" y="11061"/>
                    </a:lnTo>
                    <a:lnTo>
                      <a:pt x="14038" y="14660"/>
                    </a:lnTo>
                    <a:lnTo>
                      <a:pt x="8706" y="14660"/>
                    </a:lnTo>
                    <a:lnTo>
                      <a:pt x="8706" y="38422"/>
                    </a:lnTo>
                    <a:lnTo>
                      <a:pt x="4089" y="3842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97" name="Freihandform: Form 3296">
                <a:extLst>
                  <a:ext uri="{FF2B5EF4-FFF2-40B4-BE49-F238E27FC236}">
                    <a16:creationId xmlns:a16="http://schemas.microsoft.com/office/drawing/2014/main" id="{046279B4-B714-85C4-C140-6DE5BAC84CE3}"/>
                  </a:ext>
                </a:extLst>
              </p:cNvPr>
              <p:cNvSpPr/>
              <p:nvPr/>
            </p:nvSpPr>
            <p:spPr>
              <a:xfrm>
                <a:off x="6673895" y="2505552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39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5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9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9" y="26268"/>
                    </a:cubicBezTo>
                    <a:cubicBezTo>
                      <a:pt x="18825" y="27813"/>
                      <a:pt x="16224" y="28585"/>
                      <a:pt x="13039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5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5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4" y="18485"/>
                      <a:pt x="5823" y="20803"/>
                      <a:pt x="7349" y="22386"/>
                    </a:cubicBezTo>
                    <a:cubicBezTo>
                      <a:pt x="8875" y="23969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59" y="7631"/>
                      <a:pt x="18599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49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86" name="Grafik 21">
              <a:extLst>
                <a:ext uri="{FF2B5EF4-FFF2-40B4-BE49-F238E27FC236}">
                  <a16:creationId xmlns:a16="http://schemas.microsoft.com/office/drawing/2014/main" id="{8F4EA306-AEC0-53EA-9488-D625E91FC3B1}"/>
                </a:ext>
              </a:extLst>
            </p:cNvPr>
            <p:cNvGrpSpPr/>
            <p:nvPr/>
          </p:nvGrpSpPr>
          <p:grpSpPr>
            <a:xfrm>
              <a:off x="6433416" y="2586221"/>
              <a:ext cx="321882" cy="38383"/>
              <a:chOff x="6433416" y="2586221"/>
              <a:chExt cx="321882" cy="38383"/>
            </a:xfrm>
            <a:solidFill>
              <a:srgbClr val="000000"/>
            </a:solidFill>
          </p:grpSpPr>
          <p:sp>
            <p:nvSpPr>
              <p:cNvPr id="3277" name="Freihandform: Form 3276">
                <a:extLst>
                  <a:ext uri="{FF2B5EF4-FFF2-40B4-BE49-F238E27FC236}">
                    <a16:creationId xmlns:a16="http://schemas.microsoft.com/office/drawing/2014/main" id="{72BB9168-02DF-EDFB-9FE4-8D0A46183680}"/>
                  </a:ext>
                </a:extLst>
              </p:cNvPr>
              <p:cNvSpPr/>
              <p:nvPr/>
            </p:nvSpPr>
            <p:spPr>
              <a:xfrm>
                <a:off x="6433416" y="2586221"/>
                <a:ext cx="25476" cy="37799"/>
              </a:xfrm>
              <a:custGeom>
                <a:avLst/>
                <a:gdLst>
                  <a:gd name="connsiteX0" fmla="*/ 0 w 25476"/>
                  <a:gd name="connsiteY0" fmla="*/ 37762 h 37799"/>
                  <a:gd name="connsiteX1" fmla="*/ 0 w 25476"/>
                  <a:gd name="connsiteY1" fmla="*/ 0 h 37799"/>
                  <a:gd name="connsiteX2" fmla="*/ 25476 w 25476"/>
                  <a:gd name="connsiteY2" fmla="*/ 0 h 37799"/>
                  <a:gd name="connsiteX3" fmla="*/ 25476 w 25476"/>
                  <a:gd name="connsiteY3" fmla="*/ 4466 h 37799"/>
                  <a:gd name="connsiteX4" fmla="*/ 4994 w 25476"/>
                  <a:gd name="connsiteY4" fmla="*/ 4466 h 37799"/>
                  <a:gd name="connsiteX5" fmla="*/ 4994 w 25476"/>
                  <a:gd name="connsiteY5" fmla="*/ 16168 h 37799"/>
                  <a:gd name="connsiteX6" fmla="*/ 22725 w 25476"/>
                  <a:gd name="connsiteY6" fmla="*/ 16168 h 37799"/>
                  <a:gd name="connsiteX7" fmla="*/ 22725 w 25476"/>
                  <a:gd name="connsiteY7" fmla="*/ 20634 h 37799"/>
                  <a:gd name="connsiteX8" fmla="*/ 4994 w 25476"/>
                  <a:gd name="connsiteY8" fmla="*/ 20634 h 37799"/>
                  <a:gd name="connsiteX9" fmla="*/ 4994 w 25476"/>
                  <a:gd name="connsiteY9" fmla="*/ 37800 h 37799"/>
                  <a:gd name="connsiteX10" fmla="*/ 0 w 25476"/>
                  <a:gd name="connsiteY10" fmla="*/ 37800 h 37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476" h="37799">
                    <a:moveTo>
                      <a:pt x="0" y="37762"/>
                    </a:moveTo>
                    <a:lnTo>
                      <a:pt x="0" y="0"/>
                    </a:lnTo>
                    <a:lnTo>
                      <a:pt x="25476" y="0"/>
                    </a:lnTo>
                    <a:lnTo>
                      <a:pt x="25476" y="4466"/>
                    </a:lnTo>
                    <a:lnTo>
                      <a:pt x="4994" y="4466"/>
                    </a:lnTo>
                    <a:lnTo>
                      <a:pt x="4994" y="16168"/>
                    </a:lnTo>
                    <a:lnTo>
                      <a:pt x="22725" y="16168"/>
                    </a:lnTo>
                    <a:lnTo>
                      <a:pt x="22725" y="20634"/>
                    </a:lnTo>
                    <a:lnTo>
                      <a:pt x="4994" y="20634"/>
                    </a:lnTo>
                    <a:lnTo>
                      <a:pt x="4994" y="37800"/>
                    </a:lnTo>
                    <a:lnTo>
                      <a:pt x="0" y="37800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78" name="Freihandform: Form 3277">
                <a:extLst>
                  <a:ext uri="{FF2B5EF4-FFF2-40B4-BE49-F238E27FC236}">
                    <a16:creationId xmlns:a16="http://schemas.microsoft.com/office/drawing/2014/main" id="{AA0FBE6F-5589-A736-0A07-34FF4017702A}"/>
                  </a:ext>
                </a:extLst>
              </p:cNvPr>
              <p:cNvSpPr/>
              <p:nvPr/>
            </p:nvSpPr>
            <p:spPr>
              <a:xfrm>
                <a:off x="6464677" y="2596585"/>
                <a:ext cx="22159" cy="28020"/>
              </a:xfrm>
              <a:custGeom>
                <a:avLst/>
                <a:gdLst>
                  <a:gd name="connsiteX0" fmla="*/ 18033 w 22159"/>
                  <a:gd name="connsiteY0" fmla="*/ 27398 h 28020"/>
                  <a:gd name="connsiteX1" fmla="*/ 18033 w 22159"/>
                  <a:gd name="connsiteY1" fmla="*/ 23385 h 28020"/>
                  <a:gd name="connsiteX2" fmla="*/ 9346 w 22159"/>
                  <a:gd name="connsiteY2" fmla="*/ 28020 h 28020"/>
                  <a:gd name="connsiteX3" fmla="*/ 4824 w 22159"/>
                  <a:gd name="connsiteY3" fmla="*/ 27097 h 28020"/>
                  <a:gd name="connsiteX4" fmla="*/ 1715 w 22159"/>
                  <a:gd name="connsiteY4" fmla="*/ 24760 h 28020"/>
                  <a:gd name="connsiteX5" fmla="*/ 283 w 22159"/>
                  <a:gd name="connsiteY5" fmla="*/ 21312 h 28020"/>
                  <a:gd name="connsiteX6" fmla="*/ 0 w 22159"/>
                  <a:gd name="connsiteY6" fmla="*/ 16978 h 28020"/>
                  <a:gd name="connsiteX7" fmla="*/ 0 w 22159"/>
                  <a:gd name="connsiteY7" fmla="*/ 19 h 28020"/>
                  <a:gd name="connsiteX8" fmla="*/ 4635 w 22159"/>
                  <a:gd name="connsiteY8" fmla="*/ 19 h 28020"/>
                  <a:gd name="connsiteX9" fmla="*/ 4635 w 22159"/>
                  <a:gd name="connsiteY9" fmla="*/ 15188 h 28020"/>
                  <a:gd name="connsiteX10" fmla="*/ 4918 w 22159"/>
                  <a:gd name="connsiteY10" fmla="*/ 20087 h 28020"/>
                  <a:gd name="connsiteX11" fmla="*/ 6765 w 22159"/>
                  <a:gd name="connsiteY11" fmla="*/ 22951 h 28020"/>
                  <a:gd name="connsiteX12" fmla="*/ 10270 w 22159"/>
                  <a:gd name="connsiteY12" fmla="*/ 23988 h 28020"/>
                  <a:gd name="connsiteX13" fmla="*/ 14189 w 22159"/>
                  <a:gd name="connsiteY13" fmla="*/ 22914 h 28020"/>
                  <a:gd name="connsiteX14" fmla="*/ 16771 w 22159"/>
                  <a:gd name="connsiteY14" fmla="*/ 20012 h 28020"/>
                  <a:gd name="connsiteX15" fmla="*/ 17524 w 22159"/>
                  <a:gd name="connsiteY15" fmla="*/ 14660 h 28020"/>
                  <a:gd name="connsiteX16" fmla="*/ 17524 w 22159"/>
                  <a:gd name="connsiteY16" fmla="*/ 0 h 28020"/>
                  <a:gd name="connsiteX17" fmla="*/ 22160 w 22159"/>
                  <a:gd name="connsiteY17" fmla="*/ 0 h 28020"/>
                  <a:gd name="connsiteX18" fmla="*/ 22160 w 22159"/>
                  <a:gd name="connsiteY18" fmla="*/ 27361 h 28020"/>
                  <a:gd name="connsiteX19" fmla="*/ 18014 w 22159"/>
                  <a:gd name="connsiteY19" fmla="*/ 27361 h 2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159" h="28020">
                    <a:moveTo>
                      <a:pt x="18033" y="27398"/>
                    </a:moveTo>
                    <a:lnTo>
                      <a:pt x="18033" y="23385"/>
                    </a:lnTo>
                    <a:cubicBezTo>
                      <a:pt x="15904" y="26475"/>
                      <a:pt x="13002" y="28020"/>
                      <a:pt x="9346" y="28020"/>
                    </a:cubicBezTo>
                    <a:cubicBezTo>
                      <a:pt x="7726" y="28020"/>
                      <a:pt x="6218" y="27719"/>
                      <a:pt x="4824" y="27097"/>
                    </a:cubicBezTo>
                    <a:cubicBezTo>
                      <a:pt x="3430" y="26475"/>
                      <a:pt x="2393" y="25702"/>
                      <a:pt x="1715" y="24760"/>
                    </a:cubicBezTo>
                    <a:cubicBezTo>
                      <a:pt x="1036" y="23818"/>
                      <a:pt x="565" y="22669"/>
                      <a:pt x="283" y="21312"/>
                    </a:cubicBezTo>
                    <a:cubicBezTo>
                      <a:pt x="94" y="20408"/>
                      <a:pt x="0" y="18957"/>
                      <a:pt x="0" y="16978"/>
                    </a:cubicBezTo>
                    <a:lnTo>
                      <a:pt x="0" y="19"/>
                    </a:lnTo>
                    <a:lnTo>
                      <a:pt x="4635" y="19"/>
                    </a:lnTo>
                    <a:lnTo>
                      <a:pt x="4635" y="15188"/>
                    </a:lnTo>
                    <a:cubicBezTo>
                      <a:pt x="4635" y="17619"/>
                      <a:pt x="4730" y="19239"/>
                      <a:pt x="4918" y="20087"/>
                    </a:cubicBezTo>
                    <a:cubicBezTo>
                      <a:pt x="5201" y="21312"/>
                      <a:pt x="5823" y="22273"/>
                      <a:pt x="6765" y="22951"/>
                    </a:cubicBezTo>
                    <a:cubicBezTo>
                      <a:pt x="7707" y="23649"/>
                      <a:pt x="8875" y="23988"/>
                      <a:pt x="10270" y="23988"/>
                    </a:cubicBezTo>
                    <a:cubicBezTo>
                      <a:pt x="11664" y="23988"/>
                      <a:pt x="12964" y="23630"/>
                      <a:pt x="14189" y="22914"/>
                    </a:cubicBezTo>
                    <a:cubicBezTo>
                      <a:pt x="15414" y="22198"/>
                      <a:pt x="16281" y="21237"/>
                      <a:pt x="16771" y="20012"/>
                    </a:cubicBezTo>
                    <a:cubicBezTo>
                      <a:pt x="17260" y="18787"/>
                      <a:pt x="17524" y="16997"/>
                      <a:pt x="17524" y="14660"/>
                    </a:cubicBezTo>
                    <a:lnTo>
                      <a:pt x="17524" y="0"/>
                    </a:lnTo>
                    <a:lnTo>
                      <a:pt x="22160" y="0"/>
                    </a:lnTo>
                    <a:lnTo>
                      <a:pt x="22160" y="27361"/>
                    </a:lnTo>
                    <a:lnTo>
                      <a:pt x="18014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79" name="Freihandform: Form 3278">
                <a:extLst>
                  <a:ext uri="{FF2B5EF4-FFF2-40B4-BE49-F238E27FC236}">
                    <a16:creationId xmlns:a16="http://schemas.microsoft.com/office/drawing/2014/main" id="{EC528B31-5DB1-A771-8BDB-FB924A646C1D}"/>
                  </a:ext>
                </a:extLst>
              </p:cNvPr>
              <p:cNvSpPr/>
              <p:nvPr/>
            </p:nvSpPr>
            <p:spPr>
              <a:xfrm>
                <a:off x="6492565" y="2596001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39 w 25231"/>
                  <a:gd name="connsiteY3" fmla="*/ 28585 h 28585"/>
                  <a:gd name="connsiteX4" fmla="*/ 3523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5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9" y="26268"/>
                    </a:cubicBezTo>
                    <a:cubicBezTo>
                      <a:pt x="18843" y="27813"/>
                      <a:pt x="16224" y="28585"/>
                      <a:pt x="13039" y="28585"/>
                    </a:cubicBezTo>
                    <a:cubicBezTo>
                      <a:pt x="9045" y="28585"/>
                      <a:pt x="5860" y="27361"/>
                      <a:pt x="3523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5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5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4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59" y="7631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49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80" name="Freihandform: Form 3279">
                <a:extLst>
                  <a:ext uri="{FF2B5EF4-FFF2-40B4-BE49-F238E27FC236}">
                    <a16:creationId xmlns:a16="http://schemas.microsoft.com/office/drawing/2014/main" id="{1477085C-9F54-4229-F889-2DEC20195738}"/>
                  </a:ext>
                </a:extLst>
              </p:cNvPr>
              <p:cNvSpPr/>
              <p:nvPr/>
            </p:nvSpPr>
            <p:spPr>
              <a:xfrm>
                <a:off x="6523431" y="2596001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5 w 14867"/>
                  <a:gd name="connsiteY2" fmla="*/ 622 h 27982"/>
                  <a:gd name="connsiteX3" fmla="*/ 4165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8 w 14867"/>
                  <a:gd name="connsiteY6" fmla="*/ 1488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6 w 14867"/>
                  <a:gd name="connsiteY11" fmla="*/ 13661 h 27982"/>
                  <a:gd name="connsiteX12" fmla="*/ 4636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5" y="622"/>
                    </a:lnTo>
                    <a:lnTo>
                      <a:pt x="4165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8" y="1488"/>
                    </a:cubicBezTo>
                    <a:lnTo>
                      <a:pt x="13266" y="5785"/>
                    </a:lnTo>
                    <a:cubicBezTo>
                      <a:pt x="12135" y="5106"/>
                      <a:pt x="11005" y="4786"/>
                      <a:pt x="9874" y="4786"/>
                    </a:cubicBezTo>
                    <a:cubicBezTo>
                      <a:pt x="8857" y="4786"/>
                      <a:pt x="7952" y="5088"/>
                      <a:pt x="7142" y="5710"/>
                    </a:cubicBezTo>
                    <a:cubicBezTo>
                      <a:pt x="6332" y="6312"/>
                      <a:pt x="5766" y="7160"/>
                      <a:pt x="5408" y="8253"/>
                    </a:cubicBezTo>
                    <a:cubicBezTo>
                      <a:pt x="4899" y="9912"/>
                      <a:pt x="4636" y="11702"/>
                      <a:pt x="4636" y="13661"/>
                    </a:cubicBezTo>
                    <a:lnTo>
                      <a:pt x="4636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81" name="Freihandform: Form 3280">
                <a:extLst>
                  <a:ext uri="{FF2B5EF4-FFF2-40B4-BE49-F238E27FC236}">
                    <a16:creationId xmlns:a16="http://schemas.microsoft.com/office/drawing/2014/main" id="{3D9B3749-CF98-C31D-11A2-4B50B6C5454F}"/>
                  </a:ext>
                </a:extLst>
              </p:cNvPr>
              <p:cNvSpPr/>
              <p:nvPr/>
            </p:nvSpPr>
            <p:spPr>
              <a:xfrm>
                <a:off x="6538505" y="2587069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7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1 h 37272"/>
                  <a:gd name="connsiteX7" fmla="*/ 0 w 13341"/>
                  <a:gd name="connsiteY7" fmla="*/ 13171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3 h 37272"/>
                  <a:gd name="connsiteX13" fmla="*/ 12663 w 13341"/>
                  <a:gd name="connsiteY13" fmla="*/ 9553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4 w 13341"/>
                  <a:gd name="connsiteY17" fmla="*/ 31694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7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1" y="33522"/>
                      <a:pt x="3392" y="31694"/>
                      <a:pt x="3392" y="28906"/>
                    </a:cubicBezTo>
                    <a:lnTo>
                      <a:pt x="3392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3"/>
                    </a:lnTo>
                    <a:lnTo>
                      <a:pt x="12663" y="9553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4" y="31694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03" y="32825"/>
                      <a:pt x="9949" y="32938"/>
                      <a:pt x="10628" y="32938"/>
                    </a:cubicBezTo>
                    <a:cubicBezTo>
                      <a:pt x="11137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82" name="Freihandform: Form 3281">
                <a:extLst>
                  <a:ext uri="{FF2B5EF4-FFF2-40B4-BE49-F238E27FC236}">
                    <a16:creationId xmlns:a16="http://schemas.microsoft.com/office/drawing/2014/main" id="{0E2C31E9-9972-C215-93BD-32A33B870010}"/>
                  </a:ext>
                </a:extLst>
              </p:cNvPr>
              <p:cNvSpPr/>
              <p:nvPr/>
            </p:nvSpPr>
            <p:spPr>
              <a:xfrm>
                <a:off x="6554145" y="2596001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2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2 w 25231"/>
                  <a:gd name="connsiteY9" fmla="*/ 14245 h 28585"/>
                  <a:gd name="connsiteX10" fmla="*/ 25213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9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3" y="24722"/>
                      <a:pt x="20879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2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2" y="9723"/>
                      <a:pt x="25232" y="14245"/>
                    </a:cubicBezTo>
                    <a:cubicBezTo>
                      <a:pt x="25232" y="14528"/>
                      <a:pt x="25232" y="14924"/>
                      <a:pt x="25213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9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60" y="7631"/>
                      <a:pt x="18599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49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83" name="Freihandform: Form 3282">
                <a:extLst>
                  <a:ext uri="{FF2B5EF4-FFF2-40B4-BE49-F238E27FC236}">
                    <a16:creationId xmlns:a16="http://schemas.microsoft.com/office/drawing/2014/main" id="{004032F0-D470-E06E-99BF-5765754F6E6B}"/>
                  </a:ext>
                </a:extLst>
              </p:cNvPr>
              <p:cNvSpPr/>
              <p:nvPr/>
            </p:nvSpPr>
            <p:spPr>
              <a:xfrm>
                <a:off x="6582241" y="2596622"/>
                <a:ext cx="25117" cy="27379"/>
              </a:xfrm>
              <a:custGeom>
                <a:avLst/>
                <a:gdLst>
                  <a:gd name="connsiteX0" fmla="*/ 10401 w 25117"/>
                  <a:gd name="connsiteY0" fmla="*/ 27361 h 27379"/>
                  <a:gd name="connsiteX1" fmla="*/ 0 w 25117"/>
                  <a:gd name="connsiteY1" fmla="*/ 0 h 27379"/>
                  <a:gd name="connsiteX2" fmla="*/ 4899 w 25117"/>
                  <a:gd name="connsiteY2" fmla="*/ 0 h 27379"/>
                  <a:gd name="connsiteX3" fmla="*/ 10778 w 25117"/>
                  <a:gd name="connsiteY3" fmla="*/ 16394 h 27379"/>
                  <a:gd name="connsiteX4" fmla="*/ 12531 w 25117"/>
                  <a:gd name="connsiteY4" fmla="*/ 21915 h 27379"/>
                  <a:gd name="connsiteX5" fmla="*/ 14264 w 25117"/>
                  <a:gd name="connsiteY5" fmla="*/ 16714 h 27379"/>
                  <a:gd name="connsiteX6" fmla="*/ 20350 w 25117"/>
                  <a:gd name="connsiteY6" fmla="*/ 19 h 27379"/>
                  <a:gd name="connsiteX7" fmla="*/ 25118 w 25117"/>
                  <a:gd name="connsiteY7" fmla="*/ 19 h 27379"/>
                  <a:gd name="connsiteX8" fmla="*/ 14754 w 25117"/>
                  <a:gd name="connsiteY8" fmla="*/ 27379 h 27379"/>
                  <a:gd name="connsiteX9" fmla="*/ 10420 w 25117"/>
                  <a:gd name="connsiteY9" fmla="*/ 27379 h 2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17" h="27379">
                    <a:moveTo>
                      <a:pt x="10401" y="27361"/>
                    </a:moveTo>
                    <a:lnTo>
                      <a:pt x="0" y="0"/>
                    </a:lnTo>
                    <a:lnTo>
                      <a:pt x="4899" y="0"/>
                    </a:lnTo>
                    <a:lnTo>
                      <a:pt x="10778" y="16394"/>
                    </a:lnTo>
                    <a:cubicBezTo>
                      <a:pt x="11419" y="18165"/>
                      <a:pt x="12003" y="19993"/>
                      <a:pt x="12531" y="21915"/>
                    </a:cubicBezTo>
                    <a:cubicBezTo>
                      <a:pt x="12945" y="20464"/>
                      <a:pt x="13511" y="18730"/>
                      <a:pt x="14264" y="16714"/>
                    </a:cubicBezTo>
                    <a:lnTo>
                      <a:pt x="20350" y="19"/>
                    </a:lnTo>
                    <a:lnTo>
                      <a:pt x="25118" y="19"/>
                    </a:lnTo>
                    <a:lnTo>
                      <a:pt x="14754" y="27379"/>
                    </a:lnTo>
                    <a:lnTo>
                      <a:pt x="10420" y="27379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84" name="Freihandform: Form 3283">
                <a:extLst>
                  <a:ext uri="{FF2B5EF4-FFF2-40B4-BE49-F238E27FC236}">
                    <a16:creationId xmlns:a16="http://schemas.microsoft.com/office/drawing/2014/main" id="{DE9C464B-8452-1A83-F47C-B429EDB4BD73}"/>
                  </a:ext>
                </a:extLst>
              </p:cNvPr>
              <p:cNvSpPr/>
              <p:nvPr/>
            </p:nvSpPr>
            <p:spPr>
              <a:xfrm>
                <a:off x="6609865" y="2596001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39 w 25231"/>
                  <a:gd name="connsiteY3" fmla="*/ 28585 h 28585"/>
                  <a:gd name="connsiteX4" fmla="*/ 3523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5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2" y="24722"/>
                      <a:pt x="20879" y="26268"/>
                    </a:cubicBezTo>
                    <a:cubicBezTo>
                      <a:pt x="18843" y="27813"/>
                      <a:pt x="16224" y="28585"/>
                      <a:pt x="13039" y="28585"/>
                    </a:cubicBezTo>
                    <a:cubicBezTo>
                      <a:pt x="9045" y="28585"/>
                      <a:pt x="5860" y="27361"/>
                      <a:pt x="3523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5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1" y="9723"/>
                      <a:pt x="25231" y="14245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4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59" y="7631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49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85" name="Freihandform: Form 3284">
                <a:extLst>
                  <a:ext uri="{FF2B5EF4-FFF2-40B4-BE49-F238E27FC236}">
                    <a16:creationId xmlns:a16="http://schemas.microsoft.com/office/drawing/2014/main" id="{AB835CEE-4F4A-B2D5-CDF9-661A75EDA922}"/>
                  </a:ext>
                </a:extLst>
              </p:cNvPr>
              <p:cNvSpPr/>
              <p:nvPr/>
            </p:nvSpPr>
            <p:spPr>
              <a:xfrm>
                <a:off x="6640768" y="2596001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1 w 22235"/>
                  <a:gd name="connsiteY6" fmla="*/ 3222 h 28001"/>
                  <a:gd name="connsiteX7" fmla="*/ 21972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1" y="3222"/>
                    </a:cubicBezTo>
                    <a:cubicBezTo>
                      <a:pt x="21199" y="4183"/>
                      <a:pt x="21689" y="5333"/>
                      <a:pt x="21972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2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86" name="Freihandform: Form 3285">
                <a:extLst>
                  <a:ext uri="{FF2B5EF4-FFF2-40B4-BE49-F238E27FC236}">
                    <a16:creationId xmlns:a16="http://schemas.microsoft.com/office/drawing/2014/main" id="{1BE7A385-554C-E45E-89E9-421A3C8B020E}"/>
                  </a:ext>
                </a:extLst>
              </p:cNvPr>
              <p:cNvSpPr/>
              <p:nvPr/>
            </p:nvSpPr>
            <p:spPr>
              <a:xfrm>
                <a:off x="6667583" y="2587069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7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1 h 37272"/>
                  <a:gd name="connsiteX7" fmla="*/ 0 w 13341"/>
                  <a:gd name="connsiteY7" fmla="*/ 13171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3 h 37272"/>
                  <a:gd name="connsiteX13" fmla="*/ 12663 w 13341"/>
                  <a:gd name="connsiteY13" fmla="*/ 9553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4 w 13341"/>
                  <a:gd name="connsiteY17" fmla="*/ 31694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7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1" y="33522"/>
                      <a:pt x="3392" y="31694"/>
                      <a:pt x="3392" y="28906"/>
                    </a:cubicBezTo>
                    <a:lnTo>
                      <a:pt x="3392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3"/>
                    </a:lnTo>
                    <a:lnTo>
                      <a:pt x="12663" y="9553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4" y="31694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03" y="32825"/>
                      <a:pt x="9949" y="32938"/>
                      <a:pt x="10628" y="32938"/>
                    </a:cubicBezTo>
                    <a:cubicBezTo>
                      <a:pt x="11137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87" name="Freihandform: Form 3286">
                <a:extLst>
                  <a:ext uri="{FF2B5EF4-FFF2-40B4-BE49-F238E27FC236}">
                    <a16:creationId xmlns:a16="http://schemas.microsoft.com/office/drawing/2014/main" id="{11FDE68B-3068-F1A2-11DE-55D2AAE7ABF1}"/>
                  </a:ext>
                </a:extLst>
              </p:cNvPr>
              <p:cNvSpPr/>
              <p:nvPr/>
            </p:nvSpPr>
            <p:spPr>
              <a:xfrm>
                <a:off x="6684674" y="2596585"/>
                <a:ext cx="22159" cy="28020"/>
              </a:xfrm>
              <a:custGeom>
                <a:avLst/>
                <a:gdLst>
                  <a:gd name="connsiteX0" fmla="*/ 18033 w 22159"/>
                  <a:gd name="connsiteY0" fmla="*/ 27398 h 28020"/>
                  <a:gd name="connsiteX1" fmla="*/ 18033 w 22159"/>
                  <a:gd name="connsiteY1" fmla="*/ 23385 h 28020"/>
                  <a:gd name="connsiteX2" fmla="*/ 9346 w 22159"/>
                  <a:gd name="connsiteY2" fmla="*/ 28020 h 28020"/>
                  <a:gd name="connsiteX3" fmla="*/ 4824 w 22159"/>
                  <a:gd name="connsiteY3" fmla="*/ 27097 h 28020"/>
                  <a:gd name="connsiteX4" fmla="*/ 1715 w 22159"/>
                  <a:gd name="connsiteY4" fmla="*/ 24760 h 28020"/>
                  <a:gd name="connsiteX5" fmla="*/ 283 w 22159"/>
                  <a:gd name="connsiteY5" fmla="*/ 21312 h 28020"/>
                  <a:gd name="connsiteX6" fmla="*/ 0 w 22159"/>
                  <a:gd name="connsiteY6" fmla="*/ 16978 h 28020"/>
                  <a:gd name="connsiteX7" fmla="*/ 0 w 22159"/>
                  <a:gd name="connsiteY7" fmla="*/ 19 h 28020"/>
                  <a:gd name="connsiteX8" fmla="*/ 4635 w 22159"/>
                  <a:gd name="connsiteY8" fmla="*/ 19 h 28020"/>
                  <a:gd name="connsiteX9" fmla="*/ 4635 w 22159"/>
                  <a:gd name="connsiteY9" fmla="*/ 15188 h 28020"/>
                  <a:gd name="connsiteX10" fmla="*/ 4918 w 22159"/>
                  <a:gd name="connsiteY10" fmla="*/ 20087 h 28020"/>
                  <a:gd name="connsiteX11" fmla="*/ 6765 w 22159"/>
                  <a:gd name="connsiteY11" fmla="*/ 22951 h 28020"/>
                  <a:gd name="connsiteX12" fmla="*/ 10270 w 22159"/>
                  <a:gd name="connsiteY12" fmla="*/ 23988 h 28020"/>
                  <a:gd name="connsiteX13" fmla="*/ 14189 w 22159"/>
                  <a:gd name="connsiteY13" fmla="*/ 22914 h 28020"/>
                  <a:gd name="connsiteX14" fmla="*/ 16771 w 22159"/>
                  <a:gd name="connsiteY14" fmla="*/ 20012 h 28020"/>
                  <a:gd name="connsiteX15" fmla="*/ 17524 w 22159"/>
                  <a:gd name="connsiteY15" fmla="*/ 14660 h 28020"/>
                  <a:gd name="connsiteX16" fmla="*/ 17524 w 22159"/>
                  <a:gd name="connsiteY16" fmla="*/ 0 h 28020"/>
                  <a:gd name="connsiteX17" fmla="*/ 22160 w 22159"/>
                  <a:gd name="connsiteY17" fmla="*/ 0 h 28020"/>
                  <a:gd name="connsiteX18" fmla="*/ 22160 w 22159"/>
                  <a:gd name="connsiteY18" fmla="*/ 27361 h 28020"/>
                  <a:gd name="connsiteX19" fmla="*/ 18014 w 22159"/>
                  <a:gd name="connsiteY19" fmla="*/ 27361 h 2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159" h="28020">
                    <a:moveTo>
                      <a:pt x="18033" y="27398"/>
                    </a:moveTo>
                    <a:lnTo>
                      <a:pt x="18033" y="23385"/>
                    </a:lnTo>
                    <a:cubicBezTo>
                      <a:pt x="15904" y="26475"/>
                      <a:pt x="13002" y="28020"/>
                      <a:pt x="9346" y="28020"/>
                    </a:cubicBezTo>
                    <a:cubicBezTo>
                      <a:pt x="7726" y="28020"/>
                      <a:pt x="6218" y="27719"/>
                      <a:pt x="4824" y="27097"/>
                    </a:cubicBezTo>
                    <a:cubicBezTo>
                      <a:pt x="3430" y="26475"/>
                      <a:pt x="2393" y="25702"/>
                      <a:pt x="1715" y="24760"/>
                    </a:cubicBezTo>
                    <a:cubicBezTo>
                      <a:pt x="1036" y="23818"/>
                      <a:pt x="565" y="22669"/>
                      <a:pt x="283" y="21312"/>
                    </a:cubicBezTo>
                    <a:cubicBezTo>
                      <a:pt x="94" y="20408"/>
                      <a:pt x="0" y="18957"/>
                      <a:pt x="0" y="16978"/>
                    </a:cubicBezTo>
                    <a:lnTo>
                      <a:pt x="0" y="19"/>
                    </a:lnTo>
                    <a:lnTo>
                      <a:pt x="4635" y="19"/>
                    </a:lnTo>
                    <a:lnTo>
                      <a:pt x="4635" y="15188"/>
                    </a:lnTo>
                    <a:cubicBezTo>
                      <a:pt x="4635" y="17619"/>
                      <a:pt x="4730" y="19239"/>
                      <a:pt x="4918" y="20087"/>
                    </a:cubicBezTo>
                    <a:cubicBezTo>
                      <a:pt x="5201" y="21312"/>
                      <a:pt x="5823" y="22273"/>
                      <a:pt x="6765" y="22951"/>
                    </a:cubicBezTo>
                    <a:cubicBezTo>
                      <a:pt x="7707" y="23649"/>
                      <a:pt x="8875" y="23988"/>
                      <a:pt x="10270" y="23988"/>
                    </a:cubicBezTo>
                    <a:cubicBezTo>
                      <a:pt x="11664" y="23988"/>
                      <a:pt x="12964" y="23630"/>
                      <a:pt x="14189" y="22914"/>
                    </a:cubicBezTo>
                    <a:cubicBezTo>
                      <a:pt x="15414" y="22198"/>
                      <a:pt x="16281" y="21237"/>
                      <a:pt x="16771" y="20012"/>
                    </a:cubicBezTo>
                    <a:cubicBezTo>
                      <a:pt x="17260" y="18787"/>
                      <a:pt x="17524" y="16997"/>
                      <a:pt x="17524" y="14660"/>
                    </a:cubicBezTo>
                    <a:lnTo>
                      <a:pt x="17524" y="0"/>
                    </a:lnTo>
                    <a:lnTo>
                      <a:pt x="22160" y="0"/>
                    </a:lnTo>
                    <a:lnTo>
                      <a:pt x="22160" y="27361"/>
                    </a:lnTo>
                    <a:lnTo>
                      <a:pt x="18014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88" name="Freihandform: Form 3287">
                <a:extLst>
                  <a:ext uri="{FF2B5EF4-FFF2-40B4-BE49-F238E27FC236}">
                    <a16:creationId xmlns:a16="http://schemas.microsoft.com/office/drawing/2014/main" id="{FF633153-8F79-A9E9-A174-1F4A3FB16D52}"/>
                  </a:ext>
                </a:extLst>
              </p:cNvPr>
              <p:cNvSpPr/>
              <p:nvPr/>
            </p:nvSpPr>
            <p:spPr>
              <a:xfrm>
                <a:off x="6714069" y="2596001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8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8"/>
                    </a:cubicBezTo>
                    <a:lnTo>
                      <a:pt x="13266" y="5785"/>
                    </a:lnTo>
                    <a:cubicBezTo>
                      <a:pt x="12135" y="5106"/>
                      <a:pt x="11004" y="4786"/>
                      <a:pt x="9874" y="4786"/>
                    </a:cubicBezTo>
                    <a:cubicBezTo>
                      <a:pt x="8856" y="4786"/>
                      <a:pt x="7952" y="5088"/>
                      <a:pt x="7142" y="5710"/>
                    </a:cubicBezTo>
                    <a:cubicBezTo>
                      <a:pt x="6331" y="6312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89" name="Freihandform: Form 3288">
                <a:extLst>
                  <a:ext uri="{FF2B5EF4-FFF2-40B4-BE49-F238E27FC236}">
                    <a16:creationId xmlns:a16="http://schemas.microsoft.com/office/drawing/2014/main" id="{BD158C0F-4A99-62B0-26A3-18EA62C0C133}"/>
                  </a:ext>
                </a:extLst>
              </p:cNvPr>
              <p:cNvSpPr/>
              <p:nvPr/>
            </p:nvSpPr>
            <p:spPr>
              <a:xfrm>
                <a:off x="6730105" y="2595982"/>
                <a:ext cx="25193" cy="28622"/>
              </a:xfrm>
              <a:custGeom>
                <a:avLst/>
                <a:gdLst>
                  <a:gd name="connsiteX0" fmla="*/ 19427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0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3 w 25193"/>
                  <a:gd name="connsiteY25" fmla="*/ 27963 h 28622"/>
                  <a:gd name="connsiteX26" fmla="*/ 20350 w 25193"/>
                  <a:gd name="connsiteY26" fmla="*/ 27963 h 28622"/>
                  <a:gd name="connsiteX27" fmla="*/ 19427 w 25193"/>
                  <a:gd name="connsiteY27" fmla="*/ 24590 h 28622"/>
                  <a:gd name="connsiteX28" fmla="*/ 19032 w 25193"/>
                  <a:gd name="connsiteY28" fmla="*/ 14264 h 28622"/>
                  <a:gd name="connsiteX29" fmla="*/ 11456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0 w 25193"/>
                  <a:gd name="connsiteY37" fmla="*/ 15979 h 28622"/>
                  <a:gd name="connsiteX38" fmla="*/ 19050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7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2" y="25834"/>
                      <a:pt x="24609" y="26927"/>
                      <a:pt x="25193" y="27963"/>
                    </a:cubicBezTo>
                    <a:lnTo>
                      <a:pt x="20350" y="27963"/>
                    </a:lnTo>
                    <a:cubicBezTo>
                      <a:pt x="19861" y="27002"/>
                      <a:pt x="19559" y="25872"/>
                      <a:pt x="19427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87" name="Grafik 21">
              <a:extLst>
                <a:ext uri="{FF2B5EF4-FFF2-40B4-BE49-F238E27FC236}">
                  <a16:creationId xmlns:a16="http://schemas.microsoft.com/office/drawing/2014/main" id="{9CEAF0B0-F630-F101-D680-D071D316B60A}"/>
                </a:ext>
              </a:extLst>
            </p:cNvPr>
            <p:cNvGrpSpPr/>
            <p:nvPr/>
          </p:nvGrpSpPr>
          <p:grpSpPr>
            <a:xfrm>
              <a:off x="6577323" y="2244930"/>
              <a:ext cx="166877" cy="49124"/>
              <a:chOff x="6577323" y="2244930"/>
              <a:chExt cx="166877" cy="49124"/>
            </a:xfrm>
            <a:solidFill>
              <a:srgbClr val="000000"/>
            </a:solidFill>
          </p:grpSpPr>
          <p:sp>
            <p:nvSpPr>
              <p:cNvPr id="3271" name="Freihandform: Form 3270">
                <a:extLst>
                  <a:ext uri="{FF2B5EF4-FFF2-40B4-BE49-F238E27FC236}">
                    <a16:creationId xmlns:a16="http://schemas.microsoft.com/office/drawing/2014/main" id="{0AB39CD5-540E-1462-ECCE-F4C46ECFBBFB}"/>
                  </a:ext>
                </a:extLst>
              </p:cNvPr>
              <p:cNvSpPr/>
              <p:nvPr/>
            </p:nvSpPr>
            <p:spPr>
              <a:xfrm>
                <a:off x="6577323" y="2245156"/>
                <a:ext cx="36047" cy="37762"/>
              </a:xfrm>
              <a:custGeom>
                <a:avLst/>
                <a:gdLst>
                  <a:gd name="connsiteX0" fmla="*/ 0 w 36047"/>
                  <a:gd name="connsiteY0" fmla="*/ 37762 h 37762"/>
                  <a:gd name="connsiteX1" fmla="*/ 0 w 36047"/>
                  <a:gd name="connsiteY1" fmla="*/ 0 h 37762"/>
                  <a:gd name="connsiteX2" fmla="*/ 7518 w 36047"/>
                  <a:gd name="connsiteY2" fmla="*/ 0 h 37762"/>
                  <a:gd name="connsiteX3" fmla="*/ 16450 w 36047"/>
                  <a:gd name="connsiteY3" fmla="*/ 26739 h 37762"/>
                  <a:gd name="connsiteX4" fmla="*/ 18259 w 36047"/>
                  <a:gd name="connsiteY4" fmla="*/ 32335 h 37762"/>
                  <a:gd name="connsiteX5" fmla="*/ 20275 w 36047"/>
                  <a:gd name="connsiteY5" fmla="*/ 26286 h 37762"/>
                  <a:gd name="connsiteX6" fmla="*/ 29320 w 36047"/>
                  <a:gd name="connsiteY6" fmla="*/ 0 h 37762"/>
                  <a:gd name="connsiteX7" fmla="*/ 36047 w 36047"/>
                  <a:gd name="connsiteY7" fmla="*/ 0 h 37762"/>
                  <a:gd name="connsiteX8" fmla="*/ 36047 w 36047"/>
                  <a:gd name="connsiteY8" fmla="*/ 37762 h 37762"/>
                  <a:gd name="connsiteX9" fmla="*/ 31224 w 36047"/>
                  <a:gd name="connsiteY9" fmla="*/ 37762 h 37762"/>
                  <a:gd name="connsiteX10" fmla="*/ 31224 w 36047"/>
                  <a:gd name="connsiteY10" fmla="*/ 6143 h 37762"/>
                  <a:gd name="connsiteX11" fmla="*/ 20257 w 36047"/>
                  <a:gd name="connsiteY11" fmla="*/ 37762 h 37762"/>
                  <a:gd name="connsiteX12" fmla="*/ 15753 w 36047"/>
                  <a:gd name="connsiteY12" fmla="*/ 37762 h 37762"/>
                  <a:gd name="connsiteX13" fmla="*/ 4824 w 36047"/>
                  <a:gd name="connsiteY13" fmla="*/ 5615 h 37762"/>
                  <a:gd name="connsiteX14" fmla="*/ 4824 w 36047"/>
                  <a:gd name="connsiteY14" fmla="*/ 37762 h 37762"/>
                  <a:gd name="connsiteX15" fmla="*/ 0 w 36047"/>
                  <a:gd name="connsiteY15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6047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7518" y="0"/>
                    </a:lnTo>
                    <a:lnTo>
                      <a:pt x="16450" y="26739"/>
                    </a:lnTo>
                    <a:cubicBezTo>
                      <a:pt x="17279" y="29226"/>
                      <a:pt x="17882" y="31092"/>
                      <a:pt x="18259" y="32335"/>
                    </a:cubicBezTo>
                    <a:cubicBezTo>
                      <a:pt x="18692" y="30960"/>
                      <a:pt x="19352" y="28943"/>
                      <a:pt x="20275" y="26286"/>
                    </a:cubicBezTo>
                    <a:lnTo>
                      <a:pt x="29320" y="0"/>
                    </a:lnTo>
                    <a:lnTo>
                      <a:pt x="36047" y="0"/>
                    </a:lnTo>
                    <a:lnTo>
                      <a:pt x="36047" y="37762"/>
                    </a:lnTo>
                    <a:lnTo>
                      <a:pt x="31224" y="37762"/>
                    </a:lnTo>
                    <a:lnTo>
                      <a:pt x="31224" y="6143"/>
                    </a:lnTo>
                    <a:lnTo>
                      <a:pt x="20257" y="37762"/>
                    </a:lnTo>
                    <a:lnTo>
                      <a:pt x="15753" y="37762"/>
                    </a:lnTo>
                    <a:lnTo>
                      <a:pt x="4824" y="5615"/>
                    </a:lnTo>
                    <a:lnTo>
                      <a:pt x="4824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72" name="Freihandform: Form 3271">
                <a:extLst>
                  <a:ext uri="{FF2B5EF4-FFF2-40B4-BE49-F238E27FC236}">
                    <a16:creationId xmlns:a16="http://schemas.microsoft.com/office/drawing/2014/main" id="{B50AB097-6B5A-286C-F6D8-567C17E82F9C}"/>
                  </a:ext>
                </a:extLst>
              </p:cNvPr>
              <p:cNvSpPr/>
              <p:nvPr/>
            </p:nvSpPr>
            <p:spPr>
              <a:xfrm>
                <a:off x="6619249" y="2244930"/>
                <a:ext cx="25193" cy="38610"/>
              </a:xfrm>
              <a:custGeom>
                <a:avLst/>
                <a:gdLst>
                  <a:gd name="connsiteX0" fmla="*/ 19428 w 25193"/>
                  <a:gd name="connsiteY0" fmla="*/ 34615 h 38610"/>
                  <a:gd name="connsiteX1" fmla="*/ 14472 w 25193"/>
                  <a:gd name="connsiteY1" fmla="*/ 37705 h 38610"/>
                  <a:gd name="connsiteX2" fmla="*/ 9365 w 25193"/>
                  <a:gd name="connsiteY2" fmla="*/ 38610 h 38610"/>
                  <a:gd name="connsiteX3" fmla="*/ 2431 w 25193"/>
                  <a:gd name="connsiteY3" fmla="*/ 36405 h 38610"/>
                  <a:gd name="connsiteX4" fmla="*/ 0 w 25193"/>
                  <a:gd name="connsiteY4" fmla="*/ 30771 h 38610"/>
                  <a:gd name="connsiteX5" fmla="*/ 923 w 25193"/>
                  <a:gd name="connsiteY5" fmla="*/ 27097 h 38610"/>
                  <a:gd name="connsiteX6" fmla="*/ 3316 w 25193"/>
                  <a:gd name="connsiteY6" fmla="*/ 24421 h 38610"/>
                  <a:gd name="connsiteX7" fmla="*/ 6652 w 25193"/>
                  <a:gd name="connsiteY7" fmla="*/ 22895 h 38610"/>
                  <a:gd name="connsiteX8" fmla="*/ 10778 w 25193"/>
                  <a:gd name="connsiteY8" fmla="*/ 22197 h 38610"/>
                  <a:gd name="connsiteX9" fmla="*/ 19051 w 25193"/>
                  <a:gd name="connsiteY9" fmla="*/ 20596 h 38610"/>
                  <a:gd name="connsiteX10" fmla="*/ 19070 w 25193"/>
                  <a:gd name="connsiteY10" fmla="*/ 19390 h 38610"/>
                  <a:gd name="connsiteX11" fmla="*/ 17750 w 25193"/>
                  <a:gd name="connsiteY11" fmla="*/ 15395 h 38610"/>
                  <a:gd name="connsiteX12" fmla="*/ 12475 w 25193"/>
                  <a:gd name="connsiteY12" fmla="*/ 13831 h 38610"/>
                  <a:gd name="connsiteX13" fmla="*/ 7651 w 25193"/>
                  <a:gd name="connsiteY13" fmla="*/ 14980 h 38610"/>
                  <a:gd name="connsiteX14" fmla="*/ 5352 w 25193"/>
                  <a:gd name="connsiteY14" fmla="*/ 19032 h 38610"/>
                  <a:gd name="connsiteX15" fmla="*/ 810 w 25193"/>
                  <a:gd name="connsiteY15" fmla="*/ 18410 h 38610"/>
                  <a:gd name="connsiteX16" fmla="*/ 2845 w 25193"/>
                  <a:gd name="connsiteY16" fmla="*/ 13699 h 38610"/>
                  <a:gd name="connsiteX17" fmla="*/ 6934 w 25193"/>
                  <a:gd name="connsiteY17" fmla="*/ 10948 h 38610"/>
                  <a:gd name="connsiteX18" fmla="*/ 13134 w 25193"/>
                  <a:gd name="connsiteY18" fmla="*/ 9987 h 38610"/>
                  <a:gd name="connsiteX19" fmla="*/ 18825 w 25193"/>
                  <a:gd name="connsiteY19" fmla="*/ 10816 h 38610"/>
                  <a:gd name="connsiteX20" fmla="*/ 22047 w 25193"/>
                  <a:gd name="connsiteY20" fmla="*/ 12889 h 38610"/>
                  <a:gd name="connsiteX21" fmla="*/ 23498 w 25193"/>
                  <a:gd name="connsiteY21" fmla="*/ 16036 h 38610"/>
                  <a:gd name="connsiteX22" fmla="*/ 23724 w 25193"/>
                  <a:gd name="connsiteY22" fmla="*/ 20313 h 38610"/>
                  <a:gd name="connsiteX23" fmla="*/ 23724 w 25193"/>
                  <a:gd name="connsiteY23" fmla="*/ 26494 h 38610"/>
                  <a:gd name="connsiteX24" fmla="*/ 24025 w 25193"/>
                  <a:gd name="connsiteY24" fmla="*/ 34672 h 38610"/>
                  <a:gd name="connsiteX25" fmla="*/ 25194 w 25193"/>
                  <a:gd name="connsiteY25" fmla="*/ 37950 h 38610"/>
                  <a:gd name="connsiteX26" fmla="*/ 20351 w 25193"/>
                  <a:gd name="connsiteY26" fmla="*/ 37950 h 38610"/>
                  <a:gd name="connsiteX27" fmla="*/ 19428 w 25193"/>
                  <a:gd name="connsiteY27" fmla="*/ 34578 h 38610"/>
                  <a:gd name="connsiteX28" fmla="*/ 19032 w 25193"/>
                  <a:gd name="connsiteY28" fmla="*/ 24251 h 38610"/>
                  <a:gd name="connsiteX29" fmla="*/ 11457 w 25193"/>
                  <a:gd name="connsiteY29" fmla="*/ 26004 h 38610"/>
                  <a:gd name="connsiteX30" fmla="*/ 7405 w 25193"/>
                  <a:gd name="connsiteY30" fmla="*/ 26927 h 38610"/>
                  <a:gd name="connsiteX31" fmla="*/ 5578 w 25193"/>
                  <a:gd name="connsiteY31" fmla="*/ 28435 h 38610"/>
                  <a:gd name="connsiteX32" fmla="*/ 4937 w 25193"/>
                  <a:gd name="connsiteY32" fmla="*/ 30639 h 38610"/>
                  <a:gd name="connsiteX33" fmla="*/ 6350 w 25193"/>
                  <a:gd name="connsiteY33" fmla="*/ 33730 h 38610"/>
                  <a:gd name="connsiteX34" fmla="*/ 10458 w 25193"/>
                  <a:gd name="connsiteY34" fmla="*/ 34973 h 38610"/>
                  <a:gd name="connsiteX35" fmla="*/ 15226 w 25193"/>
                  <a:gd name="connsiteY35" fmla="*/ 33805 h 38610"/>
                  <a:gd name="connsiteX36" fmla="*/ 18297 w 25193"/>
                  <a:gd name="connsiteY36" fmla="*/ 30602 h 38610"/>
                  <a:gd name="connsiteX37" fmla="*/ 19051 w 25193"/>
                  <a:gd name="connsiteY37" fmla="*/ 25966 h 38610"/>
                  <a:gd name="connsiteX38" fmla="*/ 19051 w 25193"/>
                  <a:gd name="connsiteY38" fmla="*/ 24270 h 38610"/>
                  <a:gd name="connsiteX39" fmla="*/ 10006 w 25193"/>
                  <a:gd name="connsiteY39" fmla="*/ 7217 h 38610"/>
                  <a:gd name="connsiteX40" fmla="*/ 13435 w 25193"/>
                  <a:gd name="connsiteY40" fmla="*/ 0 h 38610"/>
                  <a:gd name="connsiteX41" fmla="*/ 19522 w 25193"/>
                  <a:gd name="connsiteY41" fmla="*/ 0 h 38610"/>
                  <a:gd name="connsiteX42" fmla="*/ 13850 w 25193"/>
                  <a:gd name="connsiteY42" fmla="*/ 7217 h 38610"/>
                  <a:gd name="connsiteX43" fmla="*/ 10006 w 25193"/>
                  <a:gd name="connsiteY43" fmla="*/ 7217 h 38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25193" h="38610">
                    <a:moveTo>
                      <a:pt x="19428" y="34615"/>
                    </a:moveTo>
                    <a:cubicBezTo>
                      <a:pt x="17713" y="36066"/>
                      <a:pt x="16055" y="37103"/>
                      <a:pt x="14472" y="37705"/>
                    </a:cubicBezTo>
                    <a:cubicBezTo>
                      <a:pt x="12889" y="38308"/>
                      <a:pt x="11174" y="38610"/>
                      <a:pt x="9365" y="38610"/>
                    </a:cubicBezTo>
                    <a:cubicBezTo>
                      <a:pt x="6350" y="38610"/>
                      <a:pt x="4051" y="37875"/>
                      <a:pt x="2431" y="36405"/>
                    </a:cubicBezTo>
                    <a:cubicBezTo>
                      <a:pt x="810" y="34936"/>
                      <a:pt x="0" y="33051"/>
                      <a:pt x="0" y="30771"/>
                    </a:cubicBezTo>
                    <a:cubicBezTo>
                      <a:pt x="0" y="29433"/>
                      <a:pt x="301" y="28208"/>
                      <a:pt x="923" y="27097"/>
                    </a:cubicBezTo>
                    <a:cubicBezTo>
                      <a:pt x="1545" y="25985"/>
                      <a:pt x="2337" y="25099"/>
                      <a:pt x="3316" y="24421"/>
                    </a:cubicBezTo>
                    <a:cubicBezTo>
                      <a:pt x="4296" y="23743"/>
                      <a:pt x="5408" y="23253"/>
                      <a:pt x="6652" y="22895"/>
                    </a:cubicBezTo>
                    <a:cubicBezTo>
                      <a:pt x="7556" y="22650"/>
                      <a:pt x="8932" y="22424"/>
                      <a:pt x="10778" y="22197"/>
                    </a:cubicBezTo>
                    <a:cubicBezTo>
                      <a:pt x="14528" y="21745"/>
                      <a:pt x="17279" y="21218"/>
                      <a:pt x="19051" y="20596"/>
                    </a:cubicBezTo>
                    <a:cubicBezTo>
                      <a:pt x="19051" y="19955"/>
                      <a:pt x="19070" y="19559"/>
                      <a:pt x="19070" y="19390"/>
                    </a:cubicBezTo>
                    <a:cubicBezTo>
                      <a:pt x="19070" y="17505"/>
                      <a:pt x="18636" y="16168"/>
                      <a:pt x="17750" y="15395"/>
                    </a:cubicBezTo>
                    <a:cubicBezTo>
                      <a:pt x="16563" y="14340"/>
                      <a:pt x="14811" y="13831"/>
                      <a:pt x="12475" y="13831"/>
                    </a:cubicBezTo>
                    <a:cubicBezTo>
                      <a:pt x="10288" y="13831"/>
                      <a:pt x="8687" y="14208"/>
                      <a:pt x="7651" y="14980"/>
                    </a:cubicBezTo>
                    <a:cubicBezTo>
                      <a:pt x="6614" y="15753"/>
                      <a:pt x="5842" y="17091"/>
                      <a:pt x="5352" y="19032"/>
                    </a:cubicBezTo>
                    <a:lnTo>
                      <a:pt x="810" y="18410"/>
                    </a:lnTo>
                    <a:cubicBezTo>
                      <a:pt x="1225" y="16469"/>
                      <a:pt x="1903" y="14905"/>
                      <a:pt x="2845" y="13699"/>
                    </a:cubicBezTo>
                    <a:cubicBezTo>
                      <a:pt x="3788" y="12512"/>
                      <a:pt x="5163" y="11589"/>
                      <a:pt x="6934" y="10948"/>
                    </a:cubicBezTo>
                    <a:cubicBezTo>
                      <a:pt x="8724" y="10307"/>
                      <a:pt x="10797" y="9987"/>
                      <a:pt x="13134" y="9987"/>
                    </a:cubicBezTo>
                    <a:cubicBezTo>
                      <a:pt x="15470" y="9987"/>
                      <a:pt x="17374" y="10270"/>
                      <a:pt x="18825" y="10816"/>
                    </a:cubicBezTo>
                    <a:cubicBezTo>
                      <a:pt x="20275" y="11362"/>
                      <a:pt x="21350" y="12060"/>
                      <a:pt x="22047" y="12889"/>
                    </a:cubicBezTo>
                    <a:cubicBezTo>
                      <a:pt x="22725" y="13718"/>
                      <a:pt x="23215" y="14773"/>
                      <a:pt x="23498" y="16036"/>
                    </a:cubicBezTo>
                    <a:cubicBezTo>
                      <a:pt x="23649" y="16827"/>
                      <a:pt x="23724" y="18259"/>
                      <a:pt x="23724" y="20313"/>
                    </a:cubicBezTo>
                    <a:lnTo>
                      <a:pt x="23724" y="26494"/>
                    </a:lnTo>
                    <a:cubicBezTo>
                      <a:pt x="23724" y="30809"/>
                      <a:pt x="23818" y="33522"/>
                      <a:pt x="24025" y="34672"/>
                    </a:cubicBezTo>
                    <a:cubicBezTo>
                      <a:pt x="24233" y="35821"/>
                      <a:pt x="24610" y="36914"/>
                      <a:pt x="25194" y="37950"/>
                    </a:cubicBezTo>
                    <a:lnTo>
                      <a:pt x="20351" y="37950"/>
                    </a:lnTo>
                    <a:cubicBezTo>
                      <a:pt x="19861" y="36989"/>
                      <a:pt x="19559" y="35859"/>
                      <a:pt x="19428" y="34578"/>
                    </a:cubicBezTo>
                    <a:close/>
                    <a:moveTo>
                      <a:pt x="19032" y="24251"/>
                    </a:moveTo>
                    <a:cubicBezTo>
                      <a:pt x="17355" y="24930"/>
                      <a:pt x="14830" y="25514"/>
                      <a:pt x="11457" y="26004"/>
                    </a:cubicBezTo>
                    <a:cubicBezTo>
                      <a:pt x="9554" y="26286"/>
                      <a:pt x="8197" y="26588"/>
                      <a:pt x="7405" y="26927"/>
                    </a:cubicBezTo>
                    <a:cubicBezTo>
                      <a:pt x="6614" y="27266"/>
                      <a:pt x="6011" y="27775"/>
                      <a:pt x="5578" y="28435"/>
                    </a:cubicBezTo>
                    <a:cubicBezTo>
                      <a:pt x="5144" y="29094"/>
                      <a:pt x="4937" y="29829"/>
                      <a:pt x="4937" y="30639"/>
                    </a:cubicBezTo>
                    <a:cubicBezTo>
                      <a:pt x="4937" y="31883"/>
                      <a:pt x="5408" y="32900"/>
                      <a:pt x="6350" y="33730"/>
                    </a:cubicBezTo>
                    <a:cubicBezTo>
                      <a:pt x="7293" y="34559"/>
                      <a:pt x="8649" y="34973"/>
                      <a:pt x="10458" y="34973"/>
                    </a:cubicBezTo>
                    <a:cubicBezTo>
                      <a:pt x="12267" y="34973"/>
                      <a:pt x="13831" y="34578"/>
                      <a:pt x="15226" y="33805"/>
                    </a:cubicBezTo>
                    <a:cubicBezTo>
                      <a:pt x="16620" y="33032"/>
                      <a:pt x="17638" y="31958"/>
                      <a:pt x="18297" y="30602"/>
                    </a:cubicBezTo>
                    <a:cubicBezTo>
                      <a:pt x="18787" y="29546"/>
                      <a:pt x="19051" y="28001"/>
                      <a:pt x="19051" y="25966"/>
                    </a:cubicBezTo>
                    <a:lnTo>
                      <a:pt x="19051" y="24270"/>
                    </a:lnTo>
                    <a:close/>
                    <a:moveTo>
                      <a:pt x="10006" y="7217"/>
                    </a:moveTo>
                    <a:lnTo>
                      <a:pt x="13435" y="0"/>
                    </a:lnTo>
                    <a:lnTo>
                      <a:pt x="19522" y="0"/>
                    </a:lnTo>
                    <a:lnTo>
                      <a:pt x="13850" y="7217"/>
                    </a:lnTo>
                    <a:lnTo>
                      <a:pt x="10006" y="721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73" name="Freihandform: Form 3272">
                <a:extLst>
                  <a:ext uri="{FF2B5EF4-FFF2-40B4-BE49-F238E27FC236}">
                    <a16:creationId xmlns:a16="http://schemas.microsoft.com/office/drawing/2014/main" id="{26D5E64B-0084-2F3B-06AD-D5050393FF1D}"/>
                  </a:ext>
                </a:extLst>
              </p:cNvPr>
              <p:cNvSpPr/>
              <p:nvPr/>
            </p:nvSpPr>
            <p:spPr>
              <a:xfrm>
                <a:off x="6650077" y="2245156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74" name="Freihandform: Form 3273">
                <a:extLst>
                  <a:ext uri="{FF2B5EF4-FFF2-40B4-BE49-F238E27FC236}">
                    <a16:creationId xmlns:a16="http://schemas.microsoft.com/office/drawing/2014/main" id="{EE0A401C-7EE3-B491-5EDC-88580449127C}"/>
                  </a:ext>
                </a:extLst>
              </p:cNvPr>
              <p:cNvSpPr/>
              <p:nvPr/>
            </p:nvSpPr>
            <p:spPr>
              <a:xfrm>
                <a:off x="6660328" y="2254917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0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1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6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0 w 25193"/>
                  <a:gd name="connsiteY37" fmla="*/ 15979 h 28623"/>
                  <a:gd name="connsiteX38" fmla="*/ 19050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2" y="25834"/>
                      <a:pt x="24610" y="26927"/>
                      <a:pt x="25193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4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75" name="Freihandform: Form 3274">
                <a:extLst>
                  <a:ext uri="{FF2B5EF4-FFF2-40B4-BE49-F238E27FC236}">
                    <a16:creationId xmlns:a16="http://schemas.microsoft.com/office/drawing/2014/main" id="{B7F99763-8ABA-0B02-CFA7-06FDF8E9012F}"/>
                  </a:ext>
                </a:extLst>
              </p:cNvPr>
              <p:cNvSpPr/>
              <p:nvPr/>
            </p:nvSpPr>
            <p:spPr>
              <a:xfrm>
                <a:off x="6689460" y="2254954"/>
                <a:ext cx="24119" cy="39099"/>
              </a:xfrm>
              <a:custGeom>
                <a:avLst/>
                <a:gdLst>
                  <a:gd name="connsiteX0" fmla="*/ 923 w 24119"/>
                  <a:gd name="connsiteY0" fmla="*/ 30225 h 39099"/>
                  <a:gd name="connsiteX1" fmla="*/ 5427 w 24119"/>
                  <a:gd name="connsiteY1" fmla="*/ 30903 h 39099"/>
                  <a:gd name="connsiteX2" fmla="*/ 6991 w 24119"/>
                  <a:gd name="connsiteY2" fmla="*/ 33937 h 39099"/>
                  <a:gd name="connsiteX3" fmla="*/ 11702 w 24119"/>
                  <a:gd name="connsiteY3" fmla="*/ 35218 h 39099"/>
                  <a:gd name="connsiteX4" fmla="*/ 16677 w 24119"/>
                  <a:gd name="connsiteY4" fmla="*/ 33937 h 39099"/>
                  <a:gd name="connsiteX5" fmla="*/ 19051 w 24119"/>
                  <a:gd name="connsiteY5" fmla="*/ 30338 h 39099"/>
                  <a:gd name="connsiteX6" fmla="*/ 19390 w 24119"/>
                  <a:gd name="connsiteY6" fmla="*/ 24383 h 39099"/>
                  <a:gd name="connsiteX7" fmla="*/ 11815 w 24119"/>
                  <a:gd name="connsiteY7" fmla="*/ 27964 h 39099"/>
                  <a:gd name="connsiteX8" fmla="*/ 3090 w 24119"/>
                  <a:gd name="connsiteY8" fmla="*/ 23893 h 39099"/>
                  <a:gd name="connsiteX9" fmla="*/ 0 w 24119"/>
                  <a:gd name="connsiteY9" fmla="*/ 14133 h 39099"/>
                  <a:gd name="connsiteX10" fmla="*/ 1413 w 24119"/>
                  <a:gd name="connsiteY10" fmla="*/ 6916 h 39099"/>
                  <a:gd name="connsiteX11" fmla="*/ 5521 w 24119"/>
                  <a:gd name="connsiteY11" fmla="*/ 1809 h 39099"/>
                  <a:gd name="connsiteX12" fmla="*/ 11853 w 24119"/>
                  <a:gd name="connsiteY12" fmla="*/ 0 h 39099"/>
                  <a:gd name="connsiteX13" fmla="*/ 19842 w 24119"/>
                  <a:gd name="connsiteY13" fmla="*/ 3919 h 39099"/>
                  <a:gd name="connsiteX14" fmla="*/ 19842 w 24119"/>
                  <a:gd name="connsiteY14" fmla="*/ 622 h 39099"/>
                  <a:gd name="connsiteX15" fmla="*/ 24120 w 24119"/>
                  <a:gd name="connsiteY15" fmla="*/ 622 h 39099"/>
                  <a:gd name="connsiteX16" fmla="*/ 24120 w 24119"/>
                  <a:gd name="connsiteY16" fmla="*/ 24270 h 39099"/>
                  <a:gd name="connsiteX17" fmla="*/ 22820 w 24119"/>
                  <a:gd name="connsiteY17" fmla="*/ 33334 h 39099"/>
                  <a:gd name="connsiteX18" fmla="*/ 18692 w 24119"/>
                  <a:gd name="connsiteY18" fmla="*/ 37555 h 39099"/>
                  <a:gd name="connsiteX19" fmla="*/ 11758 w 24119"/>
                  <a:gd name="connsiteY19" fmla="*/ 39100 h 39099"/>
                  <a:gd name="connsiteX20" fmla="*/ 3844 w 24119"/>
                  <a:gd name="connsiteY20" fmla="*/ 36895 h 39099"/>
                  <a:gd name="connsiteX21" fmla="*/ 942 w 24119"/>
                  <a:gd name="connsiteY21" fmla="*/ 30262 h 39099"/>
                  <a:gd name="connsiteX22" fmla="*/ 4767 w 24119"/>
                  <a:gd name="connsiteY22" fmla="*/ 13793 h 39099"/>
                  <a:gd name="connsiteX23" fmla="*/ 6897 w 24119"/>
                  <a:gd name="connsiteY23" fmla="*/ 21651 h 39099"/>
                  <a:gd name="connsiteX24" fmla="*/ 12248 w 24119"/>
                  <a:gd name="connsiteY24" fmla="*/ 24120 h 39099"/>
                  <a:gd name="connsiteX25" fmla="*/ 17600 w 24119"/>
                  <a:gd name="connsiteY25" fmla="*/ 21651 h 39099"/>
                  <a:gd name="connsiteX26" fmla="*/ 19767 w 24119"/>
                  <a:gd name="connsiteY26" fmla="*/ 13944 h 39099"/>
                  <a:gd name="connsiteX27" fmla="*/ 17543 w 24119"/>
                  <a:gd name="connsiteY27" fmla="*/ 6369 h 39099"/>
                  <a:gd name="connsiteX28" fmla="*/ 12173 w 24119"/>
                  <a:gd name="connsiteY28" fmla="*/ 3825 h 39099"/>
                  <a:gd name="connsiteX29" fmla="*/ 6915 w 24119"/>
                  <a:gd name="connsiteY29" fmla="*/ 6331 h 39099"/>
                  <a:gd name="connsiteX30" fmla="*/ 4749 w 24119"/>
                  <a:gd name="connsiteY30" fmla="*/ 13793 h 39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19" h="39099">
                    <a:moveTo>
                      <a:pt x="923" y="30225"/>
                    </a:moveTo>
                    <a:lnTo>
                      <a:pt x="5427" y="30903"/>
                    </a:lnTo>
                    <a:cubicBezTo>
                      <a:pt x="5615" y="32298"/>
                      <a:pt x="6143" y="33315"/>
                      <a:pt x="6991" y="33937"/>
                    </a:cubicBezTo>
                    <a:cubicBezTo>
                      <a:pt x="8140" y="34804"/>
                      <a:pt x="9704" y="35218"/>
                      <a:pt x="11702" y="35218"/>
                    </a:cubicBezTo>
                    <a:cubicBezTo>
                      <a:pt x="13850" y="35218"/>
                      <a:pt x="15508" y="34785"/>
                      <a:pt x="16677" y="33937"/>
                    </a:cubicBezTo>
                    <a:cubicBezTo>
                      <a:pt x="17845" y="33070"/>
                      <a:pt x="18636" y="31883"/>
                      <a:pt x="19051" y="30338"/>
                    </a:cubicBezTo>
                    <a:cubicBezTo>
                      <a:pt x="19296" y="29396"/>
                      <a:pt x="19409" y="27417"/>
                      <a:pt x="19390" y="24383"/>
                    </a:cubicBezTo>
                    <a:cubicBezTo>
                      <a:pt x="17355" y="26776"/>
                      <a:pt x="14829" y="27964"/>
                      <a:pt x="11815" y="27964"/>
                    </a:cubicBezTo>
                    <a:cubicBezTo>
                      <a:pt x="8046" y="27964"/>
                      <a:pt x="5144" y="26607"/>
                      <a:pt x="3090" y="23893"/>
                    </a:cubicBezTo>
                    <a:cubicBezTo>
                      <a:pt x="1036" y="21180"/>
                      <a:pt x="0" y="17920"/>
                      <a:pt x="0" y="14133"/>
                    </a:cubicBezTo>
                    <a:cubicBezTo>
                      <a:pt x="0" y="11513"/>
                      <a:pt x="471" y="9120"/>
                      <a:pt x="1413" y="6916"/>
                    </a:cubicBezTo>
                    <a:cubicBezTo>
                      <a:pt x="2355" y="4711"/>
                      <a:pt x="3731" y="2996"/>
                      <a:pt x="5521" y="1809"/>
                    </a:cubicBezTo>
                    <a:cubicBezTo>
                      <a:pt x="7311" y="622"/>
                      <a:pt x="9422" y="0"/>
                      <a:pt x="11853" y="0"/>
                    </a:cubicBezTo>
                    <a:cubicBezTo>
                      <a:pt x="15075" y="0"/>
                      <a:pt x="17750" y="1300"/>
                      <a:pt x="19842" y="3919"/>
                    </a:cubicBezTo>
                    <a:lnTo>
                      <a:pt x="19842" y="622"/>
                    </a:lnTo>
                    <a:lnTo>
                      <a:pt x="24120" y="622"/>
                    </a:lnTo>
                    <a:lnTo>
                      <a:pt x="24120" y="24270"/>
                    </a:lnTo>
                    <a:cubicBezTo>
                      <a:pt x="24120" y="28529"/>
                      <a:pt x="23686" y="31544"/>
                      <a:pt x="22820" y="33334"/>
                    </a:cubicBezTo>
                    <a:cubicBezTo>
                      <a:pt x="21952" y="35124"/>
                      <a:pt x="20577" y="36518"/>
                      <a:pt x="18692" y="37555"/>
                    </a:cubicBezTo>
                    <a:cubicBezTo>
                      <a:pt x="16808" y="38591"/>
                      <a:pt x="14490" y="39100"/>
                      <a:pt x="11758" y="39100"/>
                    </a:cubicBezTo>
                    <a:cubicBezTo>
                      <a:pt x="8498" y="39100"/>
                      <a:pt x="5860" y="38365"/>
                      <a:pt x="3844" y="36895"/>
                    </a:cubicBezTo>
                    <a:cubicBezTo>
                      <a:pt x="1828" y="35426"/>
                      <a:pt x="867" y="33221"/>
                      <a:pt x="942" y="30262"/>
                    </a:cubicBezTo>
                    <a:close/>
                    <a:moveTo>
                      <a:pt x="4767" y="13793"/>
                    </a:moveTo>
                    <a:cubicBezTo>
                      <a:pt x="4767" y="17393"/>
                      <a:pt x="5483" y="19993"/>
                      <a:pt x="6897" y="21651"/>
                    </a:cubicBezTo>
                    <a:cubicBezTo>
                      <a:pt x="8329" y="23309"/>
                      <a:pt x="10100" y="24120"/>
                      <a:pt x="12248" y="24120"/>
                    </a:cubicBezTo>
                    <a:cubicBezTo>
                      <a:pt x="14396" y="24120"/>
                      <a:pt x="16168" y="23290"/>
                      <a:pt x="17600" y="21651"/>
                    </a:cubicBezTo>
                    <a:cubicBezTo>
                      <a:pt x="19032" y="20012"/>
                      <a:pt x="19767" y="17430"/>
                      <a:pt x="19767" y="13944"/>
                    </a:cubicBezTo>
                    <a:cubicBezTo>
                      <a:pt x="19767" y="10458"/>
                      <a:pt x="19032" y="8065"/>
                      <a:pt x="17543" y="6369"/>
                    </a:cubicBezTo>
                    <a:cubicBezTo>
                      <a:pt x="16055" y="4673"/>
                      <a:pt x="14265" y="3825"/>
                      <a:pt x="12173" y="3825"/>
                    </a:cubicBezTo>
                    <a:cubicBezTo>
                      <a:pt x="10081" y="3825"/>
                      <a:pt x="8366" y="4654"/>
                      <a:pt x="6915" y="6331"/>
                    </a:cubicBezTo>
                    <a:cubicBezTo>
                      <a:pt x="5464" y="8008"/>
                      <a:pt x="4749" y="10496"/>
                      <a:pt x="4749" y="1379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76" name="Freihandform: Form 3275">
                <a:extLst>
                  <a:ext uri="{FF2B5EF4-FFF2-40B4-BE49-F238E27FC236}">
                    <a16:creationId xmlns:a16="http://schemas.microsoft.com/office/drawing/2014/main" id="{1BD5759A-FBAB-76B4-8AF2-2B44DFB4BCF4}"/>
                  </a:ext>
                </a:extLst>
              </p:cNvPr>
              <p:cNvSpPr/>
              <p:nvPr/>
            </p:nvSpPr>
            <p:spPr>
              <a:xfrm>
                <a:off x="6719006" y="2254917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1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1 w 25193"/>
                  <a:gd name="connsiteY15" fmla="*/ 8423 h 28623"/>
                  <a:gd name="connsiteX16" fmla="*/ 2845 w 25193"/>
                  <a:gd name="connsiteY16" fmla="*/ 3712 h 28623"/>
                  <a:gd name="connsiteX17" fmla="*/ 6935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6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2" y="27888"/>
                      <a:pt x="2431" y="26418"/>
                    </a:cubicBezTo>
                    <a:cubicBezTo>
                      <a:pt x="811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80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1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5" y="961"/>
                    </a:cubicBezTo>
                    <a:cubicBezTo>
                      <a:pt x="8725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88" name="Grafik 21">
              <a:extLst>
                <a:ext uri="{FF2B5EF4-FFF2-40B4-BE49-F238E27FC236}">
                  <a16:creationId xmlns:a16="http://schemas.microsoft.com/office/drawing/2014/main" id="{EB9558C7-7BDD-6E2D-168B-6B64B52FD484}"/>
                </a:ext>
              </a:extLst>
            </p:cNvPr>
            <p:cNvGrpSpPr/>
            <p:nvPr/>
          </p:nvGrpSpPr>
          <p:grpSpPr>
            <a:xfrm>
              <a:off x="6671653" y="2171667"/>
              <a:ext cx="185588" cy="38383"/>
              <a:chOff x="6671653" y="2171667"/>
              <a:chExt cx="185588" cy="38383"/>
            </a:xfrm>
            <a:solidFill>
              <a:srgbClr val="000000"/>
            </a:solidFill>
          </p:grpSpPr>
          <p:sp>
            <p:nvSpPr>
              <p:cNvPr id="3263" name="Freihandform: Form 3262">
                <a:extLst>
                  <a:ext uri="{FF2B5EF4-FFF2-40B4-BE49-F238E27FC236}">
                    <a16:creationId xmlns:a16="http://schemas.microsoft.com/office/drawing/2014/main" id="{80FF026E-5276-B266-D03F-35AC61B4238C}"/>
                  </a:ext>
                </a:extLst>
              </p:cNvPr>
              <p:cNvSpPr/>
              <p:nvPr/>
            </p:nvSpPr>
            <p:spPr>
              <a:xfrm>
                <a:off x="6671653" y="2171667"/>
                <a:ext cx="35350" cy="37762"/>
              </a:xfrm>
              <a:custGeom>
                <a:avLst/>
                <a:gdLst>
                  <a:gd name="connsiteX0" fmla="*/ 0 w 35350"/>
                  <a:gd name="connsiteY0" fmla="*/ 37762 h 37762"/>
                  <a:gd name="connsiteX1" fmla="*/ 14509 w 35350"/>
                  <a:gd name="connsiteY1" fmla="*/ 0 h 37762"/>
                  <a:gd name="connsiteX2" fmla="*/ 19899 w 35350"/>
                  <a:gd name="connsiteY2" fmla="*/ 0 h 37762"/>
                  <a:gd name="connsiteX3" fmla="*/ 35350 w 35350"/>
                  <a:gd name="connsiteY3" fmla="*/ 37762 h 37762"/>
                  <a:gd name="connsiteX4" fmla="*/ 29659 w 35350"/>
                  <a:gd name="connsiteY4" fmla="*/ 37762 h 37762"/>
                  <a:gd name="connsiteX5" fmla="*/ 25250 w 35350"/>
                  <a:gd name="connsiteY5" fmla="*/ 26324 h 37762"/>
                  <a:gd name="connsiteX6" fmla="*/ 9459 w 35350"/>
                  <a:gd name="connsiteY6" fmla="*/ 26324 h 37762"/>
                  <a:gd name="connsiteX7" fmla="*/ 5314 w 35350"/>
                  <a:gd name="connsiteY7" fmla="*/ 37762 h 37762"/>
                  <a:gd name="connsiteX8" fmla="*/ 0 w 35350"/>
                  <a:gd name="connsiteY8" fmla="*/ 37762 h 37762"/>
                  <a:gd name="connsiteX9" fmla="*/ 10892 w 35350"/>
                  <a:gd name="connsiteY9" fmla="*/ 22254 h 37762"/>
                  <a:gd name="connsiteX10" fmla="*/ 23686 w 35350"/>
                  <a:gd name="connsiteY10" fmla="*/ 22254 h 37762"/>
                  <a:gd name="connsiteX11" fmla="*/ 19748 w 35350"/>
                  <a:gd name="connsiteY11" fmla="*/ 11796 h 37762"/>
                  <a:gd name="connsiteX12" fmla="*/ 17072 w 35350"/>
                  <a:gd name="connsiteY12" fmla="*/ 3957 h 37762"/>
                  <a:gd name="connsiteX13" fmla="*/ 15037 w 35350"/>
                  <a:gd name="connsiteY13" fmla="*/ 11174 h 37762"/>
                  <a:gd name="connsiteX14" fmla="*/ 10892 w 35350"/>
                  <a:gd name="connsiteY14" fmla="*/ 22254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5350" h="37762">
                    <a:moveTo>
                      <a:pt x="0" y="37762"/>
                    </a:moveTo>
                    <a:lnTo>
                      <a:pt x="14509" y="0"/>
                    </a:lnTo>
                    <a:lnTo>
                      <a:pt x="19899" y="0"/>
                    </a:lnTo>
                    <a:lnTo>
                      <a:pt x="35350" y="37762"/>
                    </a:lnTo>
                    <a:lnTo>
                      <a:pt x="29659" y="37762"/>
                    </a:lnTo>
                    <a:lnTo>
                      <a:pt x="25250" y="26324"/>
                    </a:lnTo>
                    <a:lnTo>
                      <a:pt x="9459" y="26324"/>
                    </a:lnTo>
                    <a:lnTo>
                      <a:pt x="5314" y="37762"/>
                    </a:lnTo>
                    <a:lnTo>
                      <a:pt x="0" y="37762"/>
                    </a:lnTo>
                    <a:close/>
                    <a:moveTo>
                      <a:pt x="10892" y="22254"/>
                    </a:moveTo>
                    <a:lnTo>
                      <a:pt x="23686" y="22254"/>
                    </a:lnTo>
                    <a:lnTo>
                      <a:pt x="19748" y="11796"/>
                    </a:lnTo>
                    <a:cubicBezTo>
                      <a:pt x="18542" y="8611"/>
                      <a:pt x="17656" y="6011"/>
                      <a:pt x="17072" y="3957"/>
                    </a:cubicBezTo>
                    <a:cubicBezTo>
                      <a:pt x="16601" y="6388"/>
                      <a:pt x="15904" y="8781"/>
                      <a:pt x="15037" y="11174"/>
                    </a:cubicBezTo>
                    <a:lnTo>
                      <a:pt x="10892" y="22254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64" name="Freihandform: Form 3263">
                <a:extLst>
                  <a:ext uri="{FF2B5EF4-FFF2-40B4-BE49-F238E27FC236}">
                    <a16:creationId xmlns:a16="http://schemas.microsoft.com/office/drawing/2014/main" id="{2A92066D-65F3-63C7-433C-C6DFB447CD6F}"/>
                  </a:ext>
                </a:extLst>
              </p:cNvPr>
              <p:cNvSpPr/>
              <p:nvPr/>
            </p:nvSpPr>
            <p:spPr>
              <a:xfrm>
                <a:off x="6710301" y="2171667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65" name="Freihandform: Form 3264">
                <a:extLst>
                  <a:ext uri="{FF2B5EF4-FFF2-40B4-BE49-F238E27FC236}">
                    <a16:creationId xmlns:a16="http://schemas.microsoft.com/office/drawing/2014/main" id="{3B6A4490-B138-1697-6515-4ADF8CD23F0C}"/>
                  </a:ext>
                </a:extLst>
              </p:cNvPr>
              <p:cNvSpPr/>
              <p:nvPr/>
            </p:nvSpPr>
            <p:spPr>
              <a:xfrm>
                <a:off x="6722153" y="2171667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1 h 37762"/>
                  <a:gd name="connsiteX7" fmla="*/ 4635 w 4635"/>
                  <a:gd name="connsiteY7" fmla="*/ 10401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1"/>
                    </a:lnTo>
                    <a:lnTo>
                      <a:pt x="4635" y="10401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66" name="Freihandform: Form 3265">
                <a:extLst>
                  <a:ext uri="{FF2B5EF4-FFF2-40B4-BE49-F238E27FC236}">
                    <a16:creationId xmlns:a16="http://schemas.microsoft.com/office/drawing/2014/main" id="{FCD04C88-AE7D-2BB7-A6D7-24E6D1717BDB}"/>
                  </a:ext>
                </a:extLst>
              </p:cNvPr>
              <p:cNvSpPr/>
              <p:nvPr/>
            </p:nvSpPr>
            <p:spPr>
              <a:xfrm>
                <a:off x="6732442" y="2181446"/>
                <a:ext cx="23817" cy="28604"/>
              </a:xfrm>
              <a:custGeom>
                <a:avLst/>
                <a:gdLst>
                  <a:gd name="connsiteX0" fmla="*/ 19258 w 23817"/>
                  <a:gd name="connsiteY0" fmla="*/ 17958 h 28604"/>
                  <a:gd name="connsiteX1" fmla="*/ 23818 w 23817"/>
                  <a:gd name="connsiteY1" fmla="*/ 18542 h 28604"/>
                  <a:gd name="connsiteX2" fmla="*/ 19993 w 23817"/>
                  <a:gd name="connsiteY2" fmla="*/ 25928 h 28604"/>
                  <a:gd name="connsiteX3" fmla="*/ 12436 w 23817"/>
                  <a:gd name="connsiteY3" fmla="*/ 28604 h 28604"/>
                  <a:gd name="connsiteX4" fmla="*/ 3410 w 23817"/>
                  <a:gd name="connsiteY4" fmla="*/ 24930 h 28604"/>
                  <a:gd name="connsiteX5" fmla="*/ 0 w 23817"/>
                  <a:gd name="connsiteY5" fmla="*/ 14415 h 28604"/>
                  <a:gd name="connsiteX6" fmla="*/ 1470 w 23817"/>
                  <a:gd name="connsiteY6" fmla="*/ 6652 h 28604"/>
                  <a:gd name="connsiteX7" fmla="*/ 5935 w 23817"/>
                  <a:gd name="connsiteY7" fmla="*/ 1658 h 28604"/>
                  <a:gd name="connsiteX8" fmla="*/ 12455 w 23817"/>
                  <a:gd name="connsiteY8" fmla="*/ 0 h 28604"/>
                  <a:gd name="connsiteX9" fmla="*/ 19748 w 23817"/>
                  <a:gd name="connsiteY9" fmla="*/ 2261 h 28604"/>
                  <a:gd name="connsiteX10" fmla="*/ 23384 w 23817"/>
                  <a:gd name="connsiteY10" fmla="*/ 8668 h 28604"/>
                  <a:gd name="connsiteX11" fmla="*/ 18881 w 23817"/>
                  <a:gd name="connsiteY11" fmla="*/ 9365 h 28604"/>
                  <a:gd name="connsiteX12" fmla="*/ 16601 w 23817"/>
                  <a:gd name="connsiteY12" fmla="*/ 5220 h 28604"/>
                  <a:gd name="connsiteX13" fmla="*/ 12644 w 23817"/>
                  <a:gd name="connsiteY13" fmla="*/ 3825 h 28604"/>
                  <a:gd name="connsiteX14" fmla="*/ 6953 w 23817"/>
                  <a:gd name="connsiteY14" fmla="*/ 6331 h 28604"/>
                  <a:gd name="connsiteX15" fmla="*/ 4767 w 23817"/>
                  <a:gd name="connsiteY15" fmla="*/ 14283 h 28604"/>
                  <a:gd name="connsiteX16" fmla="*/ 6878 w 23817"/>
                  <a:gd name="connsiteY16" fmla="*/ 22292 h 28604"/>
                  <a:gd name="connsiteX17" fmla="*/ 12399 w 23817"/>
                  <a:gd name="connsiteY17" fmla="*/ 24798 h 28604"/>
                  <a:gd name="connsiteX18" fmla="*/ 16959 w 23817"/>
                  <a:gd name="connsiteY18" fmla="*/ 23121 h 28604"/>
                  <a:gd name="connsiteX19" fmla="*/ 19277 w 23817"/>
                  <a:gd name="connsiteY19" fmla="*/ 17977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817" h="28604">
                    <a:moveTo>
                      <a:pt x="19258" y="17958"/>
                    </a:moveTo>
                    <a:lnTo>
                      <a:pt x="23818" y="18542"/>
                    </a:lnTo>
                    <a:cubicBezTo>
                      <a:pt x="23328" y="21689"/>
                      <a:pt x="22047" y="24138"/>
                      <a:pt x="19993" y="25928"/>
                    </a:cubicBezTo>
                    <a:cubicBezTo>
                      <a:pt x="17939" y="27700"/>
                      <a:pt x="15414" y="28604"/>
                      <a:pt x="12436" y="28604"/>
                    </a:cubicBezTo>
                    <a:cubicBezTo>
                      <a:pt x="8687" y="28604"/>
                      <a:pt x="5691" y="27379"/>
                      <a:pt x="3410" y="24930"/>
                    </a:cubicBezTo>
                    <a:cubicBezTo>
                      <a:pt x="1130" y="22480"/>
                      <a:pt x="0" y="18975"/>
                      <a:pt x="0" y="14415"/>
                    </a:cubicBezTo>
                    <a:cubicBezTo>
                      <a:pt x="0" y="11457"/>
                      <a:pt x="490" y="8875"/>
                      <a:pt x="1470" y="6652"/>
                    </a:cubicBezTo>
                    <a:cubicBezTo>
                      <a:pt x="2450" y="4428"/>
                      <a:pt x="3938" y="2770"/>
                      <a:pt x="5935" y="1658"/>
                    </a:cubicBezTo>
                    <a:cubicBezTo>
                      <a:pt x="7933" y="546"/>
                      <a:pt x="10119" y="0"/>
                      <a:pt x="12455" y="0"/>
                    </a:cubicBezTo>
                    <a:cubicBezTo>
                      <a:pt x="15433" y="0"/>
                      <a:pt x="17863" y="754"/>
                      <a:pt x="19748" y="2261"/>
                    </a:cubicBezTo>
                    <a:cubicBezTo>
                      <a:pt x="21632" y="3769"/>
                      <a:pt x="22857" y="5898"/>
                      <a:pt x="23384" y="8668"/>
                    </a:cubicBezTo>
                    <a:lnTo>
                      <a:pt x="18881" y="9365"/>
                    </a:lnTo>
                    <a:cubicBezTo>
                      <a:pt x="18448" y="7518"/>
                      <a:pt x="17694" y="6143"/>
                      <a:pt x="16601" y="5220"/>
                    </a:cubicBezTo>
                    <a:cubicBezTo>
                      <a:pt x="15508" y="4296"/>
                      <a:pt x="14189" y="3825"/>
                      <a:pt x="12644" y="3825"/>
                    </a:cubicBezTo>
                    <a:cubicBezTo>
                      <a:pt x="10307" y="3825"/>
                      <a:pt x="8404" y="4654"/>
                      <a:pt x="6953" y="6331"/>
                    </a:cubicBezTo>
                    <a:cubicBezTo>
                      <a:pt x="5502" y="8008"/>
                      <a:pt x="4767" y="10646"/>
                      <a:pt x="4767" y="14283"/>
                    </a:cubicBezTo>
                    <a:cubicBezTo>
                      <a:pt x="4767" y="17920"/>
                      <a:pt x="5464" y="20633"/>
                      <a:pt x="6878" y="22292"/>
                    </a:cubicBezTo>
                    <a:cubicBezTo>
                      <a:pt x="8291" y="23950"/>
                      <a:pt x="10119" y="24798"/>
                      <a:pt x="12399" y="24798"/>
                    </a:cubicBezTo>
                    <a:cubicBezTo>
                      <a:pt x="14227" y="24798"/>
                      <a:pt x="15734" y="24233"/>
                      <a:pt x="16959" y="23121"/>
                    </a:cubicBezTo>
                    <a:cubicBezTo>
                      <a:pt x="18184" y="22009"/>
                      <a:pt x="18956" y="20294"/>
                      <a:pt x="19277" y="1797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67" name="Freihandform: Form 3266">
                <a:extLst>
                  <a:ext uri="{FF2B5EF4-FFF2-40B4-BE49-F238E27FC236}">
                    <a16:creationId xmlns:a16="http://schemas.microsoft.com/office/drawing/2014/main" id="{3C1DAEDE-12A3-81D8-CAE4-883367D8F6E5}"/>
                  </a:ext>
                </a:extLst>
              </p:cNvPr>
              <p:cNvSpPr/>
              <p:nvPr/>
            </p:nvSpPr>
            <p:spPr>
              <a:xfrm>
                <a:off x="6758653" y="2181428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0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5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94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80" y="27002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68" name="Freihandform: Form 3267">
                <a:extLst>
                  <a:ext uri="{FF2B5EF4-FFF2-40B4-BE49-F238E27FC236}">
                    <a16:creationId xmlns:a16="http://schemas.microsoft.com/office/drawing/2014/main" id="{DC0B7298-7C92-7C50-40AB-8D19557BD821}"/>
                  </a:ext>
                </a:extLst>
              </p:cNvPr>
              <p:cNvSpPr/>
              <p:nvPr/>
            </p:nvSpPr>
            <p:spPr>
              <a:xfrm>
                <a:off x="6789556" y="2181446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5 w 22235"/>
                  <a:gd name="connsiteY2" fmla="*/ 622 h 28001"/>
                  <a:gd name="connsiteX3" fmla="*/ 4165 w 22235"/>
                  <a:gd name="connsiteY3" fmla="*/ 4503 h 28001"/>
                  <a:gd name="connsiteX4" fmla="*/ 12870 w 22235"/>
                  <a:gd name="connsiteY4" fmla="*/ 0 h 28001"/>
                  <a:gd name="connsiteX5" fmla="*/ 17412 w 22235"/>
                  <a:gd name="connsiteY5" fmla="*/ 886 h 28001"/>
                  <a:gd name="connsiteX6" fmla="*/ 20521 w 22235"/>
                  <a:gd name="connsiteY6" fmla="*/ 3222 h 28001"/>
                  <a:gd name="connsiteX7" fmla="*/ 21972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2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5" y="622"/>
                    </a:lnTo>
                    <a:lnTo>
                      <a:pt x="4165" y="4503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9" y="0"/>
                      <a:pt x="16036" y="301"/>
                      <a:pt x="17412" y="886"/>
                    </a:cubicBezTo>
                    <a:cubicBezTo>
                      <a:pt x="18787" y="1470"/>
                      <a:pt x="19823" y="2261"/>
                      <a:pt x="20521" y="3222"/>
                    </a:cubicBezTo>
                    <a:cubicBezTo>
                      <a:pt x="21218" y="4183"/>
                      <a:pt x="21689" y="5333"/>
                      <a:pt x="21972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2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2"/>
                      <a:pt x="11890" y="4032"/>
                    </a:cubicBezTo>
                    <a:cubicBezTo>
                      <a:pt x="9912" y="4032"/>
                      <a:pt x="8216" y="4654"/>
                      <a:pt x="6784" y="5917"/>
                    </a:cubicBezTo>
                    <a:cubicBezTo>
                      <a:pt x="5352" y="7179"/>
                      <a:pt x="4636" y="9553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69" name="Freihandform: Form 3268">
                <a:extLst>
                  <a:ext uri="{FF2B5EF4-FFF2-40B4-BE49-F238E27FC236}">
                    <a16:creationId xmlns:a16="http://schemas.microsoft.com/office/drawing/2014/main" id="{E572FBB4-8A8A-9D23-9EBC-04ECA5B77F55}"/>
                  </a:ext>
                </a:extLst>
              </p:cNvPr>
              <p:cNvSpPr/>
              <p:nvPr/>
            </p:nvSpPr>
            <p:spPr>
              <a:xfrm>
                <a:off x="6816370" y="2172515"/>
                <a:ext cx="13340" cy="37272"/>
              </a:xfrm>
              <a:custGeom>
                <a:avLst/>
                <a:gdLst>
                  <a:gd name="connsiteX0" fmla="*/ 12663 w 13340"/>
                  <a:gd name="connsiteY0" fmla="*/ 32769 h 37272"/>
                  <a:gd name="connsiteX1" fmla="*/ 13341 w 13340"/>
                  <a:gd name="connsiteY1" fmla="*/ 36858 h 37272"/>
                  <a:gd name="connsiteX2" fmla="*/ 9836 w 13340"/>
                  <a:gd name="connsiteY2" fmla="*/ 37272 h 37272"/>
                  <a:gd name="connsiteX3" fmla="*/ 5917 w 13340"/>
                  <a:gd name="connsiteY3" fmla="*/ 36481 h 37272"/>
                  <a:gd name="connsiteX4" fmla="*/ 3957 w 13340"/>
                  <a:gd name="connsiteY4" fmla="*/ 34389 h 37272"/>
                  <a:gd name="connsiteX5" fmla="*/ 3391 w 13340"/>
                  <a:gd name="connsiteY5" fmla="*/ 28906 h 37272"/>
                  <a:gd name="connsiteX6" fmla="*/ 3391 w 13340"/>
                  <a:gd name="connsiteY6" fmla="*/ 13172 h 37272"/>
                  <a:gd name="connsiteX7" fmla="*/ 0 w 13340"/>
                  <a:gd name="connsiteY7" fmla="*/ 13172 h 37272"/>
                  <a:gd name="connsiteX8" fmla="*/ 0 w 13340"/>
                  <a:gd name="connsiteY8" fmla="*/ 9572 h 37272"/>
                  <a:gd name="connsiteX9" fmla="*/ 3391 w 13340"/>
                  <a:gd name="connsiteY9" fmla="*/ 9572 h 37272"/>
                  <a:gd name="connsiteX10" fmla="*/ 3391 w 13340"/>
                  <a:gd name="connsiteY10" fmla="*/ 2789 h 37272"/>
                  <a:gd name="connsiteX11" fmla="*/ 8008 w 13340"/>
                  <a:gd name="connsiteY11" fmla="*/ 0 h 37272"/>
                  <a:gd name="connsiteX12" fmla="*/ 8008 w 13340"/>
                  <a:gd name="connsiteY12" fmla="*/ 9554 h 37272"/>
                  <a:gd name="connsiteX13" fmla="*/ 12663 w 13340"/>
                  <a:gd name="connsiteY13" fmla="*/ 9554 h 37272"/>
                  <a:gd name="connsiteX14" fmla="*/ 12663 w 13340"/>
                  <a:gd name="connsiteY14" fmla="*/ 13153 h 37272"/>
                  <a:gd name="connsiteX15" fmla="*/ 8008 w 13340"/>
                  <a:gd name="connsiteY15" fmla="*/ 13153 h 37272"/>
                  <a:gd name="connsiteX16" fmla="*/ 8008 w 13340"/>
                  <a:gd name="connsiteY16" fmla="*/ 29151 h 37272"/>
                  <a:gd name="connsiteX17" fmla="*/ 8253 w 13340"/>
                  <a:gd name="connsiteY17" fmla="*/ 31695 h 37272"/>
                  <a:gd name="connsiteX18" fmla="*/ 9044 w 13340"/>
                  <a:gd name="connsiteY18" fmla="*/ 32599 h 37272"/>
                  <a:gd name="connsiteX19" fmla="*/ 10627 w 13340"/>
                  <a:gd name="connsiteY19" fmla="*/ 32938 h 37272"/>
                  <a:gd name="connsiteX20" fmla="*/ 12663 w 13340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0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2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3" y="35953"/>
                      <a:pt x="4334" y="35256"/>
                      <a:pt x="3957" y="34389"/>
                    </a:cubicBezTo>
                    <a:cubicBezTo>
                      <a:pt x="3580" y="33522"/>
                      <a:pt x="3391" y="31695"/>
                      <a:pt x="3391" y="28906"/>
                    </a:cubicBezTo>
                    <a:lnTo>
                      <a:pt x="3391" y="13172"/>
                    </a:lnTo>
                    <a:lnTo>
                      <a:pt x="0" y="13172"/>
                    </a:lnTo>
                    <a:lnTo>
                      <a:pt x="0" y="9572"/>
                    </a:lnTo>
                    <a:lnTo>
                      <a:pt x="3391" y="9572"/>
                    </a:lnTo>
                    <a:lnTo>
                      <a:pt x="3391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3" y="31318"/>
                      <a:pt x="8253" y="31695"/>
                    </a:cubicBezTo>
                    <a:cubicBezTo>
                      <a:pt x="8423" y="32071"/>
                      <a:pt x="8687" y="32373"/>
                      <a:pt x="9044" y="32599"/>
                    </a:cubicBezTo>
                    <a:cubicBezTo>
                      <a:pt x="9422" y="32825"/>
                      <a:pt x="9949" y="32938"/>
                      <a:pt x="10627" y="32938"/>
                    </a:cubicBezTo>
                    <a:cubicBezTo>
                      <a:pt x="11136" y="32938"/>
                      <a:pt x="11814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70" name="Freihandform: Form 3269">
                <a:extLst>
                  <a:ext uri="{FF2B5EF4-FFF2-40B4-BE49-F238E27FC236}">
                    <a16:creationId xmlns:a16="http://schemas.microsoft.com/office/drawing/2014/main" id="{4C908036-928A-2DA0-E555-43345C27DDA9}"/>
                  </a:ext>
                </a:extLst>
              </p:cNvPr>
              <p:cNvSpPr/>
              <p:nvPr/>
            </p:nvSpPr>
            <p:spPr>
              <a:xfrm>
                <a:off x="6832010" y="2181446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2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2 w 25231"/>
                  <a:gd name="connsiteY9" fmla="*/ 14246 h 28585"/>
                  <a:gd name="connsiteX10" fmla="*/ 25213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8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9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5"/>
                      <a:pt x="22933" y="24722"/>
                      <a:pt x="20879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0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2" y="3806"/>
                    </a:cubicBezTo>
                    <a:cubicBezTo>
                      <a:pt x="5936" y="1262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2" y="9723"/>
                      <a:pt x="25232" y="14246"/>
                    </a:cubicBezTo>
                    <a:cubicBezTo>
                      <a:pt x="25232" y="14528"/>
                      <a:pt x="25232" y="14924"/>
                      <a:pt x="25213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6" y="23988"/>
                      <a:pt x="10778" y="24779"/>
                      <a:pt x="13078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9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4" y="9365"/>
                      <a:pt x="19560" y="7632"/>
                      <a:pt x="18599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89" name="Grafik 21">
              <a:extLst>
                <a:ext uri="{FF2B5EF4-FFF2-40B4-BE49-F238E27FC236}">
                  <a16:creationId xmlns:a16="http://schemas.microsoft.com/office/drawing/2014/main" id="{82FD12E7-F2B3-F92B-8A0E-11DB666ADE02}"/>
                </a:ext>
              </a:extLst>
            </p:cNvPr>
            <p:cNvGrpSpPr/>
            <p:nvPr/>
          </p:nvGrpSpPr>
          <p:grpSpPr>
            <a:xfrm>
              <a:off x="6761573" y="2105715"/>
              <a:ext cx="104279" cy="38383"/>
              <a:chOff x="6761573" y="2105715"/>
              <a:chExt cx="104279" cy="38383"/>
            </a:xfrm>
            <a:solidFill>
              <a:srgbClr val="000000"/>
            </a:solidFill>
          </p:grpSpPr>
          <p:sp>
            <p:nvSpPr>
              <p:cNvPr id="3258" name="Freihandform: Form 3257">
                <a:extLst>
                  <a:ext uri="{FF2B5EF4-FFF2-40B4-BE49-F238E27FC236}">
                    <a16:creationId xmlns:a16="http://schemas.microsoft.com/office/drawing/2014/main" id="{5B9CF23E-3BB7-5396-33C4-AB3255ECD97A}"/>
                  </a:ext>
                </a:extLst>
              </p:cNvPr>
              <p:cNvSpPr/>
              <p:nvPr/>
            </p:nvSpPr>
            <p:spPr>
              <a:xfrm>
                <a:off x="6761573" y="2105715"/>
                <a:ext cx="4993" cy="37762"/>
              </a:xfrm>
              <a:custGeom>
                <a:avLst/>
                <a:gdLst>
                  <a:gd name="connsiteX0" fmla="*/ 0 w 4993"/>
                  <a:gd name="connsiteY0" fmla="*/ 37762 h 37762"/>
                  <a:gd name="connsiteX1" fmla="*/ 0 w 4993"/>
                  <a:gd name="connsiteY1" fmla="*/ 0 h 37762"/>
                  <a:gd name="connsiteX2" fmla="*/ 4993 w 4993"/>
                  <a:gd name="connsiteY2" fmla="*/ 0 h 37762"/>
                  <a:gd name="connsiteX3" fmla="*/ 4993 w 4993"/>
                  <a:gd name="connsiteY3" fmla="*/ 37762 h 37762"/>
                  <a:gd name="connsiteX4" fmla="*/ 0 w 4993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93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993" y="0"/>
                    </a:lnTo>
                    <a:lnTo>
                      <a:pt x="4993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59" name="Freihandform: Form 3258">
                <a:extLst>
                  <a:ext uri="{FF2B5EF4-FFF2-40B4-BE49-F238E27FC236}">
                    <a16:creationId xmlns:a16="http://schemas.microsoft.com/office/drawing/2014/main" id="{2B2A7D1D-AAC5-6F59-FBF7-9D4615807FA0}"/>
                  </a:ext>
                </a:extLst>
              </p:cNvPr>
              <p:cNvSpPr/>
              <p:nvPr/>
            </p:nvSpPr>
            <p:spPr>
              <a:xfrm>
                <a:off x="6774764" y="2105715"/>
                <a:ext cx="23742" cy="38383"/>
              </a:xfrm>
              <a:custGeom>
                <a:avLst/>
                <a:gdLst>
                  <a:gd name="connsiteX0" fmla="*/ 4296 w 23742"/>
                  <a:gd name="connsiteY0" fmla="*/ 37762 h 38383"/>
                  <a:gd name="connsiteX1" fmla="*/ 0 w 23742"/>
                  <a:gd name="connsiteY1" fmla="*/ 37762 h 38383"/>
                  <a:gd name="connsiteX2" fmla="*/ 0 w 23742"/>
                  <a:gd name="connsiteY2" fmla="*/ 0 h 38383"/>
                  <a:gd name="connsiteX3" fmla="*/ 4635 w 23742"/>
                  <a:gd name="connsiteY3" fmla="*/ 0 h 38383"/>
                  <a:gd name="connsiteX4" fmla="*/ 4635 w 23742"/>
                  <a:gd name="connsiteY4" fmla="*/ 13473 h 38383"/>
                  <a:gd name="connsiteX5" fmla="*/ 12135 w 23742"/>
                  <a:gd name="connsiteY5" fmla="*/ 9780 h 38383"/>
                  <a:gd name="connsiteX6" fmla="*/ 16921 w 23742"/>
                  <a:gd name="connsiteY6" fmla="*/ 10797 h 38383"/>
                  <a:gd name="connsiteX7" fmla="*/ 20633 w 23742"/>
                  <a:gd name="connsiteY7" fmla="*/ 13661 h 38383"/>
                  <a:gd name="connsiteX8" fmla="*/ 22913 w 23742"/>
                  <a:gd name="connsiteY8" fmla="*/ 18108 h 38383"/>
                  <a:gd name="connsiteX9" fmla="*/ 23742 w 23742"/>
                  <a:gd name="connsiteY9" fmla="*/ 23667 h 38383"/>
                  <a:gd name="connsiteX10" fmla="*/ 20257 w 23742"/>
                  <a:gd name="connsiteY10" fmla="*/ 34540 h 38383"/>
                  <a:gd name="connsiteX11" fmla="*/ 11909 w 23742"/>
                  <a:gd name="connsiteY11" fmla="*/ 38384 h 38383"/>
                  <a:gd name="connsiteX12" fmla="*/ 4315 w 23742"/>
                  <a:gd name="connsiteY12" fmla="*/ 34333 h 38383"/>
                  <a:gd name="connsiteX13" fmla="*/ 4315 w 23742"/>
                  <a:gd name="connsiteY13" fmla="*/ 37762 h 38383"/>
                  <a:gd name="connsiteX14" fmla="*/ 4240 w 23742"/>
                  <a:gd name="connsiteY14" fmla="*/ 23875 h 38383"/>
                  <a:gd name="connsiteX15" fmla="*/ 5578 w 23742"/>
                  <a:gd name="connsiteY15" fmla="*/ 30979 h 38383"/>
                  <a:gd name="connsiteX16" fmla="*/ 11494 w 23742"/>
                  <a:gd name="connsiteY16" fmla="*/ 34559 h 38383"/>
                  <a:gd name="connsiteX17" fmla="*/ 16752 w 23742"/>
                  <a:gd name="connsiteY17" fmla="*/ 31921 h 38383"/>
                  <a:gd name="connsiteX18" fmla="*/ 18975 w 23742"/>
                  <a:gd name="connsiteY18" fmla="*/ 24044 h 38383"/>
                  <a:gd name="connsiteX19" fmla="*/ 16846 w 23742"/>
                  <a:gd name="connsiteY19" fmla="*/ 16130 h 38383"/>
                  <a:gd name="connsiteX20" fmla="*/ 11702 w 23742"/>
                  <a:gd name="connsiteY20" fmla="*/ 13586 h 38383"/>
                  <a:gd name="connsiteX21" fmla="*/ 6444 w 23742"/>
                  <a:gd name="connsiteY21" fmla="*/ 16224 h 38383"/>
                  <a:gd name="connsiteX22" fmla="*/ 4221 w 23742"/>
                  <a:gd name="connsiteY22" fmla="*/ 23856 h 38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3742" h="38383">
                    <a:moveTo>
                      <a:pt x="4296" y="37762"/>
                    </a:moveTo>
                    <a:lnTo>
                      <a:pt x="0" y="37762"/>
                    </a:ln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473"/>
                    </a:lnTo>
                    <a:cubicBezTo>
                      <a:pt x="6595" y="11023"/>
                      <a:pt x="9101" y="9780"/>
                      <a:pt x="12135" y="9780"/>
                    </a:cubicBezTo>
                    <a:cubicBezTo>
                      <a:pt x="13812" y="9780"/>
                      <a:pt x="15414" y="10119"/>
                      <a:pt x="16921" y="10797"/>
                    </a:cubicBezTo>
                    <a:cubicBezTo>
                      <a:pt x="18429" y="11476"/>
                      <a:pt x="19654" y="12437"/>
                      <a:pt x="20633" y="13661"/>
                    </a:cubicBezTo>
                    <a:cubicBezTo>
                      <a:pt x="21613" y="14886"/>
                      <a:pt x="22367" y="16375"/>
                      <a:pt x="22913" y="18108"/>
                    </a:cubicBezTo>
                    <a:cubicBezTo>
                      <a:pt x="23460" y="19842"/>
                      <a:pt x="23742" y="21707"/>
                      <a:pt x="23742" y="23667"/>
                    </a:cubicBezTo>
                    <a:cubicBezTo>
                      <a:pt x="23742" y="28359"/>
                      <a:pt x="22574" y="31977"/>
                      <a:pt x="20257" y="34540"/>
                    </a:cubicBezTo>
                    <a:cubicBezTo>
                      <a:pt x="17939" y="37103"/>
                      <a:pt x="15150" y="38384"/>
                      <a:pt x="11909" y="38384"/>
                    </a:cubicBezTo>
                    <a:cubicBezTo>
                      <a:pt x="8668" y="38384"/>
                      <a:pt x="6143" y="37027"/>
                      <a:pt x="4315" y="34333"/>
                    </a:cubicBezTo>
                    <a:lnTo>
                      <a:pt x="4315" y="37762"/>
                    </a:lnTo>
                    <a:close/>
                    <a:moveTo>
                      <a:pt x="4240" y="23875"/>
                    </a:moveTo>
                    <a:cubicBezTo>
                      <a:pt x="4240" y="27153"/>
                      <a:pt x="4692" y="29528"/>
                      <a:pt x="5578" y="30979"/>
                    </a:cubicBezTo>
                    <a:cubicBezTo>
                      <a:pt x="7029" y="33372"/>
                      <a:pt x="9007" y="34559"/>
                      <a:pt x="11494" y="34559"/>
                    </a:cubicBezTo>
                    <a:cubicBezTo>
                      <a:pt x="13529" y="34559"/>
                      <a:pt x="15263" y="33673"/>
                      <a:pt x="16752" y="31921"/>
                    </a:cubicBezTo>
                    <a:cubicBezTo>
                      <a:pt x="18221" y="30168"/>
                      <a:pt x="18975" y="27530"/>
                      <a:pt x="18975" y="24044"/>
                    </a:cubicBezTo>
                    <a:cubicBezTo>
                      <a:pt x="18975" y="20558"/>
                      <a:pt x="18259" y="17845"/>
                      <a:pt x="16846" y="16130"/>
                    </a:cubicBezTo>
                    <a:cubicBezTo>
                      <a:pt x="15433" y="14415"/>
                      <a:pt x="13718" y="13586"/>
                      <a:pt x="11702" y="13586"/>
                    </a:cubicBezTo>
                    <a:cubicBezTo>
                      <a:pt x="9685" y="13586"/>
                      <a:pt x="7914" y="14472"/>
                      <a:pt x="6444" y="16224"/>
                    </a:cubicBezTo>
                    <a:cubicBezTo>
                      <a:pt x="4974" y="17977"/>
                      <a:pt x="4221" y="20539"/>
                      <a:pt x="4221" y="238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60" name="Freihandform: Form 3259">
                <a:extLst>
                  <a:ext uri="{FF2B5EF4-FFF2-40B4-BE49-F238E27FC236}">
                    <a16:creationId xmlns:a16="http://schemas.microsoft.com/office/drawing/2014/main" id="{FEC03AFA-F91E-BC43-B706-A9C6729FF025}"/>
                  </a:ext>
                </a:extLst>
              </p:cNvPr>
              <p:cNvSpPr/>
              <p:nvPr/>
            </p:nvSpPr>
            <p:spPr>
              <a:xfrm>
                <a:off x="6804159" y="2105715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1 h 37762"/>
                  <a:gd name="connsiteX7" fmla="*/ 4636 w 4635"/>
                  <a:gd name="connsiteY7" fmla="*/ 10401 h 37762"/>
                  <a:gd name="connsiteX8" fmla="*/ 4636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1"/>
                    </a:lnTo>
                    <a:lnTo>
                      <a:pt x="4636" y="10401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61" name="Freihandform: Form 3260">
                <a:extLst>
                  <a:ext uri="{FF2B5EF4-FFF2-40B4-BE49-F238E27FC236}">
                    <a16:creationId xmlns:a16="http://schemas.microsoft.com/office/drawing/2014/main" id="{C93E93CB-001D-49F5-93B8-6AA3C33F6D16}"/>
                  </a:ext>
                </a:extLst>
              </p:cNvPr>
              <p:cNvSpPr/>
              <p:nvPr/>
            </p:nvSpPr>
            <p:spPr>
              <a:xfrm>
                <a:off x="6813393" y="2116097"/>
                <a:ext cx="24213" cy="27379"/>
              </a:xfrm>
              <a:custGeom>
                <a:avLst/>
                <a:gdLst>
                  <a:gd name="connsiteX0" fmla="*/ 19 w 24213"/>
                  <a:gd name="connsiteY0" fmla="*/ 27379 h 27379"/>
                  <a:gd name="connsiteX1" fmla="*/ 19 w 24213"/>
                  <a:gd name="connsiteY1" fmla="*/ 23611 h 27379"/>
                  <a:gd name="connsiteX2" fmla="*/ 17430 w 24213"/>
                  <a:gd name="connsiteY2" fmla="*/ 3618 h 27379"/>
                  <a:gd name="connsiteX3" fmla="*/ 12192 w 24213"/>
                  <a:gd name="connsiteY3" fmla="*/ 3769 h 27379"/>
                  <a:gd name="connsiteX4" fmla="*/ 1036 w 24213"/>
                  <a:gd name="connsiteY4" fmla="*/ 3769 h 27379"/>
                  <a:gd name="connsiteX5" fmla="*/ 1036 w 24213"/>
                  <a:gd name="connsiteY5" fmla="*/ 0 h 27379"/>
                  <a:gd name="connsiteX6" fmla="*/ 23403 w 24213"/>
                  <a:gd name="connsiteY6" fmla="*/ 0 h 27379"/>
                  <a:gd name="connsiteX7" fmla="*/ 23403 w 24213"/>
                  <a:gd name="connsiteY7" fmla="*/ 3071 h 27379"/>
                  <a:gd name="connsiteX8" fmla="*/ 8593 w 24213"/>
                  <a:gd name="connsiteY8" fmla="*/ 20426 h 27379"/>
                  <a:gd name="connsiteX9" fmla="*/ 5728 w 24213"/>
                  <a:gd name="connsiteY9" fmla="*/ 23592 h 27379"/>
                  <a:gd name="connsiteX10" fmla="*/ 11570 w 24213"/>
                  <a:gd name="connsiteY10" fmla="*/ 23366 h 27379"/>
                  <a:gd name="connsiteX11" fmla="*/ 24213 w 24213"/>
                  <a:gd name="connsiteY11" fmla="*/ 23366 h 27379"/>
                  <a:gd name="connsiteX12" fmla="*/ 24213 w 24213"/>
                  <a:gd name="connsiteY12" fmla="*/ 27361 h 27379"/>
                  <a:gd name="connsiteX13" fmla="*/ 0 w 24213"/>
                  <a:gd name="connsiteY13" fmla="*/ 27361 h 2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213" h="27379">
                    <a:moveTo>
                      <a:pt x="19" y="27379"/>
                    </a:moveTo>
                    <a:lnTo>
                      <a:pt x="19" y="23611"/>
                    </a:lnTo>
                    <a:lnTo>
                      <a:pt x="17430" y="3618"/>
                    </a:lnTo>
                    <a:cubicBezTo>
                      <a:pt x="15451" y="3712"/>
                      <a:pt x="13718" y="3769"/>
                      <a:pt x="12192" y="3769"/>
                    </a:cubicBezTo>
                    <a:lnTo>
                      <a:pt x="1036" y="3769"/>
                    </a:lnTo>
                    <a:lnTo>
                      <a:pt x="1036" y="0"/>
                    </a:lnTo>
                    <a:lnTo>
                      <a:pt x="23403" y="0"/>
                    </a:lnTo>
                    <a:lnTo>
                      <a:pt x="23403" y="3071"/>
                    </a:lnTo>
                    <a:lnTo>
                      <a:pt x="8593" y="20426"/>
                    </a:lnTo>
                    <a:lnTo>
                      <a:pt x="5728" y="23592"/>
                    </a:lnTo>
                    <a:cubicBezTo>
                      <a:pt x="7801" y="23441"/>
                      <a:pt x="9761" y="23366"/>
                      <a:pt x="11570" y="23366"/>
                    </a:cubicBezTo>
                    <a:lnTo>
                      <a:pt x="24213" y="23366"/>
                    </a:lnTo>
                    <a:lnTo>
                      <a:pt x="24213" y="27361"/>
                    </a:lnTo>
                    <a:lnTo>
                      <a:pt x="0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62" name="Freihandform: Form 3261">
                <a:extLst>
                  <a:ext uri="{FF2B5EF4-FFF2-40B4-BE49-F238E27FC236}">
                    <a16:creationId xmlns:a16="http://schemas.microsoft.com/office/drawing/2014/main" id="{14D4E28E-4EE0-3737-ADF8-1489D819695B}"/>
                  </a:ext>
                </a:extLst>
              </p:cNvPr>
              <p:cNvSpPr/>
              <p:nvPr/>
            </p:nvSpPr>
            <p:spPr>
              <a:xfrm>
                <a:off x="6840659" y="2115476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0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3 h 28623"/>
                  <a:gd name="connsiteX26" fmla="*/ 20351 w 25193"/>
                  <a:gd name="connsiteY26" fmla="*/ 27963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299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90" name="Grafik 21">
              <a:extLst>
                <a:ext uri="{FF2B5EF4-FFF2-40B4-BE49-F238E27FC236}">
                  <a16:creationId xmlns:a16="http://schemas.microsoft.com/office/drawing/2014/main" id="{3B04207E-31FC-132D-D466-BF977F57928E}"/>
                </a:ext>
              </a:extLst>
            </p:cNvPr>
            <p:cNvGrpSpPr/>
            <p:nvPr/>
          </p:nvGrpSpPr>
          <p:grpSpPr>
            <a:xfrm>
              <a:off x="8299155" y="831903"/>
              <a:ext cx="187227" cy="38383"/>
              <a:chOff x="8299155" y="831903"/>
              <a:chExt cx="187227" cy="38383"/>
            </a:xfrm>
            <a:solidFill>
              <a:srgbClr val="000000"/>
            </a:solidFill>
          </p:grpSpPr>
          <p:sp>
            <p:nvSpPr>
              <p:cNvPr id="3251" name="Freihandform: Form 3250">
                <a:extLst>
                  <a:ext uri="{FF2B5EF4-FFF2-40B4-BE49-F238E27FC236}">
                    <a16:creationId xmlns:a16="http://schemas.microsoft.com/office/drawing/2014/main" id="{12EEA4F0-5987-8069-A181-1821A7E30BF9}"/>
                  </a:ext>
                </a:extLst>
              </p:cNvPr>
              <p:cNvSpPr/>
              <p:nvPr/>
            </p:nvSpPr>
            <p:spPr>
              <a:xfrm>
                <a:off x="8299155" y="831903"/>
                <a:ext cx="28830" cy="37762"/>
              </a:xfrm>
              <a:custGeom>
                <a:avLst/>
                <a:gdLst>
                  <a:gd name="connsiteX0" fmla="*/ 0 w 28830"/>
                  <a:gd name="connsiteY0" fmla="*/ 37762 h 37762"/>
                  <a:gd name="connsiteX1" fmla="*/ 0 w 28830"/>
                  <a:gd name="connsiteY1" fmla="*/ 0 h 37762"/>
                  <a:gd name="connsiteX2" fmla="*/ 14246 w 28830"/>
                  <a:gd name="connsiteY2" fmla="*/ 0 h 37762"/>
                  <a:gd name="connsiteX3" fmla="*/ 19993 w 28830"/>
                  <a:gd name="connsiteY3" fmla="*/ 358 h 37762"/>
                  <a:gd name="connsiteX4" fmla="*/ 24647 w 28830"/>
                  <a:gd name="connsiteY4" fmla="*/ 2129 h 37762"/>
                  <a:gd name="connsiteX5" fmla="*/ 27681 w 28830"/>
                  <a:gd name="connsiteY5" fmla="*/ 5766 h 37762"/>
                  <a:gd name="connsiteX6" fmla="*/ 28830 w 28830"/>
                  <a:gd name="connsiteY6" fmla="*/ 10910 h 37762"/>
                  <a:gd name="connsiteX7" fmla="*/ 25759 w 28830"/>
                  <a:gd name="connsiteY7" fmla="*/ 19069 h 37762"/>
                  <a:gd name="connsiteX8" fmla="*/ 14679 w 28830"/>
                  <a:gd name="connsiteY8" fmla="*/ 22405 h 37762"/>
                  <a:gd name="connsiteX9" fmla="*/ 4993 w 28830"/>
                  <a:gd name="connsiteY9" fmla="*/ 22405 h 37762"/>
                  <a:gd name="connsiteX10" fmla="*/ 4993 w 28830"/>
                  <a:gd name="connsiteY10" fmla="*/ 37762 h 37762"/>
                  <a:gd name="connsiteX11" fmla="*/ 0 w 28830"/>
                  <a:gd name="connsiteY11" fmla="*/ 37762 h 37762"/>
                  <a:gd name="connsiteX12" fmla="*/ 4993 w 28830"/>
                  <a:gd name="connsiteY12" fmla="*/ 17958 h 37762"/>
                  <a:gd name="connsiteX13" fmla="*/ 14755 w 28830"/>
                  <a:gd name="connsiteY13" fmla="*/ 17958 h 37762"/>
                  <a:gd name="connsiteX14" fmla="*/ 21632 w 28830"/>
                  <a:gd name="connsiteY14" fmla="*/ 16149 h 37762"/>
                  <a:gd name="connsiteX15" fmla="*/ 23667 w 28830"/>
                  <a:gd name="connsiteY15" fmla="*/ 11080 h 37762"/>
                  <a:gd name="connsiteX16" fmla="*/ 22480 w 28830"/>
                  <a:gd name="connsiteY16" fmla="*/ 7029 h 37762"/>
                  <a:gd name="connsiteX17" fmla="*/ 19314 w 28830"/>
                  <a:gd name="connsiteY17" fmla="*/ 4805 h 37762"/>
                  <a:gd name="connsiteX18" fmla="*/ 14660 w 28830"/>
                  <a:gd name="connsiteY18" fmla="*/ 4466 h 37762"/>
                  <a:gd name="connsiteX19" fmla="*/ 4993 w 28830"/>
                  <a:gd name="connsiteY19" fmla="*/ 4466 h 37762"/>
                  <a:gd name="connsiteX20" fmla="*/ 4993 w 28830"/>
                  <a:gd name="connsiteY20" fmla="*/ 17958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8830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14246" y="0"/>
                    </a:lnTo>
                    <a:cubicBezTo>
                      <a:pt x="16752" y="0"/>
                      <a:pt x="18674" y="113"/>
                      <a:pt x="19993" y="358"/>
                    </a:cubicBezTo>
                    <a:cubicBezTo>
                      <a:pt x="21840" y="660"/>
                      <a:pt x="23403" y="1263"/>
                      <a:pt x="24647" y="2129"/>
                    </a:cubicBezTo>
                    <a:cubicBezTo>
                      <a:pt x="25910" y="2996"/>
                      <a:pt x="26908" y="4221"/>
                      <a:pt x="27681" y="5766"/>
                    </a:cubicBezTo>
                    <a:cubicBezTo>
                      <a:pt x="28435" y="7330"/>
                      <a:pt x="28830" y="9045"/>
                      <a:pt x="28830" y="10910"/>
                    </a:cubicBezTo>
                    <a:cubicBezTo>
                      <a:pt x="28830" y="14114"/>
                      <a:pt x="27813" y="16846"/>
                      <a:pt x="25759" y="19069"/>
                    </a:cubicBezTo>
                    <a:cubicBezTo>
                      <a:pt x="23724" y="21293"/>
                      <a:pt x="20030" y="22405"/>
                      <a:pt x="14679" y="22405"/>
                    </a:cubicBezTo>
                    <a:lnTo>
                      <a:pt x="4993" y="22405"/>
                    </a:lnTo>
                    <a:lnTo>
                      <a:pt x="4993" y="37762"/>
                    </a:lnTo>
                    <a:lnTo>
                      <a:pt x="0" y="37762"/>
                    </a:lnTo>
                    <a:close/>
                    <a:moveTo>
                      <a:pt x="4993" y="17958"/>
                    </a:moveTo>
                    <a:lnTo>
                      <a:pt x="14755" y="17958"/>
                    </a:lnTo>
                    <a:cubicBezTo>
                      <a:pt x="17977" y="17958"/>
                      <a:pt x="20275" y="17355"/>
                      <a:pt x="21632" y="16149"/>
                    </a:cubicBezTo>
                    <a:cubicBezTo>
                      <a:pt x="22989" y="14943"/>
                      <a:pt x="23667" y="13247"/>
                      <a:pt x="23667" y="11080"/>
                    </a:cubicBezTo>
                    <a:cubicBezTo>
                      <a:pt x="23667" y="9497"/>
                      <a:pt x="23272" y="8140"/>
                      <a:pt x="22480" y="7029"/>
                    </a:cubicBezTo>
                    <a:cubicBezTo>
                      <a:pt x="21689" y="5917"/>
                      <a:pt x="20633" y="5163"/>
                      <a:pt x="19314" y="4805"/>
                    </a:cubicBezTo>
                    <a:cubicBezTo>
                      <a:pt x="18467" y="4579"/>
                      <a:pt x="16921" y="4466"/>
                      <a:pt x="14660" y="4466"/>
                    </a:cubicBezTo>
                    <a:lnTo>
                      <a:pt x="4993" y="4466"/>
                    </a:lnTo>
                    <a:lnTo>
                      <a:pt x="4993" y="1795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52" name="Freihandform: Form 3251">
                <a:extLst>
                  <a:ext uri="{FF2B5EF4-FFF2-40B4-BE49-F238E27FC236}">
                    <a16:creationId xmlns:a16="http://schemas.microsoft.com/office/drawing/2014/main" id="{C23DAD56-FE52-4CB1-F44D-FD56EA091725}"/>
                  </a:ext>
                </a:extLst>
              </p:cNvPr>
              <p:cNvSpPr/>
              <p:nvPr/>
            </p:nvSpPr>
            <p:spPr>
              <a:xfrm>
                <a:off x="8333695" y="841683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5 w 14867"/>
                  <a:gd name="connsiteY7" fmla="*/ 5785 h 27982"/>
                  <a:gd name="connsiteX8" fmla="*/ 9874 w 14867"/>
                  <a:gd name="connsiteY8" fmla="*/ 4786 h 27982"/>
                  <a:gd name="connsiteX9" fmla="*/ 7141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39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9"/>
                    </a:cubicBezTo>
                    <a:lnTo>
                      <a:pt x="13265" y="5785"/>
                    </a:lnTo>
                    <a:cubicBezTo>
                      <a:pt x="12135" y="5107"/>
                      <a:pt x="11004" y="4786"/>
                      <a:pt x="9874" y="4786"/>
                    </a:cubicBezTo>
                    <a:cubicBezTo>
                      <a:pt x="8856" y="4786"/>
                      <a:pt x="7952" y="5088"/>
                      <a:pt x="7141" y="5710"/>
                    </a:cubicBezTo>
                    <a:cubicBezTo>
                      <a:pt x="6331" y="6313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53" name="Freihandform: Form 3252">
                <a:extLst>
                  <a:ext uri="{FF2B5EF4-FFF2-40B4-BE49-F238E27FC236}">
                    <a16:creationId xmlns:a16="http://schemas.microsoft.com/office/drawing/2014/main" id="{BD4B65FD-BF6F-B8C2-97E1-2C9CB2C47BEB}"/>
                  </a:ext>
                </a:extLst>
              </p:cNvPr>
              <p:cNvSpPr/>
              <p:nvPr/>
            </p:nvSpPr>
            <p:spPr>
              <a:xfrm>
                <a:off x="8349750" y="841683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0 w 25231"/>
                  <a:gd name="connsiteY1" fmla="*/ 19748 h 28585"/>
                  <a:gd name="connsiteX2" fmla="*/ 20878 w 25231"/>
                  <a:gd name="connsiteY2" fmla="*/ 26268 h 28585"/>
                  <a:gd name="connsiteX3" fmla="*/ 13039 w 25231"/>
                  <a:gd name="connsiteY3" fmla="*/ 28585 h 28585"/>
                  <a:gd name="connsiteX4" fmla="*/ 3523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5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6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0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0" y="19748"/>
                    </a:lnTo>
                    <a:cubicBezTo>
                      <a:pt x="24327" y="22556"/>
                      <a:pt x="22932" y="24723"/>
                      <a:pt x="20878" y="26268"/>
                    </a:cubicBezTo>
                    <a:cubicBezTo>
                      <a:pt x="18843" y="27813"/>
                      <a:pt x="16224" y="28585"/>
                      <a:pt x="13039" y="28585"/>
                    </a:cubicBezTo>
                    <a:cubicBezTo>
                      <a:pt x="9044" y="28585"/>
                      <a:pt x="5860" y="27361"/>
                      <a:pt x="3523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5" y="1263"/>
                      <a:pt x="9007" y="0"/>
                      <a:pt x="12775" y="0"/>
                    </a:cubicBezTo>
                    <a:cubicBezTo>
                      <a:pt x="16544" y="0"/>
                      <a:pt x="19427" y="1244"/>
                      <a:pt x="21745" y="3731"/>
                    </a:cubicBezTo>
                    <a:cubicBezTo>
                      <a:pt x="24063" y="6218"/>
                      <a:pt x="25231" y="9723"/>
                      <a:pt x="25231" y="14246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4" y="18485"/>
                      <a:pt x="5822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6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0" y="11664"/>
                    </a:lnTo>
                    <a:cubicBezTo>
                      <a:pt x="20143" y="9365"/>
                      <a:pt x="19559" y="7632"/>
                      <a:pt x="18598" y="6482"/>
                    </a:cubicBezTo>
                    <a:cubicBezTo>
                      <a:pt x="17128" y="4692"/>
                      <a:pt x="15206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19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54" name="Freihandform: Form 3253">
                <a:extLst>
                  <a:ext uri="{FF2B5EF4-FFF2-40B4-BE49-F238E27FC236}">
                    <a16:creationId xmlns:a16="http://schemas.microsoft.com/office/drawing/2014/main" id="{E1AB9432-D343-D0D2-6E3E-BAA58F0579CB}"/>
                  </a:ext>
                </a:extLst>
              </p:cNvPr>
              <p:cNvSpPr/>
              <p:nvPr/>
            </p:nvSpPr>
            <p:spPr>
              <a:xfrm>
                <a:off x="8377864" y="842304"/>
                <a:ext cx="25118" cy="27379"/>
              </a:xfrm>
              <a:custGeom>
                <a:avLst/>
                <a:gdLst>
                  <a:gd name="connsiteX0" fmla="*/ 10402 w 25118"/>
                  <a:gd name="connsiteY0" fmla="*/ 27361 h 27379"/>
                  <a:gd name="connsiteX1" fmla="*/ 0 w 25118"/>
                  <a:gd name="connsiteY1" fmla="*/ 0 h 27379"/>
                  <a:gd name="connsiteX2" fmla="*/ 4899 w 25118"/>
                  <a:gd name="connsiteY2" fmla="*/ 0 h 27379"/>
                  <a:gd name="connsiteX3" fmla="*/ 10778 w 25118"/>
                  <a:gd name="connsiteY3" fmla="*/ 16394 h 27379"/>
                  <a:gd name="connsiteX4" fmla="*/ 12531 w 25118"/>
                  <a:gd name="connsiteY4" fmla="*/ 21915 h 27379"/>
                  <a:gd name="connsiteX5" fmla="*/ 14265 w 25118"/>
                  <a:gd name="connsiteY5" fmla="*/ 16714 h 27379"/>
                  <a:gd name="connsiteX6" fmla="*/ 20351 w 25118"/>
                  <a:gd name="connsiteY6" fmla="*/ 19 h 27379"/>
                  <a:gd name="connsiteX7" fmla="*/ 25118 w 25118"/>
                  <a:gd name="connsiteY7" fmla="*/ 19 h 27379"/>
                  <a:gd name="connsiteX8" fmla="*/ 14755 w 25118"/>
                  <a:gd name="connsiteY8" fmla="*/ 27379 h 27379"/>
                  <a:gd name="connsiteX9" fmla="*/ 10420 w 25118"/>
                  <a:gd name="connsiteY9" fmla="*/ 27379 h 2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18" h="27379">
                    <a:moveTo>
                      <a:pt x="10402" y="27361"/>
                    </a:moveTo>
                    <a:lnTo>
                      <a:pt x="0" y="0"/>
                    </a:lnTo>
                    <a:lnTo>
                      <a:pt x="4899" y="0"/>
                    </a:lnTo>
                    <a:lnTo>
                      <a:pt x="10778" y="16394"/>
                    </a:lnTo>
                    <a:cubicBezTo>
                      <a:pt x="11419" y="18165"/>
                      <a:pt x="12003" y="19993"/>
                      <a:pt x="12531" y="21915"/>
                    </a:cubicBezTo>
                    <a:cubicBezTo>
                      <a:pt x="12945" y="20464"/>
                      <a:pt x="13511" y="18730"/>
                      <a:pt x="14265" y="16714"/>
                    </a:cubicBezTo>
                    <a:lnTo>
                      <a:pt x="20351" y="19"/>
                    </a:lnTo>
                    <a:lnTo>
                      <a:pt x="25118" y="19"/>
                    </a:lnTo>
                    <a:lnTo>
                      <a:pt x="14755" y="27379"/>
                    </a:lnTo>
                    <a:lnTo>
                      <a:pt x="10420" y="27379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55" name="Freihandform: Form 3254">
                <a:extLst>
                  <a:ext uri="{FF2B5EF4-FFF2-40B4-BE49-F238E27FC236}">
                    <a16:creationId xmlns:a16="http://schemas.microsoft.com/office/drawing/2014/main" id="{10989D51-83CC-4FBF-826D-099EABAA83AA}"/>
                  </a:ext>
                </a:extLst>
              </p:cNvPr>
              <p:cNvSpPr/>
              <p:nvPr/>
            </p:nvSpPr>
            <p:spPr>
              <a:xfrm>
                <a:off x="8405488" y="841683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2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2 w 25231"/>
                  <a:gd name="connsiteY9" fmla="*/ 14246 h 28585"/>
                  <a:gd name="connsiteX10" fmla="*/ 25213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9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6"/>
                      <a:pt x="22933" y="24723"/>
                      <a:pt x="20879" y="26268"/>
                    </a:cubicBezTo>
                    <a:cubicBezTo>
                      <a:pt x="18843" y="27813"/>
                      <a:pt x="16224" y="28585"/>
                      <a:pt x="13040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2" y="3806"/>
                    </a:cubicBezTo>
                    <a:cubicBezTo>
                      <a:pt x="5936" y="1263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2" y="9723"/>
                      <a:pt x="25232" y="14246"/>
                    </a:cubicBezTo>
                    <a:cubicBezTo>
                      <a:pt x="25232" y="14528"/>
                      <a:pt x="25232" y="14924"/>
                      <a:pt x="25213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6"/>
                      <a:pt x="19579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60" y="7632"/>
                      <a:pt x="18599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56" name="Freihandform: Form 3255">
                <a:extLst>
                  <a:ext uri="{FF2B5EF4-FFF2-40B4-BE49-F238E27FC236}">
                    <a16:creationId xmlns:a16="http://schemas.microsoft.com/office/drawing/2014/main" id="{48ED5EC3-3BD5-506E-4D42-29BF0B2F5C57}"/>
                  </a:ext>
                </a:extLst>
              </p:cNvPr>
              <p:cNvSpPr/>
              <p:nvPr/>
            </p:nvSpPr>
            <p:spPr>
              <a:xfrm>
                <a:off x="8433923" y="842286"/>
                <a:ext cx="24213" cy="27379"/>
              </a:xfrm>
              <a:custGeom>
                <a:avLst/>
                <a:gdLst>
                  <a:gd name="connsiteX0" fmla="*/ 19 w 24213"/>
                  <a:gd name="connsiteY0" fmla="*/ 27379 h 27379"/>
                  <a:gd name="connsiteX1" fmla="*/ 19 w 24213"/>
                  <a:gd name="connsiteY1" fmla="*/ 23611 h 27379"/>
                  <a:gd name="connsiteX2" fmla="*/ 17430 w 24213"/>
                  <a:gd name="connsiteY2" fmla="*/ 3618 h 27379"/>
                  <a:gd name="connsiteX3" fmla="*/ 12192 w 24213"/>
                  <a:gd name="connsiteY3" fmla="*/ 3769 h 27379"/>
                  <a:gd name="connsiteX4" fmla="*/ 1036 w 24213"/>
                  <a:gd name="connsiteY4" fmla="*/ 3769 h 27379"/>
                  <a:gd name="connsiteX5" fmla="*/ 1036 w 24213"/>
                  <a:gd name="connsiteY5" fmla="*/ 0 h 27379"/>
                  <a:gd name="connsiteX6" fmla="*/ 23403 w 24213"/>
                  <a:gd name="connsiteY6" fmla="*/ 0 h 27379"/>
                  <a:gd name="connsiteX7" fmla="*/ 23403 w 24213"/>
                  <a:gd name="connsiteY7" fmla="*/ 3071 h 27379"/>
                  <a:gd name="connsiteX8" fmla="*/ 8593 w 24213"/>
                  <a:gd name="connsiteY8" fmla="*/ 20426 h 27379"/>
                  <a:gd name="connsiteX9" fmla="*/ 5728 w 24213"/>
                  <a:gd name="connsiteY9" fmla="*/ 23592 h 27379"/>
                  <a:gd name="connsiteX10" fmla="*/ 11570 w 24213"/>
                  <a:gd name="connsiteY10" fmla="*/ 23366 h 27379"/>
                  <a:gd name="connsiteX11" fmla="*/ 24213 w 24213"/>
                  <a:gd name="connsiteY11" fmla="*/ 23366 h 27379"/>
                  <a:gd name="connsiteX12" fmla="*/ 24213 w 24213"/>
                  <a:gd name="connsiteY12" fmla="*/ 27361 h 27379"/>
                  <a:gd name="connsiteX13" fmla="*/ 0 w 24213"/>
                  <a:gd name="connsiteY13" fmla="*/ 27361 h 2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4213" h="27379">
                    <a:moveTo>
                      <a:pt x="19" y="27379"/>
                    </a:moveTo>
                    <a:lnTo>
                      <a:pt x="19" y="23611"/>
                    </a:lnTo>
                    <a:lnTo>
                      <a:pt x="17430" y="3618"/>
                    </a:lnTo>
                    <a:cubicBezTo>
                      <a:pt x="15451" y="3712"/>
                      <a:pt x="13718" y="3769"/>
                      <a:pt x="12192" y="3769"/>
                    </a:cubicBezTo>
                    <a:lnTo>
                      <a:pt x="1036" y="3769"/>
                    </a:lnTo>
                    <a:lnTo>
                      <a:pt x="1036" y="0"/>
                    </a:lnTo>
                    <a:lnTo>
                      <a:pt x="23403" y="0"/>
                    </a:lnTo>
                    <a:lnTo>
                      <a:pt x="23403" y="3071"/>
                    </a:lnTo>
                    <a:lnTo>
                      <a:pt x="8593" y="20426"/>
                    </a:lnTo>
                    <a:lnTo>
                      <a:pt x="5728" y="23592"/>
                    </a:lnTo>
                    <a:cubicBezTo>
                      <a:pt x="7801" y="23441"/>
                      <a:pt x="9761" y="23366"/>
                      <a:pt x="11570" y="23366"/>
                    </a:cubicBezTo>
                    <a:lnTo>
                      <a:pt x="24213" y="23366"/>
                    </a:lnTo>
                    <a:lnTo>
                      <a:pt x="24213" y="27361"/>
                    </a:lnTo>
                    <a:lnTo>
                      <a:pt x="0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57" name="Freihandform: Form 3256">
                <a:extLst>
                  <a:ext uri="{FF2B5EF4-FFF2-40B4-BE49-F238E27FC236}">
                    <a16:creationId xmlns:a16="http://schemas.microsoft.com/office/drawing/2014/main" id="{3A54BB69-21AD-2DF1-2596-352E337F77AE}"/>
                  </a:ext>
                </a:extLst>
              </p:cNvPr>
              <p:cNvSpPr/>
              <p:nvPr/>
            </p:nvSpPr>
            <p:spPr>
              <a:xfrm>
                <a:off x="8461189" y="841664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0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9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94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80" y="27003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91" name="Grafik 21">
              <a:extLst>
                <a:ext uri="{FF2B5EF4-FFF2-40B4-BE49-F238E27FC236}">
                  <a16:creationId xmlns:a16="http://schemas.microsoft.com/office/drawing/2014/main" id="{B9550F61-530B-F4A0-86B8-290BE1F31E40}"/>
                </a:ext>
              </a:extLst>
            </p:cNvPr>
            <p:cNvGrpSpPr/>
            <p:nvPr/>
          </p:nvGrpSpPr>
          <p:grpSpPr>
            <a:xfrm>
              <a:off x="7901654" y="976375"/>
              <a:ext cx="213910" cy="39024"/>
              <a:chOff x="7901654" y="976375"/>
              <a:chExt cx="213910" cy="39024"/>
            </a:xfrm>
            <a:solidFill>
              <a:srgbClr val="000000"/>
            </a:solidFill>
          </p:grpSpPr>
          <p:sp>
            <p:nvSpPr>
              <p:cNvPr id="3242" name="Freihandform: Form 3241">
                <a:extLst>
                  <a:ext uri="{FF2B5EF4-FFF2-40B4-BE49-F238E27FC236}">
                    <a16:creationId xmlns:a16="http://schemas.microsoft.com/office/drawing/2014/main" id="{464EE236-757F-80E9-47C5-4FC5A48CFD7C}"/>
                  </a:ext>
                </a:extLst>
              </p:cNvPr>
              <p:cNvSpPr/>
              <p:nvPr/>
            </p:nvSpPr>
            <p:spPr>
              <a:xfrm>
                <a:off x="7901654" y="976997"/>
                <a:ext cx="31223" cy="37780"/>
              </a:xfrm>
              <a:custGeom>
                <a:avLst/>
                <a:gdLst>
                  <a:gd name="connsiteX0" fmla="*/ 0 w 31223"/>
                  <a:gd name="connsiteY0" fmla="*/ 37762 h 37780"/>
                  <a:gd name="connsiteX1" fmla="*/ 0 w 31223"/>
                  <a:gd name="connsiteY1" fmla="*/ 0 h 37780"/>
                  <a:gd name="connsiteX2" fmla="*/ 4993 w 31223"/>
                  <a:gd name="connsiteY2" fmla="*/ 0 h 37780"/>
                  <a:gd name="connsiteX3" fmla="*/ 4993 w 31223"/>
                  <a:gd name="connsiteY3" fmla="*/ 18730 h 37780"/>
                  <a:gd name="connsiteX4" fmla="*/ 23742 w 31223"/>
                  <a:gd name="connsiteY4" fmla="*/ 0 h 37780"/>
                  <a:gd name="connsiteX5" fmla="*/ 30526 w 31223"/>
                  <a:gd name="connsiteY5" fmla="*/ 0 h 37780"/>
                  <a:gd name="connsiteX6" fmla="*/ 14679 w 31223"/>
                  <a:gd name="connsiteY6" fmla="*/ 15301 h 37780"/>
                  <a:gd name="connsiteX7" fmla="*/ 31223 w 31223"/>
                  <a:gd name="connsiteY7" fmla="*/ 37762 h 37780"/>
                  <a:gd name="connsiteX8" fmla="*/ 24628 w 31223"/>
                  <a:gd name="connsiteY8" fmla="*/ 37762 h 37780"/>
                  <a:gd name="connsiteX9" fmla="*/ 11174 w 31223"/>
                  <a:gd name="connsiteY9" fmla="*/ 18655 h 37780"/>
                  <a:gd name="connsiteX10" fmla="*/ 4993 w 31223"/>
                  <a:gd name="connsiteY10" fmla="*/ 24685 h 37780"/>
                  <a:gd name="connsiteX11" fmla="*/ 4993 w 31223"/>
                  <a:gd name="connsiteY11" fmla="*/ 37781 h 37780"/>
                  <a:gd name="connsiteX12" fmla="*/ 0 w 31223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223" h="37780">
                    <a:moveTo>
                      <a:pt x="0" y="37762"/>
                    </a:moveTo>
                    <a:lnTo>
                      <a:pt x="0" y="0"/>
                    </a:lnTo>
                    <a:lnTo>
                      <a:pt x="4993" y="0"/>
                    </a:lnTo>
                    <a:lnTo>
                      <a:pt x="4993" y="18730"/>
                    </a:lnTo>
                    <a:lnTo>
                      <a:pt x="23742" y="0"/>
                    </a:lnTo>
                    <a:lnTo>
                      <a:pt x="30526" y="0"/>
                    </a:lnTo>
                    <a:lnTo>
                      <a:pt x="14679" y="15301"/>
                    </a:lnTo>
                    <a:lnTo>
                      <a:pt x="31223" y="37762"/>
                    </a:lnTo>
                    <a:lnTo>
                      <a:pt x="24628" y="37762"/>
                    </a:lnTo>
                    <a:lnTo>
                      <a:pt x="11174" y="18655"/>
                    </a:lnTo>
                    <a:lnTo>
                      <a:pt x="4993" y="24685"/>
                    </a:lnTo>
                    <a:lnTo>
                      <a:pt x="4993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43" name="Freihandform: Form 3242">
                <a:extLst>
                  <a:ext uri="{FF2B5EF4-FFF2-40B4-BE49-F238E27FC236}">
                    <a16:creationId xmlns:a16="http://schemas.microsoft.com/office/drawing/2014/main" id="{C7E0943D-0E33-3704-628E-BC4B2393E9B1}"/>
                  </a:ext>
                </a:extLst>
              </p:cNvPr>
              <p:cNvSpPr/>
              <p:nvPr/>
            </p:nvSpPr>
            <p:spPr>
              <a:xfrm>
                <a:off x="7934894" y="986777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1 w 25231"/>
                  <a:gd name="connsiteY1" fmla="*/ 19748 h 28585"/>
                  <a:gd name="connsiteX2" fmla="*/ 20879 w 25231"/>
                  <a:gd name="connsiteY2" fmla="*/ 26268 h 28585"/>
                  <a:gd name="connsiteX3" fmla="*/ 13040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2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2 w 25231"/>
                  <a:gd name="connsiteY9" fmla="*/ 14246 h 28585"/>
                  <a:gd name="connsiteX10" fmla="*/ 25213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9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1" y="19748"/>
                    </a:lnTo>
                    <a:cubicBezTo>
                      <a:pt x="24327" y="22556"/>
                      <a:pt x="22933" y="24722"/>
                      <a:pt x="20879" y="26268"/>
                    </a:cubicBezTo>
                    <a:cubicBezTo>
                      <a:pt x="18825" y="27813"/>
                      <a:pt x="16224" y="28585"/>
                      <a:pt x="13040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2" y="3806"/>
                    </a:cubicBezTo>
                    <a:cubicBezTo>
                      <a:pt x="5936" y="1263"/>
                      <a:pt x="9007" y="0"/>
                      <a:pt x="12776" y="0"/>
                    </a:cubicBezTo>
                    <a:cubicBezTo>
                      <a:pt x="16545" y="0"/>
                      <a:pt x="19428" y="1244"/>
                      <a:pt x="21745" y="3731"/>
                    </a:cubicBezTo>
                    <a:cubicBezTo>
                      <a:pt x="24063" y="6218"/>
                      <a:pt x="25232" y="9723"/>
                      <a:pt x="25232" y="14246"/>
                    </a:cubicBezTo>
                    <a:cubicBezTo>
                      <a:pt x="25232" y="14528"/>
                      <a:pt x="25232" y="14924"/>
                      <a:pt x="25213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69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6"/>
                      <a:pt x="19579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60" y="7632"/>
                      <a:pt x="18599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49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44" name="Freihandform: Form 3243">
                <a:extLst>
                  <a:ext uri="{FF2B5EF4-FFF2-40B4-BE49-F238E27FC236}">
                    <a16:creationId xmlns:a16="http://schemas.microsoft.com/office/drawing/2014/main" id="{B72BEFF2-C23B-C058-590F-0B6DA0BA441D}"/>
                  </a:ext>
                </a:extLst>
              </p:cNvPr>
              <p:cNvSpPr/>
              <p:nvPr/>
            </p:nvSpPr>
            <p:spPr>
              <a:xfrm>
                <a:off x="7962820" y="976375"/>
                <a:ext cx="15998" cy="38421"/>
              </a:xfrm>
              <a:custGeom>
                <a:avLst/>
                <a:gdLst>
                  <a:gd name="connsiteX0" fmla="*/ 4089 w 15998"/>
                  <a:gd name="connsiteY0" fmla="*/ 38384 h 38421"/>
                  <a:gd name="connsiteX1" fmla="*/ 4089 w 15998"/>
                  <a:gd name="connsiteY1" fmla="*/ 14622 h 38421"/>
                  <a:gd name="connsiteX2" fmla="*/ 0 w 15998"/>
                  <a:gd name="connsiteY2" fmla="*/ 14622 h 38421"/>
                  <a:gd name="connsiteX3" fmla="*/ 0 w 15998"/>
                  <a:gd name="connsiteY3" fmla="*/ 11023 h 38421"/>
                  <a:gd name="connsiteX4" fmla="*/ 4089 w 15998"/>
                  <a:gd name="connsiteY4" fmla="*/ 11023 h 38421"/>
                  <a:gd name="connsiteX5" fmla="*/ 4089 w 15998"/>
                  <a:gd name="connsiteY5" fmla="*/ 8121 h 38421"/>
                  <a:gd name="connsiteX6" fmla="*/ 4579 w 15998"/>
                  <a:gd name="connsiteY6" fmla="*/ 4032 h 38421"/>
                  <a:gd name="connsiteX7" fmla="*/ 6934 w 15998"/>
                  <a:gd name="connsiteY7" fmla="*/ 1112 h 38421"/>
                  <a:gd name="connsiteX8" fmla="*/ 11664 w 15998"/>
                  <a:gd name="connsiteY8" fmla="*/ 0 h 38421"/>
                  <a:gd name="connsiteX9" fmla="*/ 15998 w 15998"/>
                  <a:gd name="connsiteY9" fmla="*/ 471 h 38421"/>
                  <a:gd name="connsiteX10" fmla="*/ 15301 w 15998"/>
                  <a:gd name="connsiteY10" fmla="*/ 4522 h 38421"/>
                  <a:gd name="connsiteX11" fmla="*/ 12568 w 15998"/>
                  <a:gd name="connsiteY11" fmla="*/ 4259 h 38421"/>
                  <a:gd name="connsiteX12" fmla="*/ 9573 w 15998"/>
                  <a:gd name="connsiteY12" fmla="*/ 5163 h 38421"/>
                  <a:gd name="connsiteX13" fmla="*/ 8705 w 15998"/>
                  <a:gd name="connsiteY13" fmla="*/ 8536 h 38421"/>
                  <a:gd name="connsiteX14" fmla="*/ 8705 w 15998"/>
                  <a:gd name="connsiteY14" fmla="*/ 11061 h 38421"/>
                  <a:gd name="connsiteX15" fmla="*/ 14038 w 15998"/>
                  <a:gd name="connsiteY15" fmla="*/ 11061 h 38421"/>
                  <a:gd name="connsiteX16" fmla="*/ 14038 w 15998"/>
                  <a:gd name="connsiteY16" fmla="*/ 14660 h 38421"/>
                  <a:gd name="connsiteX17" fmla="*/ 8705 w 15998"/>
                  <a:gd name="connsiteY17" fmla="*/ 14660 h 38421"/>
                  <a:gd name="connsiteX18" fmla="*/ 8705 w 15998"/>
                  <a:gd name="connsiteY18" fmla="*/ 38422 h 38421"/>
                  <a:gd name="connsiteX19" fmla="*/ 4089 w 15998"/>
                  <a:gd name="connsiteY19" fmla="*/ 38422 h 38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998" h="38421">
                    <a:moveTo>
                      <a:pt x="4089" y="38384"/>
                    </a:moveTo>
                    <a:lnTo>
                      <a:pt x="4089" y="14622"/>
                    </a:lnTo>
                    <a:lnTo>
                      <a:pt x="0" y="14622"/>
                    </a:lnTo>
                    <a:lnTo>
                      <a:pt x="0" y="11023"/>
                    </a:lnTo>
                    <a:lnTo>
                      <a:pt x="4089" y="11023"/>
                    </a:lnTo>
                    <a:lnTo>
                      <a:pt x="4089" y="8121"/>
                    </a:lnTo>
                    <a:cubicBezTo>
                      <a:pt x="4089" y="6275"/>
                      <a:pt x="4259" y="4918"/>
                      <a:pt x="4579" y="4032"/>
                    </a:cubicBezTo>
                    <a:cubicBezTo>
                      <a:pt x="5031" y="2827"/>
                      <a:pt x="5804" y="1847"/>
                      <a:pt x="6934" y="1112"/>
                    </a:cubicBezTo>
                    <a:cubicBezTo>
                      <a:pt x="8065" y="377"/>
                      <a:pt x="9629" y="0"/>
                      <a:pt x="11664" y="0"/>
                    </a:cubicBezTo>
                    <a:cubicBezTo>
                      <a:pt x="12964" y="0"/>
                      <a:pt x="14415" y="151"/>
                      <a:pt x="15998" y="471"/>
                    </a:cubicBezTo>
                    <a:lnTo>
                      <a:pt x="15301" y="4522"/>
                    </a:lnTo>
                    <a:cubicBezTo>
                      <a:pt x="14340" y="4353"/>
                      <a:pt x="13435" y="4259"/>
                      <a:pt x="12568" y="4259"/>
                    </a:cubicBezTo>
                    <a:cubicBezTo>
                      <a:pt x="11155" y="4259"/>
                      <a:pt x="10156" y="4560"/>
                      <a:pt x="9573" y="5163"/>
                    </a:cubicBezTo>
                    <a:cubicBezTo>
                      <a:pt x="8988" y="5766"/>
                      <a:pt x="8705" y="6897"/>
                      <a:pt x="8705" y="8536"/>
                    </a:cubicBezTo>
                    <a:lnTo>
                      <a:pt x="8705" y="11061"/>
                    </a:lnTo>
                    <a:lnTo>
                      <a:pt x="14038" y="11061"/>
                    </a:lnTo>
                    <a:lnTo>
                      <a:pt x="14038" y="14660"/>
                    </a:lnTo>
                    <a:lnTo>
                      <a:pt x="8705" y="14660"/>
                    </a:lnTo>
                    <a:lnTo>
                      <a:pt x="8705" y="38422"/>
                    </a:lnTo>
                    <a:lnTo>
                      <a:pt x="4089" y="3842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45" name="Freihandform: Form 3244">
                <a:extLst>
                  <a:ext uri="{FF2B5EF4-FFF2-40B4-BE49-F238E27FC236}">
                    <a16:creationId xmlns:a16="http://schemas.microsoft.com/office/drawing/2014/main" id="{C471E6A9-5793-6B34-596B-AA884F4FFEE6}"/>
                  </a:ext>
                </a:extLst>
              </p:cNvPr>
              <p:cNvSpPr/>
              <p:nvPr/>
            </p:nvSpPr>
            <p:spPr>
              <a:xfrm>
                <a:off x="7978893" y="986758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0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1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6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0 w 25193"/>
                  <a:gd name="connsiteY37" fmla="*/ 15979 h 28623"/>
                  <a:gd name="connsiteX38" fmla="*/ 19050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5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2" y="25834"/>
                      <a:pt x="24610" y="26927"/>
                      <a:pt x="25193" y="27964"/>
                    </a:cubicBezTo>
                    <a:lnTo>
                      <a:pt x="20351" y="27964"/>
                    </a:lnTo>
                    <a:cubicBezTo>
                      <a:pt x="19880" y="27003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46" name="Freihandform: Form 3245">
                <a:extLst>
                  <a:ext uri="{FF2B5EF4-FFF2-40B4-BE49-F238E27FC236}">
                    <a16:creationId xmlns:a16="http://schemas.microsoft.com/office/drawing/2014/main" id="{39F65D3E-8111-5B28-86E7-62D5443DB56C}"/>
                  </a:ext>
                </a:extLst>
              </p:cNvPr>
              <p:cNvSpPr/>
              <p:nvPr/>
            </p:nvSpPr>
            <p:spPr>
              <a:xfrm>
                <a:off x="8009702" y="976997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47" name="Freihandform: Form 3246">
                <a:extLst>
                  <a:ext uri="{FF2B5EF4-FFF2-40B4-BE49-F238E27FC236}">
                    <a16:creationId xmlns:a16="http://schemas.microsoft.com/office/drawing/2014/main" id="{BF0CCF5C-34C9-3589-6BC9-D2F7E3383318}"/>
                  </a:ext>
                </a:extLst>
              </p:cNvPr>
              <p:cNvSpPr/>
              <p:nvPr/>
            </p:nvSpPr>
            <p:spPr>
              <a:xfrm>
                <a:off x="8019783" y="986795"/>
                <a:ext cx="25646" cy="28604"/>
              </a:xfrm>
              <a:custGeom>
                <a:avLst/>
                <a:gdLst>
                  <a:gd name="connsiteX0" fmla="*/ 19 w 25646"/>
                  <a:gd name="connsiteY0" fmla="*/ 14283 h 28604"/>
                  <a:gd name="connsiteX1" fmla="*/ 4240 w 25646"/>
                  <a:gd name="connsiteY1" fmla="*/ 3034 h 28604"/>
                  <a:gd name="connsiteX2" fmla="*/ 12851 w 25646"/>
                  <a:gd name="connsiteY2" fmla="*/ 0 h 28604"/>
                  <a:gd name="connsiteX3" fmla="*/ 22066 w 25646"/>
                  <a:gd name="connsiteY3" fmla="*/ 3693 h 28604"/>
                  <a:gd name="connsiteX4" fmla="*/ 25646 w 25646"/>
                  <a:gd name="connsiteY4" fmla="*/ 13906 h 28604"/>
                  <a:gd name="connsiteX5" fmla="*/ 24063 w 25646"/>
                  <a:gd name="connsiteY5" fmla="*/ 22216 h 28604"/>
                  <a:gd name="connsiteX6" fmla="*/ 19446 w 25646"/>
                  <a:gd name="connsiteY6" fmla="*/ 26927 h 28604"/>
                  <a:gd name="connsiteX7" fmla="*/ 12832 w 25646"/>
                  <a:gd name="connsiteY7" fmla="*/ 28604 h 28604"/>
                  <a:gd name="connsiteX8" fmla="*/ 3542 w 25646"/>
                  <a:gd name="connsiteY8" fmla="*/ 24911 h 28604"/>
                  <a:gd name="connsiteX9" fmla="*/ 0 w 25646"/>
                  <a:gd name="connsiteY9" fmla="*/ 14302 h 28604"/>
                  <a:gd name="connsiteX10" fmla="*/ 4786 w 25646"/>
                  <a:gd name="connsiteY10" fmla="*/ 14283 h 28604"/>
                  <a:gd name="connsiteX11" fmla="*/ 7085 w 25646"/>
                  <a:gd name="connsiteY11" fmla="*/ 22160 h 28604"/>
                  <a:gd name="connsiteX12" fmla="*/ 12851 w 25646"/>
                  <a:gd name="connsiteY12" fmla="*/ 24779 h 28604"/>
                  <a:gd name="connsiteX13" fmla="*/ 18599 w 25646"/>
                  <a:gd name="connsiteY13" fmla="*/ 22160 h 28604"/>
                  <a:gd name="connsiteX14" fmla="*/ 20897 w 25646"/>
                  <a:gd name="connsiteY14" fmla="*/ 14151 h 28604"/>
                  <a:gd name="connsiteX15" fmla="*/ 18599 w 25646"/>
                  <a:gd name="connsiteY15" fmla="*/ 6463 h 28604"/>
                  <a:gd name="connsiteX16" fmla="*/ 12870 w 25646"/>
                  <a:gd name="connsiteY16" fmla="*/ 3844 h 28604"/>
                  <a:gd name="connsiteX17" fmla="*/ 7104 w 25646"/>
                  <a:gd name="connsiteY17" fmla="*/ 6444 h 28604"/>
                  <a:gd name="connsiteX18" fmla="*/ 4805 w 25646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6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40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2" y="25797"/>
                      <a:pt x="19446" y="26927"/>
                    </a:cubicBezTo>
                    <a:cubicBezTo>
                      <a:pt x="17430" y="28058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2" y="24911"/>
                    </a:cubicBezTo>
                    <a:cubicBezTo>
                      <a:pt x="1187" y="22442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912"/>
                      <a:pt x="10534" y="24779"/>
                      <a:pt x="12851" y="24779"/>
                    </a:cubicBezTo>
                    <a:cubicBezTo>
                      <a:pt x="15169" y="24779"/>
                      <a:pt x="17072" y="23912"/>
                      <a:pt x="18599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9" y="6463"/>
                    </a:cubicBezTo>
                    <a:cubicBezTo>
                      <a:pt x="17072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48" name="Freihandform: Form 3247">
                <a:extLst>
                  <a:ext uri="{FF2B5EF4-FFF2-40B4-BE49-F238E27FC236}">
                    <a16:creationId xmlns:a16="http://schemas.microsoft.com/office/drawing/2014/main" id="{4DE113A7-95A0-20A1-9215-09786FD002AD}"/>
                  </a:ext>
                </a:extLst>
              </p:cNvPr>
              <p:cNvSpPr/>
              <p:nvPr/>
            </p:nvSpPr>
            <p:spPr>
              <a:xfrm>
                <a:off x="8050875" y="986777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8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218" y="4183"/>
                      <a:pt x="21689" y="5333"/>
                      <a:pt x="21971" y="6652"/>
                    </a:cubicBezTo>
                    <a:cubicBezTo>
                      <a:pt x="22141" y="7519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2" y="7179"/>
                      <a:pt x="4635" y="9554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49" name="Freihandform: Form 3248">
                <a:extLst>
                  <a:ext uri="{FF2B5EF4-FFF2-40B4-BE49-F238E27FC236}">
                    <a16:creationId xmlns:a16="http://schemas.microsoft.com/office/drawing/2014/main" id="{C62E2565-AE90-AB27-A777-6AFFDB28C796}"/>
                  </a:ext>
                </a:extLst>
              </p:cNvPr>
              <p:cNvSpPr/>
              <p:nvPr/>
            </p:nvSpPr>
            <p:spPr>
              <a:xfrm>
                <a:off x="8080233" y="976997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5 w 4635"/>
                  <a:gd name="connsiteY7" fmla="*/ 10402 h 37762"/>
                  <a:gd name="connsiteX8" fmla="*/ 4635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5" y="10402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50" name="Freihandform: Form 3249">
                <a:extLst>
                  <a:ext uri="{FF2B5EF4-FFF2-40B4-BE49-F238E27FC236}">
                    <a16:creationId xmlns:a16="http://schemas.microsoft.com/office/drawing/2014/main" id="{4A4C1A43-82B7-CCE8-0631-07BD0A654F6B}"/>
                  </a:ext>
                </a:extLst>
              </p:cNvPr>
              <p:cNvSpPr/>
              <p:nvPr/>
            </p:nvSpPr>
            <p:spPr>
              <a:xfrm>
                <a:off x="8090370" y="986758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0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2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80" y="27003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92" name="Grafik 21">
              <a:extLst>
                <a:ext uri="{FF2B5EF4-FFF2-40B4-BE49-F238E27FC236}">
                  <a16:creationId xmlns:a16="http://schemas.microsoft.com/office/drawing/2014/main" id="{FA52B9BC-0390-ECD0-1B9A-9839D64BF47C}"/>
                </a:ext>
              </a:extLst>
            </p:cNvPr>
            <p:cNvGrpSpPr/>
            <p:nvPr/>
          </p:nvGrpSpPr>
          <p:grpSpPr>
            <a:xfrm>
              <a:off x="7784090" y="1059889"/>
              <a:ext cx="240309" cy="48879"/>
              <a:chOff x="7784090" y="1059889"/>
              <a:chExt cx="240309" cy="48879"/>
            </a:xfrm>
            <a:solidFill>
              <a:srgbClr val="000000"/>
            </a:solidFill>
          </p:grpSpPr>
          <p:sp>
            <p:nvSpPr>
              <p:cNvPr id="3233" name="Freihandform: Form 3232">
                <a:extLst>
                  <a:ext uri="{FF2B5EF4-FFF2-40B4-BE49-F238E27FC236}">
                    <a16:creationId xmlns:a16="http://schemas.microsoft.com/office/drawing/2014/main" id="{5A7C1765-8802-E4B1-C698-9734E9B9E8E6}"/>
                  </a:ext>
                </a:extLst>
              </p:cNvPr>
              <p:cNvSpPr/>
              <p:nvPr/>
            </p:nvSpPr>
            <p:spPr>
              <a:xfrm>
                <a:off x="7784090" y="1059889"/>
                <a:ext cx="29885" cy="37780"/>
              </a:xfrm>
              <a:custGeom>
                <a:avLst/>
                <a:gdLst>
                  <a:gd name="connsiteX0" fmla="*/ 0 w 29885"/>
                  <a:gd name="connsiteY0" fmla="*/ 37781 h 37780"/>
                  <a:gd name="connsiteX1" fmla="*/ 0 w 29885"/>
                  <a:gd name="connsiteY1" fmla="*/ 33145 h 37780"/>
                  <a:gd name="connsiteX2" fmla="*/ 19352 w 29885"/>
                  <a:gd name="connsiteY2" fmla="*/ 8951 h 37780"/>
                  <a:gd name="connsiteX3" fmla="*/ 23272 w 29885"/>
                  <a:gd name="connsiteY3" fmla="*/ 4466 h 37780"/>
                  <a:gd name="connsiteX4" fmla="*/ 2205 w 29885"/>
                  <a:gd name="connsiteY4" fmla="*/ 4466 h 37780"/>
                  <a:gd name="connsiteX5" fmla="*/ 2205 w 29885"/>
                  <a:gd name="connsiteY5" fmla="*/ 0 h 37780"/>
                  <a:gd name="connsiteX6" fmla="*/ 29264 w 29885"/>
                  <a:gd name="connsiteY6" fmla="*/ 0 h 37780"/>
                  <a:gd name="connsiteX7" fmla="*/ 29264 w 29885"/>
                  <a:gd name="connsiteY7" fmla="*/ 4466 h 37780"/>
                  <a:gd name="connsiteX8" fmla="*/ 8065 w 29885"/>
                  <a:gd name="connsiteY8" fmla="*/ 30658 h 37780"/>
                  <a:gd name="connsiteX9" fmla="*/ 5766 w 29885"/>
                  <a:gd name="connsiteY9" fmla="*/ 33315 h 37780"/>
                  <a:gd name="connsiteX10" fmla="*/ 29886 w 29885"/>
                  <a:gd name="connsiteY10" fmla="*/ 33315 h 37780"/>
                  <a:gd name="connsiteX11" fmla="*/ 29886 w 29885"/>
                  <a:gd name="connsiteY11" fmla="*/ 37781 h 37780"/>
                  <a:gd name="connsiteX12" fmla="*/ 19 w 29885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9885" h="37780">
                    <a:moveTo>
                      <a:pt x="0" y="37781"/>
                    </a:moveTo>
                    <a:lnTo>
                      <a:pt x="0" y="33145"/>
                    </a:lnTo>
                    <a:lnTo>
                      <a:pt x="19352" y="8951"/>
                    </a:lnTo>
                    <a:cubicBezTo>
                      <a:pt x="20728" y="7236"/>
                      <a:pt x="22028" y="5747"/>
                      <a:pt x="23272" y="4466"/>
                    </a:cubicBezTo>
                    <a:lnTo>
                      <a:pt x="2205" y="4466"/>
                    </a:lnTo>
                    <a:lnTo>
                      <a:pt x="2205" y="0"/>
                    </a:lnTo>
                    <a:lnTo>
                      <a:pt x="29264" y="0"/>
                    </a:lnTo>
                    <a:lnTo>
                      <a:pt x="29264" y="4466"/>
                    </a:lnTo>
                    <a:lnTo>
                      <a:pt x="8065" y="30658"/>
                    </a:lnTo>
                    <a:lnTo>
                      <a:pt x="5766" y="33315"/>
                    </a:lnTo>
                    <a:lnTo>
                      <a:pt x="29886" y="33315"/>
                    </a:lnTo>
                    <a:lnTo>
                      <a:pt x="29886" y="37781"/>
                    </a:lnTo>
                    <a:lnTo>
                      <a:pt x="19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34" name="Freihandform: Form 3233">
                <a:extLst>
                  <a:ext uri="{FF2B5EF4-FFF2-40B4-BE49-F238E27FC236}">
                    <a16:creationId xmlns:a16="http://schemas.microsoft.com/office/drawing/2014/main" id="{E10C760B-18B3-9B5F-5537-D3C76A39404D}"/>
                  </a:ext>
                </a:extLst>
              </p:cNvPr>
              <p:cNvSpPr/>
              <p:nvPr/>
            </p:nvSpPr>
            <p:spPr>
              <a:xfrm>
                <a:off x="7817160" y="1069669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0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2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5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61" y="27003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35" name="Freihandform: Form 3234">
                <a:extLst>
                  <a:ext uri="{FF2B5EF4-FFF2-40B4-BE49-F238E27FC236}">
                    <a16:creationId xmlns:a16="http://schemas.microsoft.com/office/drawing/2014/main" id="{A6C591AC-9449-0320-88EC-9CC85811FCFB}"/>
                  </a:ext>
                </a:extLst>
              </p:cNvPr>
              <p:cNvSpPr/>
              <p:nvPr/>
            </p:nvSpPr>
            <p:spPr>
              <a:xfrm>
                <a:off x="7848101" y="1059908"/>
                <a:ext cx="22687" cy="37780"/>
              </a:xfrm>
              <a:custGeom>
                <a:avLst/>
                <a:gdLst>
                  <a:gd name="connsiteX0" fmla="*/ 19 w 22687"/>
                  <a:gd name="connsiteY0" fmla="*/ 37762 h 37780"/>
                  <a:gd name="connsiteX1" fmla="*/ 19 w 22687"/>
                  <a:gd name="connsiteY1" fmla="*/ 0 h 37780"/>
                  <a:gd name="connsiteX2" fmla="*/ 4655 w 22687"/>
                  <a:gd name="connsiteY2" fmla="*/ 0 h 37780"/>
                  <a:gd name="connsiteX3" fmla="*/ 4655 w 22687"/>
                  <a:gd name="connsiteY3" fmla="*/ 21538 h 37780"/>
                  <a:gd name="connsiteX4" fmla="*/ 15621 w 22687"/>
                  <a:gd name="connsiteY4" fmla="*/ 10402 h 37780"/>
                  <a:gd name="connsiteX5" fmla="*/ 21633 w 22687"/>
                  <a:gd name="connsiteY5" fmla="*/ 10402 h 37780"/>
                  <a:gd name="connsiteX6" fmla="*/ 11174 w 22687"/>
                  <a:gd name="connsiteY6" fmla="*/ 20558 h 37780"/>
                  <a:gd name="connsiteX7" fmla="*/ 22687 w 22687"/>
                  <a:gd name="connsiteY7" fmla="*/ 37762 h 37780"/>
                  <a:gd name="connsiteX8" fmla="*/ 16959 w 22687"/>
                  <a:gd name="connsiteY8" fmla="*/ 37762 h 37780"/>
                  <a:gd name="connsiteX9" fmla="*/ 7915 w 22687"/>
                  <a:gd name="connsiteY9" fmla="*/ 23780 h 37780"/>
                  <a:gd name="connsiteX10" fmla="*/ 4636 w 22687"/>
                  <a:gd name="connsiteY10" fmla="*/ 26927 h 37780"/>
                  <a:gd name="connsiteX11" fmla="*/ 4636 w 22687"/>
                  <a:gd name="connsiteY11" fmla="*/ 37781 h 37780"/>
                  <a:gd name="connsiteX12" fmla="*/ 0 w 22687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687" h="37780">
                    <a:moveTo>
                      <a:pt x="19" y="37762"/>
                    </a:moveTo>
                    <a:lnTo>
                      <a:pt x="19" y="0"/>
                    </a:lnTo>
                    <a:lnTo>
                      <a:pt x="4655" y="0"/>
                    </a:lnTo>
                    <a:lnTo>
                      <a:pt x="4655" y="21538"/>
                    </a:lnTo>
                    <a:lnTo>
                      <a:pt x="15621" y="10402"/>
                    </a:lnTo>
                    <a:lnTo>
                      <a:pt x="21633" y="10402"/>
                    </a:lnTo>
                    <a:lnTo>
                      <a:pt x="11174" y="20558"/>
                    </a:lnTo>
                    <a:lnTo>
                      <a:pt x="22687" y="37762"/>
                    </a:lnTo>
                    <a:lnTo>
                      <a:pt x="16959" y="37762"/>
                    </a:lnTo>
                    <a:lnTo>
                      <a:pt x="7915" y="23780"/>
                    </a:lnTo>
                    <a:lnTo>
                      <a:pt x="4636" y="26927"/>
                    </a:lnTo>
                    <a:lnTo>
                      <a:pt x="4636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36" name="Freihandform: Form 3235">
                <a:extLst>
                  <a:ext uri="{FF2B5EF4-FFF2-40B4-BE49-F238E27FC236}">
                    <a16:creationId xmlns:a16="http://schemas.microsoft.com/office/drawing/2014/main" id="{4EEDFAA1-66AD-BEDD-7A86-8D546E163D79}"/>
                  </a:ext>
                </a:extLst>
              </p:cNvPr>
              <p:cNvSpPr/>
              <p:nvPr/>
            </p:nvSpPr>
            <p:spPr>
              <a:xfrm>
                <a:off x="7871844" y="1070309"/>
                <a:ext cx="25042" cy="38459"/>
              </a:xfrm>
              <a:custGeom>
                <a:avLst/>
                <a:gdLst>
                  <a:gd name="connsiteX0" fmla="*/ 2412 w 25042"/>
                  <a:gd name="connsiteY0" fmla="*/ 37894 h 38459"/>
                  <a:gd name="connsiteX1" fmla="*/ 1903 w 25042"/>
                  <a:gd name="connsiteY1" fmla="*/ 33541 h 38459"/>
                  <a:gd name="connsiteX2" fmla="*/ 4560 w 25042"/>
                  <a:gd name="connsiteY2" fmla="*/ 33956 h 38459"/>
                  <a:gd name="connsiteX3" fmla="*/ 7029 w 25042"/>
                  <a:gd name="connsiteY3" fmla="*/ 33447 h 38459"/>
                  <a:gd name="connsiteX4" fmla="*/ 8555 w 25042"/>
                  <a:gd name="connsiteY4" fmla="*/ 31996 h 38459"/>
                  <a:gd name="connsiteX5" fmla="*/ 9968 w 25042"/>
                  <a:gd name="connsiteY5" fmla="*/ 28548 h 38459"/>
                  <a:gd name="connsiteX6" fmla="*/ 10383 w 25042"/>
                  <a:gd name="connsiteY6" fmla="*/ 27417 h 38459"/>
                  <a:gd name="connsiteX7" fmla="*/ 0 w 25042"/>
                  <a:gd name="connsiteY7" fmla="*/ 0 h 38459"/>
                  <a:gd name="connsiteX8" fmla="*/ 4993 w 25042"/>
                  <a:gd name="connsiteY8" fmla="*/ 0 h 38459"/>
                  <a:gd name="connsiteX9" fmla="*/ 10684 w 25042"/>
                  <a:gd name="connsiteY9" fmla="*/ 15847 h 38459"/>
                  <a:gd name="connsiteX10" fmla="*/ 12663 w 25042"/>
                  <a:gd name="connsiteY10" fmla="*/ 22179 h 38459"/>
                  <a:gd name="connsiteX11" fmla="*/ 14566 w 25042"/>
                  <a:gd name="connsiteY11" fmla="*/ 15941 h 38459"/>
                  <a:gd name="connsiteX12" fmla="*/ 20408 w 25042"/>
                  <a:gd name="connsiteY12" fmla="*/ 0 h 38459"/>
                  <a:gd name="connsiteX13" fmla="*/ 25043 w 25042"/>
                  <a:gd name="connsiteY13" fmla="*/ 0 h 38459"/>
                  <a:gd name="connsiteX14" fmla="*/ 14641 w 25042"/>
                  <a:gd name="connsiteY14" fmla="*/ 27832 h 38459"/>
                  <a:gd name="connsiteX15" fmla="*/ 12041 w 25042"/>
                  <a:gd name="connsiteY15" fmla="*/ 34031 h 38459"/>
                  <a:gd name="connsiteX16" fmla="*/ 9214 w 25042"/>
                  <a:gd name="connsiteY16" fmla="*/ 37385 h 38459"/>
                  <a:gd name="connsiteX17" fmla="*/ 5408 w 25042"/>
                  <a:gd name="connsiteY17" fmla="*/ 38459 h 38459"/>
                  <a:gd name="connsiteX18" fmla="*/ 2412 w 25042"/>
                  <a:gd name="connsiteY18" fmla="*/ 37894 h 38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042" h="38459">
                    <a:moveTo>
                      <a:pt x="2412" y="37894"/>
                    </a:moveTo>
                    <a:lnTo>
                      <a:pt x="1903" y="33541"/>
                    </a:lnTo>
                    <a:cubicBezTo>
                      <a:pt x="2921" y="33824"/>
                      <a:pt x="3806" y="33956"/>
                      <a:pt x="4560" y="33956"/>
                    </a:cubicBezTo>
                    <a:cubicBezTo>
                      <a:pt x="5596" y="33956"/>
                      <a:pt x="6407" y="33786"/>
                      <a:pt x="7029" y="33447"/>
                    </a:cubicBezTo>
                    <a:cubicBezTo>
                      <a:pt x="7651" y="33108"/>
                      <a:pt x="8159" y="32618"/>
                      <a:pt x="8555" y="31996"/>
                    </a:cubicBezTo>
                    <a:cubicBezTo>
                      <a:pt x="8837" y="31525"/>
                      <a:pt x="9327" y="30376"/>
                      <a:pt x="9968" y="28548"/>
                    </a:cubicBezTo>
                    <a:cubicBezTo>
                      <a:pt x="10044" y="28284"/>
                      <a:pt x="10194" y="27907"/>
                      <a:pt x="10383" y="27417"/>
                    </a:cubicBezTo>
                    <a:lnTo>
                      <a:pt x="0" y="0"/>
                    </a:lnTo>
                    <a:lnTo>
                      <a:pt x="4993" y="0"/>
                    </a:lnTo>
                    <a:lnTo>
                      <a:pt x="10684" y="15847"/>
                    </a:lnTo>
                    <a:cubicBezTo>
                      <a:pt x="11419" y="17863"/>
                      <a:pt x="12078" y="19974"/>
                      <a:pt x="12663" y="22179"/>
                    </a:cubicBezTo>
                    <a:cubicBezTo>
                      <a:pt x="13190" y="20049"/>
                      <a:pt x="13831" y="17977"/>
                      <a:pt x="14566" y="15941"/>
                    </a:cubicBezTo>
                    <a:lnTo>
                      <a:pt x="20408" y="0"/>
                    </a:lnTo>
                    <a:lnTo>
                      <a:pt x="25043" y="0"/>
                    </a:lnTo>
                    <a:lnTo>
                      <a:pt x="14641" y="27832"/>
                    </a:lnTo>
                    <a:cubicBezTo>
                      <a:pt x="13529" y="30828"/>
                      <a:pt x="12663" y="32901"/>
                      <a:pt x="12041" y="34031"/>
                    </a:cubicBezTo>
                    <a:cubicBezTo>
                      <a:pt x="11212" y="35557"/>
                      <a:pt x="10270" y="36688"/>
                      <a:pt x="9214" y="37385"/>
                    </a:cubicBezTo>
                    <a:cubicBezTo>
                      <a:pt x="8140" y="38101"/>
                      <a:pt x="6878" y="38459"/>
                      <a:pt x="5408" y="38459"/>
                    </a:cubicBezTo>
                    <a:cubicBezTo>
                      <a:pt x="4522" y="38459"/>
                      <a:pt x="3524" y="38271"/>
                      <a:pt x="2412" y="3789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37" name="Freihandform: Form 3236">
                <a:extLst>
                  <a:ext uri="{FF2B5EF4-FFF2-40B4-BE49-F238E27FC236}">
                    <a16:creationId xmlns:a16="http://schemas.microsoft.com/office/drawing/2014/main" id="{C7B69B8F-462C-3039-E142-B76DEEB1FB05}"/>
                  </a:ext>
                </a:extLst>
              </p:cNvPr>
              <p:cNvSpPr/>
              <p:nvPr/>
            </p:nvSpPr>
            <p:spPr>
              <a:xfrm>
                <a:off x="7900844" y="1069687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5 w 22235"/>
                  <a:gd name="connsiteY2" fmla="*/ 622 h 28001"/>
                  <a:gd name="connsiteX3" fmla="*/ 4165 w 22235"/>
                  <a:gd name="connsiteY3" fmla="*/ 4504 h 28001"/>
                  <a:gd name="connsiteX4" fmla="*/ 12870 w 22235"/>
                  <a:gd name="connsiteY4" fmla="*/ 0 h 28001"/>
                  <a:gd name="connsiteX5" fmla="*/ 17412 w 22235"/>
                  <a:gd name="connsiteY5" fmla="*/ 886 h 28001"/>
                  <a:gd name="connsiteX6" fmla="*/ 20521 w 22235"/>
                  <a:gd name="connsiteY6" fmla="*/ 3222 h 28001"/>
                  <a:gd name="connsiteX7" fmla="*/ 21972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5" y="622"/>
                    </a:lnTo>
                    <a:lnTo>
                      <a:pt x="4165" y="4504"/>
                    </a:lnTo>
                    <a:cubicBezTo>
                      <a:pt x="6181" y="1508"/>
                      <a:pt x="9083" y="0"/>
                      <a:pt x="12870" y="0"/>
                    </a:cubicBezTo>
                    <a:cubicBezTo>
                      <a:pt x="14529" y="0"/>
                      <a:pt x="16036" y="302"/>
                      <a:pt x="17412" y="886"/>
                    </a:cubicBezTo>
                    <a:cubicBezTo>
                      <a:pt x="18787" y="1470"/>
                      <a:pt x="19823" y="2261"/>
                      <a:pt x="20521" y="3222"/>
                    </a:cubicBezTo>
                    <a:cubicBezTo>
                      <a:pt x="21199" y="4183"/>
                      <a:pt x="21689" y="5333"/>
                      <a:pt x="21972" y="6652"/>
                    </a:cubicBezTo>
                    <a:cubicBezTo>
                      <a:pt x="22141" y="7519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2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2" y="7179"/>
                      <a:pt x="4636" y="9554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38" name="Freihandform: Form 3237">
                <a:extLst>
                  <a:ext uri="{FF2B5EF4-FFF2-40B4-BE49-F238E27FC236}">
                    <a16:creationId xmlns:a16="http://schemas.microsoft.com/office/drawing/2014/main" id="{136F9315-C5E3-F837-2675-924EBC192400}"/>
                  </a:ext>
                </a:extLst>
              </p:cNvPr>
              <p:cNvSpPr/>
              <p:nvPr/>
            </p:nvSpPr>
            <p:spPr>
              <a:xfrm>
                <a:off x="7927658" y="1060756"/>
                <a:ext cx="13340" cy="37272"/>
              </a:xfrm>
              <a:custGeom>
                <a:avLst/>
                <a:gdLst>
                  <a:gd name="connsiteX0" fmla="*/ 12663 w 13340"/>
                  <a:gd name="connsiteY0" fmla="*/ 32769 h 37272"/>
                  <a:gd name="connsiteX1" fmla="*/ 13341 w 13340"/>
                  <a:gd name="connsiteY1" fmla="*/ 36858 h 37272"/>
                  <a:gd name="connsiteX2" fmla="*/ 9836 w 13340"/>
                  <a:gd name="connsiteY2" fmla="*/ 37272 h 37272"/>
                  <a:gd name="connsiteX3" fmla="*/ 5917 w 13340"/>
                  <a:gd name="connsiteY3" fmla="*/ 36481 h 37272"/>
                  <a:gd name="connsiteX4" fmla="*/ 3957 w 13340"/>
                  <a:gd name="connsiteY4" fmla="*/ 34389 h 37272"/>
                  <a:gd name="connsiteX5" fmla="*/ 3391 w 13340"/>
                  <a:gd name="connsiteY5" fmla="*/ 28906 h 37272"/>
                  <a:gd name="connsiteX6" fmla="*/ 3391 w 13340"/>
                  <a:gd name="connsiteY6" fmla="*/ 13171 h 37272"/>
                  <a:gd name="connsiteX7" fmla="*/ 0 w 13340"/>
                  <a:gd name="connsiteY7" fmla="*/ 13171 h 37272"/>
                  <a:gd name="connsiteX8" fmla="*/ 0 w 13340"/>
                  <a:gd name="connsiteY8" fmla="*/ 9572 h 37272"/>
                  <a:gd name="connsiteX9" fmla="*/ 3391 w 13340"/>
                  <a:gd name="connsiteY9" fmla="*/ 9572 h 37272"/>
                  <a:gd name="connsiteX10" fmla="*/ 3391 w 13340"/>
                  <a:gd name="connsiteY10" fmla="*/ 2789 h 37272"/>
                  <a:gd name="connsiteX11" fmla="*/ 8008 w 13340"/>
                  <a:gd name="connsiteY11" fmla="*/ 0 h 37272"/>
                  <a:gd name="connsiteX12" fmla="*/ 8008 w 13340"/>
                  <a:gd name="connsiteY12" fmla="*/ 9554 h 37272"/>
                  <a:gd name="connsiteX13" fmla="*/ 12663 w 13340"/>
                  <a:gd name="connsiteY13" fmla="*/ 9554 h 37272"/>
                  <a:gd name="connsiteX14" fmla="*/ 12663 w 13340"/>
                  <a:gd name="connsiteY14" fmla="*/ 13153 h 37272"/>
                  <a:gd name="connsiteX15" fmla="*/ 8008 w 13340"/>
                  <a:gd name="connsiteY15" fmla="*/ 13153 h 37272"/>
                  <a:gd name="connsiteX16" fmla="*/ 8008 w 13340"/>
                  <a:gd name="connsiteY16" fmla="*/ 29151 h 37272"/>
                  <a:gd name="connsiteX17" fmla="*/ 8253 w 13340"/>
                  <a:gd name="connsiteY17" fmla="*/ 31695 h 37272"/>
                  <a:gd name="connsiteX18" fmla="*/ 9044 w 13340"/>
                  <a:gd name="connsiteY18" fmla="*/ 32599 h 37272"/>
                  <a:gd name="connsiteX19" fmla="*/ 10627 w 13340"/>
                  <a:gd name="connsiteY19" fmla="*/ 32938 h 37272"/>
                  <a:gd name="connsiteX20" fmla="*/ 12663 w 13340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0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2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3" y="35953"/>
                      <a:pt x="4334" y="35256"/>
                      <a:pt x="3957" y="34389"/>
                    </a:cubicBezTo>
                    <a:cubicBezTo>
                      <a:pt x="3580" y="33522"/>
                      <a:pt x="3391" y="31695"/>
                      <a:pt x="3391" y="28906"/>
                    </a:cubicBezTo>
                    <a:lnTo>
                      <a:pt x="3391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1" y="9572"/>
                    </a:lnTo>
                    <a:lnTo>
                      <a:pt x="3391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3" y="31318"/>
                      <a:pt x="8253" y="31695"/>
                    </a:cubicBezTo>
                    <a:cubicBezTo>
                      <a:pt x="8423" y="32071"/>
                      <a:pt x="8687" y="32373"/>
                      <a:pt x="9044" y="32599"/>
                    </a:cubicBezTo>
                    <a:cubicBezTo>
                      <a:pt x="9422" y="32825"/>
                      <a:pt x="9949" y="32938"/>
                      <a:pt x="10627" y="32938"/>
                    </a:cubicBezTo>
                    <a:cubicBezTo>
                      <a:pt x="11136" y="32938"/>
                      <a:pt x="11814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39" name="Freihandform: Form 3238">
                <a:extLst>
                  <a:ext uri="{FF2B5EF4-FFF2-40B4-BE49-F238E27FC236}">
                    <a16:creationId xmlns:a16="http://schemas.microsoft.com/office/drawing/2014/main" id="{2D6CDB57-55D6-DA88-AEE0-62FD3B26202D}"/>
                  </a:ext>
                </a:extLst>
              </p:cNvPr>
              <p:cNvSpPr/>
              <p:nvPr/>
            </p:nvSpPr>
            <p:spPr>
              <a:xfrm>
                <a:off x="7944843" y="1059908"/>
                <a:ext cx="22272" cy="37762"/>
              </a:xfrm>
              <a:custGeom>
                <a:avLst/>
                <a:gdLst>
                  <a:gd name="connsiteX0" fmla="*/ 0 w 22272"/>
                  <a:gd name="connsiteY0" fmla="*/ 37762 h 37762"/>
                  <a:gd name="connsiteX1" fmla="*/ 0 w 22272"/>
                  <a:gd name="connsiteY1" fmla="*/ 0 h 37762"/>
                  <a:gd name="connsiteX2" fmla="*/ 4635 w 22272"/>
                  <a:gd name="connsiteY2" fmla="*/ 0 h 37762"/>
                  <a:gd name="connsiteX3" fmla="*/ 4635 w 22272"/>
                  <a:gd name="connsiteY3" fmla="*/ 13548 h 37762"/>
                  <a:gd name="connsiteX4" fmla="*/ 12832 w 22272"/>
                  <a:gd name="connsiteY4" fmla="*/ 9780 h 37762"/>
                  <a:gd name="connsiteX5" fmla="*/ 18109 w 22272"/>
                  <a:gd name="connsiteY5" fmla="*/ 10986 h 37762"/>
                  <a:gd name="connsiteX6" fmla="*/ 21312 w 22272"/>
                  <a:gd name="connsiteY6" fmla="*/ 14302 h 37762"/>
                  <a:gd name="connsiteX7" fmla="*/ 22273 w 22272"/>
                  <a:gd name="connsiteY7" fmla="*/ 20426 h 37762"/>
                  <a:gd name="connsiteX8" fmla="*/ 22273 w 22272"/>
                  <a:gd name="connsiteY8" fmla="*/ 37762 h 37762"/>
                  <a:gd name="connsiteX9" fmla="*/ 17638 w 22272"/>
                  <a:gd name="connsiteY9" fmla="*/ 37762 h 37762"/>
                  <a:gd name="connsiteX10" fmla="*/ 17638 w 22272"/>
                  <a:gd name="connsiteY10" fmla="*/ 20426 h 37762"/>
                  <a:gd name="connsiteX11" fmla="*/ 16130 w 22272"/>
                  <a:gd name="connsiteY11" fmla="*/ 15357 h 37762"/>
                  <a:gd name="connsiteX12" fmla="*/ 11871 w 22272"/>
                  <a:gd name="connsiteY12" fmla="*/ 13775 h 37762"/>
                  <a:gd name="connsiteX13" fmla="*/ 7990 w 22272"/>
                  <a:gd name="connsiteY13" fmla="*/ 14849 h 37762"/>
                  <a:gd name="connsiteX14" fmla="*/ 5408 w 22272"/>
                  <a:gd name="connsiteY14" fmla="*/ 17750 h 37762"/>
                  <a:gd name="connsiteX15" fmla="*/ 4635 w 22272"/>
                  <a:gd name="connsiteY15" fmla="*/ 22800 h 37762"/>
                  <a:gd name="connsiteX16" fmla="*/ 4635 w 22272"/>
                  <a:gd name="connsiteY16" fmla="*/ 37762 h 37762"/>
                  <a:gd name="connsiteX17" fmla="*/ 0 w 22272"/>
                  <a:gd name="connsiteY17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272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548"/>
                    </a:lnTo>
                    <a:cubicBezTo>
                      <a:pt x="6803" y="11042"/>
                      <a:pt x="9535" y="9780"/>
                      <a:pt x="12832" y="9780"/>
                    </a:cubicBezTo>
                    <a:cubicBezTo>
                      <a:pt x="14868" y="9780"/>
                      <a:pt x="16620" y="10175"/>
                      <a:pt x="18109" y="10986"/>
                    </a:cubicBezTo>
                    <a:cubicBezTo>
                      <a:pt x="19597" y="11796"/>
                      <a:pt x="20671" y="12889"/>
                      <a:pt x="21312" y="14302"/>
                    </a:cubicBezTo>
                    <a:cubicBezTo>
                      <a:pt x="21952" y="15715"/>
                      <a:pt x="22273" y="17750"/>
                      <a:pt x="22273" y="20426"/>
                    </a:cubicBezTo>
                    <a:lnTo>
                      <a:pt x="22273" y="37762"/>
                    </a:lnTo>
                    <a:lnTo>
                      <a:pt x="17638" y="37762"/>
                    </a:lnTo>
                    <a:lnTo>
                      <a:pt x="17638" y="20426"/>
                    </a:lnTo>
                    <a:cubicBezTo>
                      <a:pt x="17638" y="18109"/>
                      <a:pt x="17129" y="16413"/>
                      <a:pt x="16130" y="15357"/>
                    </a:cubicBezTo>
                    <a:cubicBezTo>
                      <a:pt x="15131" y="14302"/>
                      <a:pt x="13699" y="13775"/>
                      <a:pt x="11871" y="13775"/>
                    </a:cubicBezTo>
                    <a:cubicBezTo>
                      <a:pt x="10496" y="13775"/>
                      <a:pt x="9196" y="14133"/>
                      <a:pt x="7990" y="14849"/>
                    </a:cubicBezTo>
                    <a:cubicBezTo>
                      <a:pt x="6784" y="15565"/>
                      <a:pt x="5917" y="16526"/>
                      <a:pt x="5408" y="17750"/>
                    </a:cubicBezTo>
                    <a:cubicBezTo>
                      <a:pt x="4899" y="18975"/>
                      <a:pt x="4635" y="20652"/>
                      <a:pt x="4635" y="22800"/>
                    </a:cubicBez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40" name="Freihandform: Form 3239">
                <a:extLst>
                  <a:ext uri="{FF2B5EF4-FFF2-40B4-BE49-F238E27FC236}">
                    <a16:creationId xmlns:a16="http://schemas.microsoft.com/office/drawing/2014/main" id="{D1EFC9D4-4E58-8716-9870-7C7D19D3697B}"/>
                  </a:ext>
                </a:extLst>
              </p:cNvPr>
              <p:cNvSpPr/>
              <p:nvPr/>
            </p:nvSpPr>
            <p:spPr>
              <a:xfrm>
                <a:off x="7972448" y="1069706"/>
                <a:ext cx="25646" cy="28604"/>
              </a:xfrm>
              <a:custGeom>
                <a:avLst/>
                <a:gdLst>
                  <a:gd name="connsiteX0" fmla="*/ 19 w 25646"/>
                  <a:gd name="connsiteY0" fmla="*/ 14283 h 28604"/>
                  <a:gd name="connsiteX1" fmla="*/ 4240 w 25646"/>
                  <a:gd name="connsiteY1" fmla="*/ 3034 h 28604"/>
                  <a:gd name="connsiteX2" fmla="*/ 12851 w 25646"/>
                  <a:gd name="connsiteY2" fmla="*/ 0 h 28604"/>
                  <a:gd name="connsiteX3" fmla="*/ 22066 w 25646"/>
                  <a:gd name="connsiteY3" fmla="*/ 3693 h 28604"/>
                  <a:gd name="connsiteX4" fmla="*/ 25646 w 25646"/>
                  <a:gd name="connsiteY4" fmla="*/ 13906 h 28604"/>
                  <a:gd name="connsiteX5" fmla="*/ 24063 w 25646"/>
                  <a:gd name="connsiteY5" fmla="*/ 22216 h 28604"/>
                  <a:gd name="connsiteX6" fmla="*/ 19446 w 25646"/>
                  <a:gd name="connsiteY6" fmla="*/ 26927 h 28604"/>
                  <a:gd name="connsiteX7" fmla="*/ 12832 w 25646"/>
                  <a:gd name="connsiteY7" fmla="*/ 28604 h 28604"/>
                  <a:gd name="connsiteX8" fmla="*/ 3543 w 25646"/>
                  <a:gd name="connsiteY8" fmla="*/ 24911 h 28604"/>
                  <a:gd name="connsiteX9" fmla="*/ 0 w 25646"/>
                  <a:gd name="connsiteY9" fmla="*/ 14302 h 28604"/>
                  <a:gd name="connsiteX10" fmla="*/ 4786 w 25646"/>
                  <a:gd name="connsiteY10" fmla="*/ 14283 h 28604"/>
                  <a:gd name="connsiteX11" fmla="*/ 7085 w 25646"/>
                  <a:gd name="connsiteY11" fmla="*/ 22160 h 28604"/>
                  <a:gd name="connsiteX12" fmla="*/ 12851 w 25646"/>
                  <a:gd name="connsiteY12" fmla="*/ 24779 h 28604"/>
                  <a:gd name="connsiteX13" fmla="*/ 18599 w 25646"/>
                  <a:gd name="connsiteY13" fmla="*/ 22160 h 28604"/>
                  <a:gd name="connsiteX14" fmla="*/ 20897 w 25646"/>
                  <a:gd name="connsiteY14" fmla="*/ 14151 h 28604"/>
                  <a:gd name="connsiteX15" fmla="*/ 18599 w 25646"/>
                  <a:gd name="connsiteY15" fmla="*/ 6463 h 28604"/>
                  <a:gd name="connsiteX16" fmla="*/ 12870 w 25646"/>
                  <a:gd name="connsiteY16" fmla="*/ 3844 h 28604"/>
                  <a:gd name="connsiteX17" fmla="*/ 7104 w 25646"/>
                  <a:gd name="connsiteY17" fmla="*/ 6444 h 28604"/>
                  <a:gd name="connsiteX18" fmla="*/ 4805 w 25646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6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2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7"/>
                      <a:pt x="19446" y="26927"/>
                    </a:cubicBezTo>
                    <a:cubicBezTo>
                      <a:pt x="17430" y="28039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893"/>
                      <a:pt x="10534" y="24779"/>
                      <a:pt x="12851" y="24779"/>
                    </a:cubicBezTo>
                    <a:cubicBezTo>
                      <a:pt x="15169" y="24779"/>
                      <a:pt x="17072" y="23912"/>
                      <a:pt x="18599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9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41" name="Freihandform: Form 3240">
                <a:extLst>
                  <a:ext uri="{FF2B5EF4-FFF2-40B4-BE49-F238E27FC236}">
                    <a16:creationId xmlns:a16="http://schemas.microsoft.com/office/drawing/2014/main" id="{F876848F-0810-8FB3-1EFD-EF8124054C88}"/>
                  </a:ext>
                </a:extLst>
              </p:cNvPr>
              <p:cNvSpPr/>
              <p:nvPr/>
            </p:nvSpPr>
            <p:spPr>
              <a:xfrm>
                <a:off x="8001675" y="1069725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3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3 w 22725"/>
                  <a:gd name="connsiteY10" fmla="*/ 7877 h 28585"/>
                  <a:gd name="connsiteX11" fmla="*/ 1602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6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29 h 28585"/>
                  <a:gd name="connsiteX17" fmla="*/ 21708 w 22725"/>
                  <a:gd name="connsiteY17" fmla="*/ 7669 h 28585"/>
                  <a:gd name="connsiteX18" fmla="*/ 17167 w 22725"/>
                  <a:gd name="connsiteY18" fmla="*/ 8291 h 28585"/>
                  <a:gd name="connsiteX19" fmla="*/ 15376 w 22725"/>
                  <a:gd name="connsiteY19" fmla="*/ 4993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2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1 w 22725"/>
                  <a:gd name="connsiteY26" fmla="*/ 13530 h 28585"/>
                  <a:gd name="connsiteX27" fmla="*/ 21614 w 22725"/>
                  <a:gd name="connsiteY27" fmla="*/ 15960 h 28585"/>
                  <a:gd name="connsiteX28" fmla="*/ 22725 w 22725"/>
                  <a:gd name="connsiteY28" fmla="*/ 19936 h 28585"/>
                  <a:gd name="connsiteX29" fmla="*/ 21369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1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6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1" y="17524"/>
                      <a:pt x="14378" y="16997"/>
                      <a:pt x="11853" y="16375"/>
                    </a:cubicBezTo>
                    <a:cubicBezTo>
                      <a:pt x="8461" y="15508"/>
                      <a:pt x="6087" y="14773"/>
                      <a:pt x="4786" y="14151"/>
                    </a:cubicBezTo>
                    <a:cubicBezTo>
                      <a:pt x="3486" y="13530"/>
                      <a:pt x="2469" y="12663"/>
                      <a:pt x="1790" y="11551"/>
                    </a:cubicBezTo>
                    <a:cubicBezTo>
                      <a:pt x="1112" y="10439"/>
                      <a:pt x="773" y="9214"/>
                      <a:pt x="773" y="7877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67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6"/>
                    </a:cubicBezTo>
                    <a:cubicBezTo>
                      <a:pt x="8084" y="170"/>
                      <a:pt x="9422" y="0"/>
                      <a:pt x="10854" y="0"/>
                    </a:cubicBezTo>
                    <a:cubicBezTo>
                      <a:pt x="13002" y="0"/>
                      <a:pt x="14887" y="301"/>
                      <a:pt x="16507" y="923"/>
                    </a:cubicBezTo>
                    <a:cubicBezTo>
                      <a:pt x="18128" y="1545"/>
                      <a:pt x="19333" y="2374"/>
                      <a:pt x="20106" y="3429"/>
                    </a:cubicBezTo>
                    <a:cubicBezTo>
                      <a:pt x="20879" y="4485"/>
                      <a:pt x="21406" y="5898"/>
                      <a:pt x="21708" y="7669"/>
                    </a:cubicBezTo>
                    <a:lnTo>
                      <a:pt x="17167" y="8291"/>
                    </a:lnTo>
                    <a:cubicBezTo>
                      <a:pt x="16959" y="6878"/>
                      <a:pt x="16356" y="5785"/>
                      <a:pt x="15376" y="4993"/>
                    </a:cubicBezTo>
                    <a:cubicBezTo>
                      <a:pt x="14397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2" y="8951"/>
                    </a:cubicBezTo>
                    <a:cubicBezTo>
                      <a:pt x="6218" y="9440"/>
                      <a:pt x="6803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1" y="12248"/>
                      <a:pt x="17280" y="12983"/>
                      <a:pt x="18561" y="13530"/>
                    </a:cubicBezTo>
                    <a:cubicBezTo>
                      <a:pt x="19861" y="14095"/>
                      <a:pt x="20879" y="14905"/>
                      <a:pt x="21614" y="15960"/>
                    </a:cubicBezTo>
                    <a:cubicBezTo>
                      <a:pt x="22348" y="17034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9" y="24308"/>
                    </a:cubicBezTo>
                    <a:cubicBezTo>
                      <a:pt x="20464" y="25683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27" y="27851"/>
                      <a:pt x="3581" y="26362"/>
                    </a:cubicBezTo>
                    <a:cubicBezTo>
                      <a:pt x="1715" y="24892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93" name="Grafik 21">
              <a:extLst>
                <a:ext uri="{FF2B5EF4-FFF2-40B4-BE49-F238E27FC236}">
                  <a16:creationId xmlns:a16="http://schemas.microsoft.com/office/drawing/2014/main" id="{AD1E1CEB-E3EC-1898-11C1-366B7C95010B}"/>
                </a:ext>
              </a:extLst>
            </p:cNvPr>
            <p:cNvGrpSpPr/>
            <p:nvPr/>
          </p:nvGrpSpPr>
          <p:grpSpPr>
            <a:xfrm>
              <a:off x="7898677" y="1125860"/>
              <a:ext cx="216793" cy="38383"/>
              <a:chOff x="7898677" y="1125860"/>
              <a:chExt cx="216793" cy="38383"/>
            </a:xfrm>
            <a:solidFill>
              <a:srgbClr val="000000"/>
            </a:solidFill>
          </p:grpSpPr>
          <p:sp>
            <p:nvSpPr>
              <p:cNvPr id="3225" name="Freihandform: Form 3224">
                <a:extLst>
                  <a:ext uri="{FF2B5EF4-FFF2-40B4-BE49-F238E27FC236}">
                    <a16:creationId xmlns:a16="http://schemas.microsoft.com/office/drawing/2014/main" id="{B22A02B1-D043-373F-838A-B9961648B96A}"/>
                  </a:ext>
                </a:extLst>
              </p:cNvPr>
              <p:cNvSpPr/>
              <p:nvPr/>
            </p:nvSpPr>
            <p:spPr>
              <a:xfrm>
                <a:off x="7898677" y="1125860"/>
                <a:ext cx="31223" cy="37780"/>
              </a:xfrm>
              <a:custGeom>
                <a:avLst/>
                <a:gdLst>
                  <a:gd name="connsiteX0" fmla="*/ 0 w 31223"/>
                  <a:gd name="connsiteY0" fmla="*/ 37762 h 37780"/>
                  <a:gd name="connsiteX1" fmla="*/ 0 w 31223"/>
                  <a:gd name="connsiteY1" fmla="*/ 0 h 37780"/>
                  <a:gd name="connsiteX2" fmla="*/ 4993 w 31223"/>
                  <a:gd name="connsiteY2" fmla="*/ 0 h 37780"/>
                  <a:gd name="connsiteX3" fmla="*/ 4993 w 31223"/>
                  <a:gd name="connsiteY3" fmla="*/ 18730 h 37780"/>
                  <a:gd name="connsiteX4" fmla="*/ 23743 w 31223"/>
                  <a:gd name="connsiteY4" fmla="*/ 0 h 37780"/>
                  <a:gd name="connsiteX5" fmla="*/ 30526 w 31223"/>
                  <a:gd name="connsiteY5" fmla="*/ 0 h 37780"/>
                  <a:gd name="connsiteX6" fmla="*/ 14679 w 31223"/>
                  <a:gd name="connsiteY6" fmla="*/ 15301 h 37780"/>
                  <a:gd name="connsiteX7" fmla="*/ 31224 w 31223"/>
                  <a:gd name="connsiteY7" fmla="*/ 37762 h 37780"/>
                  <a:gd name="connsiteX8" fmla="*/ 24628 w 31223"/>
                  <a:gd name="connsiteY8" fmla="*/ 37762 h 37780"/>
                  <a:gd name="connsiteX9" fmla="*/ 11174 w 31223"/>
                  <a:gd name="connsiteY9" fmla="*/ 18655 h 37780"/>
                  <a:gd name="connsiteX10" fmla="*/ 4993 w 31223"/>
                  <a:gd name="connsiteY10" fmla="*/ 24685 h 37780"/>
                  <a:gd name="connsiteX11" fmla="*/ 4993 w 31223"/>
                  <a:gd name="connsiteY11" fmla="*/ 37781 h 37780"/>
                  <a:gd name="connsiteX12" fmla="*/ 0 w 31223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223" h="37780">
                    <a:moveTo>
                      <a:pt x="0" y="37762"/>
                    </a:moveTo>
                    <a:lnTo>
                      <a:pt x="0" y="0"/>
                    </a:lnTo>
                    <a:lnTo>
                      <a:pt x="4993" y="0"/>
                    </a:lnTo>
                    <a:lnTo>
                      <a:pt x="4993" y="18730"/>
                    </a:lnTo>
                    <a:lnTo>
                      <a:pt x="23743" y="0"/>
                    </a:lnTo>
                    <a:lnTo>
                      <a:pt x="30526" y="0"/>
                    </a:lnTo>
                    <a:lnTo>
                      <a:pt x="14679" y="15301"/>
                    </a:lnTo>
                    <a:lnTo>
                      <a:pt x="31224" y="37762"/>
                    </a:lnTo>
                    <a:lnTo>
                      <a:pt x="24628" y="37762"/>
                    </a:lnTo>
                    <a:lnTo>
                      <a:pt x="11174" y="18655"/>
                    </a:lnTo>
                    <a:lnTo>
                      <a:pt x="4993" y="24685"/>
                    </a:lnTo>
                    <a:lnTo>
                      <a:pt x="4993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26" name="Freihandform: Form 3225">
                <a:extLst>
                  <a:ext uri="{FF2B5EF4-FFF2-40B4-BE49-F238E27FC236}">
                    <a16:creationId xmlns:a16="http://schemas.microsoft.com/office/drawing/2014/main" id="{056E3B06-C82A-5AE1-EEF4-D339422E219E}"/>
                  </a:ext>
                </a:extLst>
              </p:cNvPr>
              <p:cNvSpPr/>
              <p:nvPr/>
            </p:nvSpPr>
            <p:spPr>
              <a:xfrm>
                <a:off x="7931917" y="1135620"/>
                <a:ext cx="25193" cy="28623"/>
              </a:xfrm>
              <a:custGeom>
                <a:avLst/>
                <a:gdLst>
                  <a:gd name="connsiteX0" fmla="*/ 19427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0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1 w 25193"/>
                  <a:gd name="connsiteY7" fmla="*/ 12908 h 28623"/>
                  <a:gd name="connsiteX8" fmla="*/ 10778 w 25193"/>
                  <a:gd name="connsiteY8" fmla="*/ 12210 h 28623"/>
                  <a:gd name="connsiteX9" fmla="*/ 19050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0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4 h 28623"/>
                  <a:gd name="connsiteX26" fmla="*/ 20350 w 25193"/>
                  <a:gd name="connsiteY26" fmla="*/ 27964 h 28623"/>
                  <a:gd name="connsiteX27" fmla="*/ 19427 w 25193"/>
                  <a:gd name="connsiteY27" fmla="*/ 24591 h 28623"/>
                  <a:gd name="connsiteX28" fmla="*/ 19032 w 25193"/>
                  <a:gd name="connsiteY28" fmla="*/ 14264 h 28623"/>
                  <a:gd name="connsiteX29" fmla="*/ 11456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0 w 25193"/>
                  <a:gd name="connsiteY37" fmla="*/ 15979 h 28623"/>
                  <a:gd name="connsiteX38" fmla="*/ 19050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7" y="24628"/>
                    </a:moveTo>
                    <a:cubicBezTo>
                      <a:pt x="17713" y="26079"/>
                      <a:pt x="16054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0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1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7" y="2506"/>
                      <a:pt x="5163" y="1602"/>
                      <a:pt x="6934" y="961"/>
                    </a:cubicBezTo>
                    <a:cubicBezTo>
                      <a:pt x="8705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2" y="25834"/>
                      <a:pt x="24609" y="26927"/>
                      <a:pt x="25193" y="27964"/>
                    </a:cubicBezTo>
                    <a:lnTo>
                      <a:pt x="20350" y="27964"/>
                    </a:lnTo>
                    <a:cubicBezTo>
                      <a:pt x="19879" y="27003"/>
                      <a:pt x="19559" y="25872"/>
                      <a:pt x="19427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27" name="Freihandform: Form 3226">
                <a:extLst>
                  <a:ext uri="{FF2B5EF4-FFF2-40B4-BE49-F238E27FC236}">
                    <a16:creationId xmlns:a16="http://schemas.microsoft.com/office/drawing/2014/main" id="{15224A63-CA77-A9F6-FFDE-91F032543EB0}"/>
                  </a:ext>
                </a:extLst>
              </p:cNvPr>
              <p:cNvSpPr/>
              <p:nvPr/>
            </p:nvSpPr>
            <p:spPr>
              <a:xfrm>
                <a:off x="7962725" y="1125860"/>
                <a:ext cx="4635" cy="37762"/>
              </a:xfrm>
              <a:custGeom>
                <a:avLst/>
                <a:gdLst>
                  <a:gd name="connsiteX0" fmla="*/ 0 w 4635"/>
                  <a:gd name="connsiteY0" fmla="*/ 37762 h 37762"/>
                  <a:gd name="connsiteX1" fmla="*/ 0 w 4635"/>
                  <a:gd name="connsiteY1" fmla="*/ 0 h 37762"/>
                  <a:gd name="connsiteX2" fmla="*/ 4635 w 4635"/>
                  <a:gd name="connsiteY2" fmla="*/ 0 h 37762"/>
                  <a:gd name="connsiteX3" fmla="*/ 4635 w 4635"/>
                  <a:gd name="connsiteY3" fmla="*/ 37762 h 37762"/>
                  <a:gd name="connsiteX4" fmla="*/ 0 w 4635"/>
                  <a:gd name="connsiteY4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35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5" y="0"/>
                    </a:lnTo>
                    <a:lnTo>
                      <a:pt x="4635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28" name="Freihandform: Form 3227">
                <a:extLst>
                  <a:ext uri="{FF2B5EF4-FFF2-40B4-BE49-F238E27FC236}">
                    <a16:creationId xmlns:a16="http://schemas.microsoft.com/office/drawing/2014/main" id="{D31462F2-7B35-03B6-CD09-2A70B306D27E}"/>
                  </a:ext>
                </a:extLst>
              </p:cNvPr>
              <p:cNvSpPr/>
              <p:nvPr/>
            </p:nvSpPr>
            <p:spPr>
              <a:xfrm>
                <a:off x="7972976" y="1135620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1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1 w 25193"/>
                  <a:gd name="connsiteY15" fmla="*/ 8423 h 28623"/>
                  <a:gd name="connsiteX16" fmla="*/ 2845 w 25193"/>
                  <a:gd name="connsiteY16" fmla="*/ 3712 h 28623"/>
                  <a:gd name="connsiteX17" fmla="*/ 6935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6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2" y="27888"/>
                      <a:pt x="2431" y="26418"/>
                    </a:cubicBezTo>
                    <a:cubicBezTo>
                      <a:pt x="811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9" y="11758"/>
                      <a:pt x="17280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9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1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5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80" y="27003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29" name="Freihandform: Form 3228">
                <a:extLst>
                  <a:ext uri="{FF2B5EF4-FFF2-40B4-BE49-F238E27FC236}">
                    <a16:creationId xmlns:a16="http://schemas.microsoft.com/office/drawing/2014/main" id="{97DBE192-5DDD-B232-6B74-380F58CD2A58}"/>
                  </a:ext>
                </a:extLst>
              </p:cNvPr>
              <p:cNvSpPr/>
              <p:nvPr/>
            </p:nvSpPr>
            <p:spPr>
              <a:xfrm>
                <a:off x="8003880" y="1135639"/>
                <a:ext cx="37083" cy="27982"/>
              </a:xfrm>
              <a:custGeom>
                <a:avLst/>
                <a:gdLst>
                  <a:gd name="connsiteX0" fmla="*/ 19 w 37083"/>
                  <a:gd name="connsiteY0" fmla="*/ 27982 h 27982"/>
                  <a:gd name="connsiteX1" fmla="*/ 19 w 37083"/>
                  <a:gd name="connsiteY1" fmla="*/ 622 h 27982"/>
                  <a:gd name="connsiteX2" fmla="*/ 4164 w 37083"/>
                  <a:gd name="connsiteY2" fmla="*/ 622 h 27982"/>
                  <a:gd name="connsiteX3" fmla="*/ 4164 w 37083"/>
                  <a:gd name="connsiteY3" fmla="*/ 4466 h 27982"/>
                  <a:gd name="connsiteX4" fmla="*/ 7594 w 37083"/>
                  <a:gd name="connsiteY4" fmla="*/ 1225 h 27982"/>
                  <a:gd name="connsiteX5" fmla="*/ 12455 w 37083"/>
                  <a:gd name="connsiteY5" fmla="*/ 0 h 27982"/>
                  <a:gd name="connsiteX6" fmla="*/ 17449 w 37083"/>
                  <a:gd name="connsiteY6" fmla="*/ 1263 h 27982"/>
                  <a:gd name="connsiteX7" fmla="*/ 20200 w 37083"/>
                  <a:gd name="connsiteY7" fmla="*/ 4786 h 27982"/>
                  <a:gd name="connsiteX8" fmla="*/ 28642 w 37083"/>
                  <a:gd name="connsiteY8" fmla="*/ 0 h 27982"/>
                  <a:gd name="connsiteX9" fmla="*/ 34898 w 37083"/>
                  <a:gd name="connsiteY9" fmla="*/ 2261 h 27982"/>
                  <a:gd name="connsiteX10" fmla="*/ 37084 w 37083"/>
                  <a:gd name="connsiteY10" fmla="*/ 9196 h 27982"/>
                  <a:gd name="connsiteX11" fmla="*/ 37084 w 37083"/>
                  <a:gd name="connsiteY11" fmla="*/ 27982 h 27982"/>
                  <a:gd name="connsiteX12" fmla="*/ 32467 w 37083"/>
                  <a:gd name="connsiteY12" fmla="*/ 27982 h 27982"/>
                  <a:gd name="connsiteX13" fmla="*/ 32467 w 37083"/>
                  <a:gd name="connsiteY13" fmla="*/ 10741 h 27982"/>
                  <a:gd name="connsiteX14" fmla="*/ 32015 w 37083"/>
                  <a:gd name="connsiteY14" fmla="*/ 6727 h 27982"/>
                  <a:gd name="connsiteX15" fmla="*/ 30375 w 37083"/>
                  <a:gd name="connsiteY15" fmla="*/ 4749 h 27982"/>
                  <a:gd name="connsiteX16" fmla="*/ 27586 w 37083"/>
                  <a:gd name="connsiteY16" fmla="*/ 3995 h 27982"/>
                  <a:gd name="connsiteX17" fmla="*/ 22800 w 37083"/>
                  <a:gd name="connsiteY17" fmla="*/ 5917 h 27982"/>
                  <a:gd name="connsiteX18" fmla="*/ 20897 w 37083"/>
                  <a:gd name="connsiteY18" fmla="*/ 12060 h 27982"/>
                  <a:gd name="connsiteX19" fmla="*/ 20897 w 37083"/>
                  <a:gd name="connsiteY19" fmla="*/ 27964 h 27982"/>
                  <a:gd name="connsiteX20" fmla="*/ 16262 w 37083"/>
                  <a:gd name="connsiteY20" fmla="*/ 27964 h 27982"/>
                  <a:gd name="connsiteX21" fmla="*/ 16262 w 37083"/>
                  <a:gd name="connsiteY21" fmla="*/ 10194 h 27982"/>
                  <a:gd name="connsiteX22" fmla="*/ 15131 w 37083"/>
                  <a:gd name="connsiteY22" fmla="*/ 5559 h 27982"/>
                  <a:gd name="connsiteX23" fmla="*/ 11419 w 37083"/>
                  <a:gd name="connsiteY23" fmla="*/ 4014 h 27982"/>
                  <a:gd name="connsiteX24" fmla="*/ 7801 w 37083"/>
                  <a:gd name="connsiteY24" fmla="*/ 5050 h 27982"/>
                  <a:gd name="connsiteX25" fmla="*/ 5389 w 37083"/>
                  <a:gd name="connsiteY25" fmla="*/ 8065 h 27982"/>
                  <a:gd name="connsiteX26" fmla="*/ 4635 w 37083"/>
                  <a:gd name="connsiteY26" fmla="*/ 13793 h 27982"/>
                  <a:gd name="connsiteX27" fmla="*/ 4635 w 37083"/>
                  <a:gd name="connsiteY27" fmla="*/ 27982 h 27982"/>
                  <a:gd name="connsiteX28" fmla="*/ 0 w 37083"/>
                  <a:gd name="connsiteY28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7083" h="27982">
                    <a:moveTo>
                      <a:pt x="19" y="27982"/>
                    </a:moveTo>
                    <a:lnTo>
                      <a:pt x="19" y="622"/>
                    </a:lnTo>
                    <a:lnTo>
                      <a:pt x="4164" y="622"/>
                    </a:lnTo>
                    <a:lnTo>
                      <a:pt x="4164" y="4466"/>
                    </a:lnTo>
                    <a:cubicBezTo>
                      <a:pt x="5031" y="3128"/>
                      <a:pt x="6162" y="2054"/>
                      <a:pt x="7594" y="1225"/>
                    </a:cubicBezTo>
                    <a:cubicBezTo>
                      <a:pt x="9026" y="396"/>
                      <a:pt x="10646" y="0"/>
                      <a:pt x="12455" y="0"/>
                    </a:cubicBezTo>
                    <a:cubicBezTo>
                      <a:pt x="14490" y="0"/>
                      <a:pt x="16148" y="415"/>
                      <a:pt x="17449" y="1263"/>
                    </a:cubicBezTo>
                    <a:cubicBezTo>
                      <a:pt x="18749" y="2110"/>
                      <a:pt x="19654" y="3279"/>
                      <a:pt x="20200" y="4786"/>
                    </a:cubicBezTo>
                    <a:cubicBezTo>
                      <a:pt x="22367" y="1583"/>
                      <a:pt x="25174" y="0"/>
                      <a:pt x="28642" y="0"/>
                    </a:cubicBezTo>
                    <a:cubicBezTo>
                      <a:pt x="31355" y="0"/>
                      <a:pt x="33447" y="754"/>
                      <a:pt x="34898" y="2261"/>
                    </a:cubicBezTo>
                    <a:cubicBezTo>
                      <a:pt x="36349" y="3769"/>
                      <a:pt x="37084" y="6086"/>
                      <a:pt x="37084" y="9196"/>
                    </a:cubicBezTo>
                    <a:lnTo>
                      <a:pt x="37084" y="27982"/>
                    </a:lnTo>
                    <a:lnTo>
                      <a:pt x="32467" y="27982"/>
                    </a:lnTo>
                    <a:lnTo>
                      <a:pt x="32467" y="10741"/>
                    </a:lnTo>
                    <a:cubicBezTo>
                      <a:pt x="32467" y="8894"/>
                      <a:pt x="32316" y="7556"/>
                      <a:pt x="32015" y="6727"/>
                    </a:cubicBezTo>
                    <a:cubicBezTo>
                      <a:pt x="31713" y="5898"/>
                      <a:pt x="31167" y="5257"/>
                      <a:pt x="30375" y="4749"/>
                    </a:cubicBezTo>
                    <a:cubicBezTo>
                      <a:pt x="29584" y="4240"/>
                      <a:pt x="28661" y="3995"/>
                      <a:pt x="27586" y="3995"/>
                    </a:cubicBezTo>
                    <a:cubicBezTo>
                      <a:pt x="25664" y="3995"/>
                      <a:pt x="24063" y="4635"/>
                      <a:pt x="22800" y="5917"/>
                    </a:cubicBezTo>
                    <a:cubicBezTo>
                      <a:pt x="21538" y="7198"/>
                      <a:pt x="20897" y="9252"/>
                      <a:pt x="20897" y="12060"/>
                    </a:cubicBezTo>
                    <a:lnTo>
                      <a:pt x="20897" y="27964"/>
                    </a:lnTo>
                    <a:lnTo>
                      <a:pt x="16262" y="27964"/>
                    </a:lnTo>
                    <a:lnTo>
                      <a:pt x="16262" y="10194"/>
                    </a:lnTo>
                    <a:cubicBezTo>
                      <a:pt x="16262" y="8140"/>
                      <a:pt x="15885" y="6595"/>
                      <a:pt x="15131" y="5559"/>
                    </a:cubicBezTo>
                    <a:cubicBezTo>
                      <a:pt x="14377" y="4522"/>
                      <a:pt x="13134" y="4014"/>
                      <a:pt x="11419" y="4014"/>
                    </a:cubicBezTo>
                    <a:cubicBezTo>
                      <a:pt x="10119" y="4014"/>
                      <a:pt x="8913" y="4353"/>
                      <a:pt x="7801" y="5050"/>
                    </a:cubicBezTo>
                    <a:cubicBezTo>
                      <a:pt x="6689" y="5747"/>
                      <a:pt x="5898" y="6746"/>
                      <a:pt x="5389" y="8065"/>
                    </a:cubicBezTo>
                    <a:cubicBezTo>
                      <a:pt x="4880" y="9384"/>
                      <a:pt x="4635" y="11287"/>
                      <a:pt x="4635" y="13793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30" name="Freihandform: Form 3229">
                <a:extLst>
                  <a:ext uri="{FF2B5EF4-FFF2-40B4-BE49-F238E27FC236}">
                    <a16:creationId xmlns:a16="http://schemas.microsoft.com/office/drawing/2014/main" id="{AD14A98E-4C58-403D-D8EE-8F784F88A86D}"/>
                  </a:ext>
                </a:extLst>
              </p:cNvPr>
              <p:cNvSpPr/>
              <p:nvPr/>
            </p:nvSpPr>
            <p:spPr>
              <a:xfrm>
                <a:off x="8046277" y="1135620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0 w 25193"/>
                  <a:gd name="connsiteY9" fmla="*/ 10609 h 28623"/>
                  <a:gd name="connsiteX10" fmla="*/ 19069 w 25193"/>
                  <a:gd name="connsiteY10" fmla="*/ 9403 h 28623"/>
                  <a:gd name="connsiteX11" fmla="*/ 17750 w 25193"/>
                  <a:gd name="connsiteY11" fmla="*/ 5408 h 28623"/>
                  <a:gd name="connsiteX12" fmla="*/ 12474 w 25193"/>
                  <a:gd name="connsiteY12" fmla="*/ 3844 h 28623"/>
                  <a:gd name="connsiteX13" fmla="*/ 7651 w 25193"/>
                  <a:gd name="connsiteY13" fmla="*/ 4993 h 28623"/>
                  <a:gd name="connsiteX14" fmla="*/ 5351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3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6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5 w 25193"/>
                  <a:gd name="connsiteY35" fmla="*/ 23818 h 28623"/>
                  <a:gd name="connsiteX36" fmla="*/ 18297 w 25193"/>
                  <a:gd name="connsiteY36" fmla="*/ 20615 h 28623"/>
                  <a:gd name="connsiteX37" fmla="*/ 19050 w 25193"/>
                  <a:gd name="connsiteY37" fmla="*/ 15979 h 28623"/>
                  <a:gd name="connsiteX38" fmla="*/ 19050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0" y="10609"/>
                    </a:cubicBezTo>
                    <a:cubicBezTo>
                      <a:pt x="19050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5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2" y="25834"/>
                      <a:pt x="24610" y="26927"/>
                      <a:pt x="25193" y="27964"/>
                    </a:cubicBezTo>
                    <a:lnTo>
                      <a:pt x="20351" y="27964"/>
                    </a:lnTo>
                    <a:cubicBezTo>
                      <a:pt x="19880" y="27003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0" y="18014"/>
                      <a:pt x="19050" y="15979"/>
                    </a:cubicBezTo>
                    <a:lnTo>
                      <a:pt x="19050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31" name="Freihandform: Form 3230">
                <a:extLst>
                  <a:ext uri="{FF2B5EF4-FFF2-40B4-BE49-F238E27FC236}">
                    <a16:creationId xmlns:a16="http://schemas.microsoft.com/office/drawing/2014/main" id="{67ED2F1D-2E65-7B20-42B6-83DD0B61F58A}"/>
                  </a:ext>
                </a:extLst>
              </p:cNvPr>
              <p:cNvSpPr/>
              <p:nvPr/>
            </p:nvSpPr>
            <p:spPr>
              <a:xfrm>
                <a:off x="8074655" y="1126708"/>
                <a:ext cx="13340" cy="37272"/>
              </a:xfrm>
              <a:custGeom>
                <a:avLst/>
                <a:gdLst>
                  <a:gd name="connsiteX0" fmla="*/ 12663 w 13340"/>
                  <a:gd name="connsiteY0" fmla="*/ 32769 h 37272"/>
                  <a:gd name="connsiteX1" fmla="*/ 13341 w 13340"/>
                  <a:gd name="connsiteY1" fmla="*/ 36858 h 37272"/>
                  <a:gd name="connsiteX2" fmla="*/ 9836 w 13340"/>
                  <a:gd name="connsiteY2" fmla="*/ 37272 h 37272"/>
                  <a:gd name="connsiteX3" fmla="*/ 5917 w 13340"/>
                  <a:gd name="connsiteY3" fmla="*/ 36481 h 37272"/>
                  <a:gd name="connsiteX4" fmla="*/ 3957 w 13340"/>
                  <a:gd name="connsiteY4" fmla="*/ 34389 h 37272"/>
                  <a:gd name="connsiteX5" fmla="*/ 3391 w 13340"/>
                  <a:gd name="connsiteY5" fmla="*/ 28906 h 37272"/>
                  <a:gd name="connsiteX6" fmla="*/ 3391 w 13340"/>
                  <a:gd name="connsiteY6" fmla="*/ 13171 h 37272"/>
                  <a:gd name="connsiteX7" fmla="*/ 0 w 13340"/>
                  <a:gd name="connsiteY7" fmla="*/ 13171 h 37272"/>
                  <a:gd name="connsiteX8" fmla="*/ 0 w 13340"/>
                  <a:gd name="connsiteY8" fmla="*/ 9572 h 37272"/>
                  <a:gd name="connsiteX9" fmla="*/ 3391 w 13340"/>
                  <a:gd name="connsiteY9" fmla="*/ 9572 h 37272"/>
                  <a:gd name="connsiteX10" fmla="*/ 3391 w 13340"/>
                  <a:gd name="connsiteY10" fmla="*/ 2789 h 37272"/>
                  <a:gd name="connsiteX11" fmla="*/ 8008 w 13340"/>
                  <a:gd name="connsiteY11" fmla="*/ 0 h 37272"/>
                  <a:gd name="connsiteX12" fmla="*/ 8008 w 13340"/>
                  <a:gd name="connsiteY12" fmla="*/ 9554 h 37272"/>
                  <a:gd name="connsiteX13" fmla="*/ 12663 w 13340"/>
                  <a:gd name="connsiteY13" fmla="*/ 9554 h 37272"/>
                  <a:gd name="connsiteX14" fmla="*/ 12663 w 13340"/>
                  <a:gd name="connsiteY14" fmla="*/ 13153 h 37272"/>
                  <a:gd name="connsiteX15" fmla="*/ 8008 w 13340"/>
                  <a:gd name="connsiteY15" fmla="*/ 13153 h 37272"/>
                  <a:gd name="connsiteX16" fmla="*/ 8008 w 13340"/>
                  <a:gd name="connsiteY16" fmla="*/ 29151 h 37272"/>
                  <a:gd name="connsiteX17" fmla="*/ 8253 w 13340"/>
                  <a:gd name="connsiteY17" fmla="*/ 31695 h 37272"/>
                  <a:gd name="connsiteX18" fmla="*/ 9044 w 13340"/>
                  <a:gd name="connsiteY18" fmla="*/ 32599 h 37272"/>
                  <a:gd name="connsiteX19" fmla="*/ 10627 w 13340"/>
                  <a:gd name="connsiteY19" fmla="*/ 32938 h 37272"/>
                  <a:gd name="connsiteX20" fmla="*/ 12663 w 13340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0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2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3" y="35953"/>
                      <a:pt x="4334" y="35256"/>
                      <a:pt x="3957" y="34389"/>
                    </a:cubicBezTo>
                    <a:cubicBezTo>
                      <a:pt x="3580" y="33522"/>
                      <a:pt x="3391" y="31695"/>
                      <a:pt x="3391" y="28906"/>
                    </a:cubicBezTo>
                    <a:lnTo>
                      <a:pt x="3391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1" y="9572"/>
                    </a:lnTo>
                    <a:lnTo>
                      <a:pt x="3391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3" y="31318"/>
                      <a:pt x="8253" y="31695"/>
                    </a:cubicBezTo>
                    <a:cubicBezTo>
                      <a:pt x="8423" y="32071"/>
                      <a:pt x="8687" y="32373"/>
                      <a:pt x="9044" y="32599"/>
                    </a:cubicBezTo>
                    <a:cubicBezTo>
                      <a:pt x="9403" y="32825"/>
                      <a:pt x="9949" y="32938"/>
                      <a:pt x="10627" y="32938"/>
                    </a:cubicBezTo>
                    <a:cubicBezTo>
                      <a:pt x="11136" y="32938"/>
                      <a:pt x="11814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32" name="Freihandform: Form 3231">
                <a:extLst>
                  <a:ext uri="{FF2B5EF4-FFF2-40B4-BE49-F238E27FC236}">
                    <a16:creationId xmlns:a16="http://schemas.microsoft.com/office/drawing/2014/main" id="{E1C531A4-9387-73D9-A777-2364F1772F62}"/>
                  </a:ext>
                </a:extLst>
              </p:cNvPr>
              <p:cNvSpPr/>
              <p:nvPr/>
            </p:nvSpPr>
            <p:spPr>
              <a:xfrm>
                <a:off x="8090276" y="1135620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1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1 w 25193"/>
                  <a:gd name="connsiteY15" fmla="*/ 8423 h 28623"/>
                  <a:gd name="connsiteX16" fmla="*/ 2845 w 25193"/>
                  <a:gd name="connsiteY16" fmla="*/ 3712 h 28623"/>
                  <a:gd name="connsiteX17" fmla="*/ 6935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6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2" y="27888"/>
                      <a:pt x="2431" y="26418"/>
                    </a:cubicBezTo>
                    <a:cubicBezTo>
                      <a:pt x="811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9" y="11758"/>
                      <a:pt x="17280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9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1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5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80" y="27003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94" name="Grafik 21">
              <a:extLst>
                <a:ext uri="{FF2B5EF4-FFF2-40B4-BE49-F238E27FC236}">
                  <a16:creationId xmlns:a16="http://schemas.microsoft.com/office/drawing/2014/main" id="{2C61DB18-EC95-C935-C8CE-3B0ADB91DA94}"/>
                </a:ext>
              </a:extLst>
            </p:cNvPr>
            <p:cNvGrpSpPr/>
            <p:nvPr/>
          </p:nvGrpSpPr>
          <p:grpSpPr>
            <a:xfrm>
              <a:off x="8159639" y="1176096"/>
              <a:ext cx="162335" cy="39043"/>
              <a:chOff x="8159639" y="1176096"/>
              <a:chExt cx="162335" cy="39043"/>
            </a:xfrm>
            <a:solidFill>
              <a:srgbClr val="000000"/>
            </a:solidFill>
          </p:grpSpPr>
          <p:sp>
            <p:nvSpPr>
              <p:cNvPr id="3219" name="Freihandform: Form 3218">
                <a:extLst>
                  <a:ext uri="{FF2B5EF4-FFF2-40B4-BE49-F238E27FC236}">
                    <a16:creationId xmlns:a16="http://schemas.microsoft.com/office/drawing/2014/main" id="{0019D80D-351D-F0EE-405C-93342D926F58}"/>
                  </a:ext>
                </a:extLst>
              </p:cNvPr>
              <p:cNvSpPr/>
              <p:nvPr/>
            </p:nvSpPr>
            <p:spPr>
              <a:xfrm>
                <a:off x="8159639" y="1176096"/>
                <a:ext cx="33390" cy="39043"/>
              </a:xfrm>
              <a:custGeom>
                <a:avLst/>
                <a:gdLst>
                  <a:gd name="connsiteX0" fmla="*/ 28397 w 33390"/>
                  <a:gd name="connsiteY0" fmla="*/ 25156 h 39043"/>
                  <a:gd name="connsiteX1" fmla="*/ 33390 w 33390"/>
                  <a:gd name="connsiteY1" fmla="*/ 26418 h 39043"/>
                  <a:gd name="connsiteX2" fmla="*/ 27737 w 33390"/>
                  <a:gd name="connsiteY2" fmla="*/ 35802 h 39043"/>
                  <a:gd name="connsiteX3" fmla="*/ 17750 w 33390"/>
                  <a:gd name="connsiteY3" fmla="*/ 39043 h 39043"/>
                  <a:gd name="connsiteX4" fmla="*/ 7820 w 33390"/>
                  <a:gd name="connsiteY4" fmla="*/ 36556 h 39043"/>
                  <a:gd name="connsiteX5" fmla="*/ 1998 w 33390"/>
                  <a:gd name="connsiteY5" fmla="*/ 29358 h 39043"/>
                  <a:gd name="connsiteX6" fmla="*/ 0 w 33390"/>
                  <a:gd name="connsiteY6" fmla="*/ 19239 h 39043"/>
                  <a:gd name="connsiteX7" fmla="*/ 2261 w 33390"/>
                  <a:gd name="connsiteY7" fmla="*/ 8951 h 39043"/>
                  <a:gd name="connsiteX8" fmla="*/ 8668 w 33390"/>
                  <a:gd name="connsiteY8" fmla="*/ 2280 h 39043"/>
                  <a:gd name="connsiteX9" fmla="*/ 17826 w 33390"/>
                  <a:gd name="connsiteY9" fmla="*/ 0 h 39043"/>
                  <a:gd name="connsiteX10" fmla="*/ 27361 w 33390"/>
                  <a:gd name="connsiteY10" fmla="*/ 2883 h 39043"/>
                  <a:gd name="connsiteX11" fmla="*/ 32750 w 33390"/>
                  <a:gd name="connsiteY11" fmla="*/ 11005 h 39043"/>
                  <a:gd name="connsiteX12" fmla="*/ 27832 w 33390"/>
                  <a:gd name="connsiteY12" fmla="*/ 12173 h 39043"/>
                  <a:gd name="connsiteX13" fmla="*/ 24025 w 33390"/>
                  <a:gd name="connsiteY13" fmla="*/ 6162 h 39043"/>
                  <a:gd name="connsiteX14" fmla="*/ 17731 w 33390"/>
                  <a:gd name="connsiteY14" fmla="*/ 4277 h 39043"/>
                  <a:gd name="connsiteX15" fmla="*/ 10458 w 33390"/>
                  <a:gd name="connsiteY15" fmla="*/ 6369 h 39043"/>
                  <a:gd name="connsiteX16" fmla="*/ 6350 w 33390"/>
                  <a:gd name="connsiteY16" fmla="*/ 11966 h 39043"/>
                  <a:gd name="connsiteX17" fmla="*/ 5163 w 33390"/>
                  <a:gd name="connsiteY17" fmla="*/ 19220 h 39043"/>
                  <a:gd name="connsiteX18" fmla="*/ 6576 w 33390"/>
                  <a:gd name="connsiteY18" fmla="*/ 27624 h 39043"/>
                  <a:gd name="connsiteX19" fmla="*/ 10948 w 33390"/>
                  <a:gd name="connsiteY19" fmla="*/ 32995 h 39043"/>
                  <a:gd name="connsiteX20" fmla="*/ 17355 w 33390"/>
                  <a:gd name="connsiteY20" fmla="*/ 34766 h 39043"/>
                  <a:gd name="connsiteX21" fmla="*/ 24459 w 33390"/>
                  <a:gd name="connsiteY21" fmla="*/ 32335 h 39043"/>
                  <a:gd name="connsiteX22" fmla="*/ 28397 w 33390"/>
                  <a:gd name="connsiteY22" fmla="*/ 25156 h 3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3390" h="39043">
                    <a:moveTo>
                      <a:pt x="28397" y="25156"/>
                    </a:moveTo>
                    <a:lnTo>
                      <a:pt x="33390" y="26418"/>
                    </a:lnTo>
                    <a:cubicBezTo>
                      <a:pt x="32335" y="30526"/>
                      <a:pt x="30451" y="33654"/>
                      <a:pt x="27737" y="35802"/>
                    </a:cubicBezTo>
                    <a:cubicBezTo>
                      <a:pt x="25024" y="37951"/>
                      <a:pt x="21689" y="39043"/>
                      <a:pt x="17750" y="39043"/>
                    </a:cubicBezTo>
                    <a:cubicBezTo>
                      <a:pt x="13812" y="39043"/>
                      <a:pt x="10364" y="38214"/>
                      <a:pt x="7820" y="36556"/>
                    </a:cubicBezTo>
                    <a:cubicBezTo>
                      <a:pt x="5276" y="34898"/>
                      <a:pt x="3335" y="32505"/>
                      <a:pt x="1998" y="29358"/>
                    </a:cubicBezTo>
                    <a:cubicBezTo>
                      <a:pt x="660" y="26211"/>
                      <a:pt x="0" y="22838"/>
                      <a:pt x="0" y="19239"/>
                    </a:cubicBezTo>
                    <a:cubicBezTo>
                      <a:pt x="0" y="15301"/>
                      <a:pt x="754" y="11871"/>
                      <a:pt x="2261" y="8951"/>
                    </a:cubicBezTo>
                    <a:cubicBezTo>
                      <a:pt x="3769" y="6030"/>
                      <a:pt x="5898" y="3806"/>
                      <a:pt x="8668" y="2280"/>
                    </a:cubicBezTo>
                    <a:cubicBezTo>
                      <a:pt x="11438" y="754"/>
                      <a:pt x="14490" y="0"/>
                      <a:pt x="17826" y="0"/>
                    </a:cubicBezTo>
                    <a:cubicBezTo>
                      <a:pt x="21594" y="0"/>
                      <a:pt x="24779" y="961"/>
                      <a:pt x="27361" y="2883"/>
                    </a:cubicBezTo>
                    <a:cubicBezTo>
                      <a:pt x="29942" y="4805"/>
                      <a:pt x="31732" y="7518"/>
                      <a:pt x="32750" y="11005"/>
                    </a:cubicBezTo>
                    <a:lnTo>
                      <a:pt x="27832" y="12173"/>
                    </a:lnTo>
                    <a:cubicBezTo>
                      <a:pt x="26965" y="9422"/>
                      <a:pt x="25684" y="7424"/>
                      <a:pt x="24025" y="6162"/>
                    </a:cubicBezTo>
                    <a:cubicBezTo>
                      <a:pt x="22367" y="4899"/>
                      <a:pt x="20257" y="4277"/>
                      <a:pt x="17731" y="4277"/>
                    </a:cubicBezTo>
                    <a:cubicBezTo>
                      <a:pt x="14830" y="4277"/>
                      <a:pt x="12399" y="4975"/>
                      <a:pt x="10458" y="6369"/>
                    </a:cubicBezTo>
                    <a:cubicBezTo>
                      <a:pt x="8517" y="7763"/>
                      <a:pt x="7142" y="9629"/>
                      <a:pt x="6350" y="11966"/>
                    </a:cubicBezTo>
                    <a:cubicBezTo>
                      <a:pt x="5559" y="14302"/>
                      <a:pt x="5163" y="16733"/>
                      <a:pt x="5163" y="19220"/>
                    </a:cubicBezTo>
                    <a:cubicBezTo>
                      <a:pt x="5163" y="22424"/>
                      <a:pt x="5634" y="25231"/>
                      <a:pt x="6576" y="27624"/>
                    </a:cubicBezTo>
                    <a:cubicBezTo>
                      <a:pt x="7518" y="30017"/>
                      <a:pt x="8969" y="31808"/>
                      <a:pt x="10948" y="32995"/>
                    </a:cubicBezTo>
                    <a:cubicBezTo>
                      <a:pt x="12927" y="34182"/>
                      <a:pt x="15056" y="34766"/>
                      <a:pt x="17355" y="34766"/>
                    </a:cubicBezTo>
                    <a:cubicBezTo>
                      <a:pt x="20162" y="34766"/>
                      <a:pt x="22518" y="33956"/>
                      <a:pt x="24459" y="32335"/>
                    </a:cubicBezTo>
                    <a:cubicBezTo>
                      <a:pt x="26400" y="30715"/>
                      <a:pt x="27719" y="28322"/>
                      <a:pt x="28397" y="251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20" name="Freihandform: Form 3219">
                <a:extLst>
                  <a:ext uri="{FF2B5EF4-FFF2-40B4-BE49-F238E27FC236}">
                    <a16:creationId xmlns:a16="http://schemas.microsoft.com/office/drawing/2014/main" id="{A9D30AB4-5723-69EC-04B3-C647686AC987}"/>
                  </a:ext>
                </a:extLst>
              </p:cNvPr>
              <p:cNvSpPr/>
              <p:nvPr/>
            </p:nvSpPr>
            <p:spPr>
              <a:xfrm>
                <a:off x="8198607" y="1176737"/>
                <a:ext cx="22272" cy="37762"/>
              </a:xfrm>
              <a:custGeom>
                <a:avLst/>
                <a:gdLst>
                  <a:gd name="connsiteX0" fmla="*/ 0 w 22272"/>
                  <a:gd name="connsiteY0" fmla="*/ 37762 h 37762"/>
                  <a:gd name="connsiteX1" fmla="*/ 0 w 22272"/>
                  <a:gd name="connsiteY1" fmla="*/ 0 h 37762"/>
                  <a:gd name="connsiteX2" fmla="*/ 4636 w 22272"/>
                  <a:gd name="connsiteY2" fmla="*/ 0 h 37762"/>
                  <a:gd name="connsiteX3" fmla="*/ 4636 w 22272"/>
                  <a:gd name="connsiteY3" fmla="*/ 13548 h 37762"/>
                  <a:gd name="connsiteX4" fmla="*/ 12832 w 22272"/>
                  <a:gd name="connsiteY4" fmla="*/ 9780 h 37762"/>
                  <a:gd name="connsiteX5" fmla="*/ 18109 w 22272"/>
                  <a:gd name="connsiteY5" fmla="*/ 10986 h 37762"/>
                  <a:gd name="connsiteX6" fmla="*/ 21312 w 22272"/>
                  <a:gd name="connsiteY6" fmla="*/ 14302 h 37762"/>
                  <a:gd name="connsiteX7" fmla="*/ 22273 w 22272"/>
                  <a:gd name="connsiteY7" fmla="*/ 20426 h 37762"/>
                  <a:gd name="connsiteX8" fmla="*/ 22273 w 22272"/>
                  <a:gd name="connsiteY8" fmla="*/ 37762 h 37762"/>
                  <a:gd name="connsiteX9" fmla="*/ 17638 w 22272"/>
                  <a:gd name="connsiteY9" fmla="*/ 37762 h 37762"/>
                  <a:gd name="connsiteX10" fmla="*/ 17638 w 22272"/>
                  <a:gd name="connsiteY10" fmla="*/ 20426 h 37762"/>
                  <a:gd name="connsiteX11" fmla="*/ 16130 w 22272"/>
                  <a:gd name="connsiteY11" fmla="*/ 15357 h 37762"/>
                  <a:gd name="connsiteX12" fmla="*/ 11871 w 22272"/>
                  <a:gd name="connsiteY12" fmla="*/ 13775 h 37762"/>
                  <a:gd name="connsiteX13" fmla="*/ 7990 w 22272"/>
                  <a:gd name="connsiteY13" fmla="*/ 14849 h 37762"/>
                  <a:gd name="connsiteX14" fmla="*/ 5408 w 22272"/>
                  <a:gd name="connsiteY14" fmla="*/ 17750 h 37762"/>
                  <a:gd name="connsiteX15" fmla="*/ 4636 w 22272"/>
                  <a:gd name="connsiteY15" fmla="*/ 22800 h 37762"/>
                  <a:gd name="connsiteX16" fmla="*/ 4636 w 22272"/>
                  <a:gd name="connsiteY16" fmla="*/ 37762 h 37762"/>
                  <a:gd name="connsiteX17" fmla="*/ 0 w 22272"/>
                  <a:gd name="connsiteY17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272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13548"/>
                    </a:lnTo>
                    <a:cubicBezTo>
                      <a:pt x="6803" y="11042"/>
                      <a:pt x="9535" y="9780"/>
                      <a:pt x="12832" y="9780"/>
                    </a:cubicBezTo>
                    <a:cubicBezTo>
                      <a:pt x="14868" y="9780"/>
                      <a:pt x="16620" y="10175"/>
                      <a:pt x="18109" y="10986"/>
                    </a:cubicBezTo>
                    <a:cubicBezTo>
                      <a:pt x="19597" y="11796"/>
                      <a:pt x="20672" y="12889"/>
                      <a:pt x="21312" y="14302"/>
                    </a:cubicBezTo>
                    <a:cubicBezTo>
                      <a:pt x="21953" y="15715"/>
                      <a:pt x="22273" y="17750"/>
                      <a:pt x="22273" y="20426"/>
                    </a:cubicBezTo>
                    <a:lnTo>
                      <a:pt x="22273" y="37762"/>
                    </a:lnTo>
                    <a:lnTo>
                      <a:pt x="17638" y="37762"/>
                    </a:lnTo>
                    <a:lnTo>
                      <a:pt x="17638" y="20426"/>
                    </a:lnTo>
                    <a:cubicBezTo>
                      <a:pt x="17638" y="18109"/>
                      <a:pt x="17129" y="16413"/>
                      <a:pt x="16130" y="15357"/>
                    </a:cubicBezTo>
                    <a:cubicBezTo>
                      <a:pt x="15131" y="14302"/>
                      <a:pt x="13699" y="13775"/>
                      <a:pt x="11871" y="13775"/>
                    </a:cubicBezTo>
                    <a:cubicBezTo>
                      <a:pt x="10496" y="13775"/>
                      <a:pt x="9196" y="14133"/>
                      <a:pt x="7990" y="14849"/>
                    </a:cubicBezTo>
                    <a:cubicBezTo>
                      <a:pt x="6784" y="15565"/>
                      <a:pt x="5917" y="16526"/>
                      <a:pt x="5408" y="17750"/>
                    </a:cubicBezTo>
                    <a:cubicBezTo>
                      <a:pt x="4899" y="18975"/>
                      <a:pt x="4636" y="20652"/>
                      <a:pt x="4636" y="22800"/>
                    </a:cubicBez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21" name="Freihandform: Form 3220">
                <a:extLst>
                  <a:ext uri="{FF2B5EF4-FFF2-40B4-BE49-F238E27FC236}">
                    <a16:creationId xmlns:a16="http://schemas.microsoft.com/office/drawing/2014/main" id="{58407C9A-40AF-A221-67B2-B29BF6407BA0}"/>
                  </a:ext>
                </a:extLst>
              </p:cNvPr>
              <p:cNvSpPr/>
              <p:nvPr/>
            </p:nvSpPr>
            <p:spPr>
              <a:xfrm>
                <a:off x="8226363" y="1186498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6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4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9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1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1 w 25193"/>
                  <a:gd name="connsiteY15" fmla="*/ 8423 h 28623"/>
                  <a:gd name="connsiteX16" fmla="*/ 2845 w 25193"/>
                  <a:gd name="connsiteY16" fmla="*/ 3712 h 28623"/>
                  <a:gd name="connsiteX17" fmla="*/ 6935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6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6" y="28623"/>
                    </a:cubicBezTo>
                    <a:cubicBezTo>
                      <a:pt x="6350" y="28623"/>
                      <a:pt x="4052" y="27888"/>
                      <a:pt x="2431" y="26418"/>
                    </a:cubicBezTo>
                    <a:cubicBezTo>
                      <a:pt x="811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4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9" y="12210"/>
                    </a:cubicBezTo>
                    <a:cubicBezTo>
                      <a:pt x="14529" y="11758"/>
                      <a:pt x="17280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9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1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4" y="1602"/>
                      <a:pt x="6935" y="961"/>
                    </a:cubicBezTo>
                    <a:cubicBezTo>
                      <a:pt x="8725" y="320"/>
                      <a:pt x="10798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61" y="27003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5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22" name="Freihandform: Form 3221">
                <a:extLst>
                  <a:ext uri="{FF2B5EF4-FFF2-40B4-BE49-F238E27FC236}">
                    <a16:creationId xmlns:a16="http://schemas.microsoft.com/office/drawing/2014/main" id="{5ED29F34-B615-9256-CCD2-9F6502513AAF}"/>
                  </a:ext>
                </a:extLst>
              </p:cNvPr>
              <p:cNvSpPr/>
              <p:nvPr/>
            </p:nvSpPr>
            <p:spPr>
              <a:xfrm>
                <a:off x="8257285" y="1186516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599 w 22235"/>
                  <a:gd name="connsiteY10" fmla="*/ 27982 h 28001"/>
                  <a:gd name="connsiteX11" fmla="*/ 17599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3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8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9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599" y="27982"/>
                    </a:lnTo>
                    <a:lnTo>
                      <a:pt x="17599" y="11344"/>
                    </a:lnTo>
                    <a:cubicBezTo>
                      <a:pt x="17599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5" y="4654"/>
                      <a:pt x="6783" y="5917"/>
                    </a:cubicBezTo>
                    <a:cubicBezTo>
                      <a:pt x="5351" y="7179"/>
                      <a:pt x="4635" y="9554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23" name="Freihandform: Form 3222">
                <a:extLst>
                  <a:ext uri="{FF2B5EF4-FFF2-40B4-BE49-F238E27FC236}">
                    <a16:creationId xmlns:a16="http://schemas.microsoft.com/office/drawing/2014/main" id="{8F4A8949-B042-D9D7-9F4B-4EABF2A5A7D1}"/>
                  </a:ext>
                </a:extLst>
              </p:cNvPr>
              <p:cNvSpPr/>
              <p:nvPr/>
            </p:nvSpPr>
            <p:spPr>
              <a:xfrm>
                <a:off x="8286662" y="1176737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6 w 4635"/>
                  <a:gd name="connsiteY7" fmla="*/ 10402 h 37762"/>
                  <a:gd name="connsiteX8" fmla="*/ 4636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6" y="10402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24" name="Freihandform: Form 3223">
                <a:extLst>
                  <a:ext uri="{FF2B5EF4-FFF2-40B4-BE49-F238E27FC236}">
                    <a16:creationId xmlns:a16="http://schemas.microsoft.com/office/drawing/2014/main" id="{9670449D-9FCC-BB74-B9F6-9D11F2437A66}"/>
                  </a:ext>
                </a:extLst>
              </p:cNvPr>
              <p:cNvSpPr/>
              <p:nvPr/>
            </p:nvSpPr>
            <p:spPr>
              <a:xfrm>
                <a:off x="8296781" y="1186498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0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61" y="27003"/>
                      <a:pt x="19559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95" name="Grafik 21">
              <a:extLst>
                <a:ext uri="{FF2B5EF4-FFF2-40B4-BE49-F238E27FC236}">
                  <a16:creationId xmlns:a16="http://schemas.microsoft.com/office/drawing/2014/main" id="{0E943004-4E7F-00A0-F8FE-8B16D5E24B72}"/>
                </a:ext>
              </a:extLst>
            </p:cNvPr>
            <p:cNvGrpSpPr/>
            <p:nvPr/>
          </p:nvGrpSpPr>
          <p:grpSpPr>
            <a:xfrm>
              <a:off x="8470800" y="1289797"/>
              <a:ext cx="234618" cy="48257"/>
              <a:chOff x="8470800" y="1289797"/>
              <a:chExt cx="234618" cy="48257"/>
            </a:xfrm>
            <a:solidFill>
              <a:srgbClr val="000000"/>
            </a:solidFill>
          </p:grpSpPr>
          <p:sp>
            <p:nvSpPr>
              <p:cNvPr id="3210" name="Freihandform: Form 3209">
                <a:extLst>
                  <a:ext uri="{FF2B5EF4-FFF2-40B4-BE49-F238E27FC236}">
                    <a16:creationId xmlns:a16="http://schemas.microsoft.com/office/drawing/2014/main" id="{57C438DE-777D-0F40-A7B2-91C541B1ACEE}"/>
                  </a:ext>
                </a:extLst>
              </p:cNvPr>
              <p:cNvSpPr/>
              <p:nvPr/>
            </p:nvSpPr>
            <p:spPr>
              <a:xfrm>
                <a:off x="8470800" y="1289797"/>
                <a:ext cx="31223" cy="37780"/>
              </a:xfrm>
              <a:custGeom>
                <a:avLst/>
                <a:gdLst>
                  <a:gd name="connsiteX0" fmla="*/ 0 w 31223"/>
                  <a:gd name="connsiteY0" fmla="*/ 37762 h 37780"/>
                  <a:gd name="connsiteX1" fmla="*/ 0 w 31223"/>
                  <a:gd name="connsiteY1" fmla="*/ 0 h 37780"/>
                  <a:gd name="connsiteX2" fmla="*/ 4993 w 31223"/>
                  <a:gd name="connsiteY2" fmla="*/ 0 h 37780"/>
                  <a:gd name="connsiteX3" fmla="*/ 4993 w 31223"/>
                  <a:gd name="connsiteY3" fmla="*/ 18730 h 37780"/>
                  <a:gd name="connsiteX4" fmla="*/ 23742 w 31223"/>
                  <a:gd name="connsiteY4" fmla="*/ 0 h 37780"/>
                  <a:gd name="connsiteX5" fmla="*/ 30526 w 31223"/>
                  <a:gd name="connsiteY5" fmla="*/ 0 h 37780"/>
                  <a:gd name="connsiteX6" fmla="*/ 14679 w 31223"/>
                  <a:gd name="connsiteY6" fmla="*/ 15301 h 37780"/>
                  <a:gd name="connsiteX7" fmla="*/ 31223 w 31223"/>
                  <a:gd name="connsiteY7" fmla="*/ 37762 h 37780"/>
                  <a:gd name="connsiteX8" fmla="*/ 24628 w 31223"/>
                  <a:gd name="connsiteY8" fmla="*/ 37762 h 37780"/>
                  <a:gd name="connsiteX9" fmla="*/ 11174 w 31223"/>
                  <a:gd name="connsiteY9" fmla="*/ 18655 h 37780"/>
                  <a:gd name="connsiteX10" fmla="*/ 4993 w 31223"/>
                  <a:gd name="connsiteY10" fmla="*/ 24685 h 37780"/>
                  <a:gd name="connsiteX11" fmla="*/ 4993 w 31223"/>
                  <a:gd name="connsiteY11" fmla="*/ 37781 h 37780"/>
                  <a:gd name="connsiteX12" fmla="*/ 0 w 31223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223" h="37780">
                    <a:moveTo>
                      <a:pt x="0" y="37762"/>
                    </a:moveTo>
                    <a:lnTo>
                      <a:pt x="0" y="0"/>
                    </a:lnTo>
                    <a:lnTo>
                      <a:pt x="4993" y="0"/>
                    </a:lnTo>
                    <a:lnTo>
                      <a:pt x="4993" y="18730"/>
                    </a:lnTo>
                    <a:lnTo>
                      <a:pt x="23742" y="0"/>
                    </a:lnTo>
                    <a:lnTo>
                      <a:pt x="30526" y="0"/>
                    </a:lnTo>
                    <a:lnTo>
                      <a:pt x="14679" y="15301"/>
                    </a:lnTo>
                    <a:lnTo>
                      <a:pt x="31223" y="37762"/>
                    </a:lnTo>
                    <a:lnTo>
                      <a:pt x="24628" y="37762"/>
                    </a:lnTo>
                    <a:lnTo>
                      <a:pt x="11174" y="18655"/>
                    </a:lnTo>
                    <a:lnTo>
                      <a:pt x="4993" y="24685"/>
                    </a:lnTo>
                    <a:lnTo>
                      <a:pt x="4993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11" name="Freihandform: Form 3210">
                <a:extLst>
                  <a:ext uri="{FF2B5EF4-FFF2-40B4-BE49-F238E27FC236}">
                    <a16:creationId xmlns:a16="http://schemas.microsoft.com/office/drawing/2014/main" id="{810B2FCE-C34B-EF4F-DBB5-7A374CED412D}"/>
                  </a:ext>
                </a:extLst>
              </p:cNvPr>
              <p:cNvSpPr/>
              <p:nvPr/>
            </p:nvSpPr>
            <p:spPr>
              <a:xfrm>
                <a:off x="8504039" y="1299558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0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80" y="27003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12" name="Freihandform: Form 3211">
                <a:extLst>
                  <a:ext uri="{FF2B5EF4-FFF2-40B4-BE49-F238E27FC236}">
                    <a16:creationId xmlns:a16="http://schemas.microsoft.com/office/drawing/2014/main" id="{584FE8FF-1E15-E95B-9B7F-2A9896F25878}"/>
                  </a:ext>
                </a:extLst>
              </p:cNvPr>
              <p:cNvSpPr/>
              <p:nvPr/>
            </p:nvSpPr>
            <p:spPr>
              <a:xfrm>
                <a:off x="8534905" y="1299577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2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9 h 27982"/>
                  <a:gd name="connsiteX7" fmla="*/ 13265 w 14867"/>
                  <a:gd name="connsiteY7" fmla="*/ 5785 h 27982"/>
                  <a:gd name="connsiteX8" fmla="*/ 9874 w 14867"/>
                  <a:gd name="connsiteY8" fmla="*/ 4786 h 27982"/>
                  <a:gd name="connsiteX9" fmla="*/ 7141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38" y="2827"/>
                      <a:pt x="6218" y="1545"/>
                      <a:pt x="7122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6" y="490"/>
                      <a:pt x="14867" y="1489"/>
                    </a:cubicBezTo>
                    <a:lnTo>
                      <a:pt x="13265" y="5785"/>
                    </a:lnTo>
                    <a:cubicBezTo>
                      <a:pt x="12135" y="5107"/>
                      <a:pt x="11004" y="4786"/>
                      <a:pt x="9874" y="4786"/>
                    </a:cubicBezTo>
                    <a:cubicBezTo>
                      <a:pt x="8856" y="4786"/>
                      <a:pt x="7952" y="5088"/>
                      <a:pt x="7141" y="5710"/>
                    </a:cubicBezTo>
                    <a:cubicBezTo>
                      <a:pt x="6331" y="6331"/>
                      <a:pt x="5766" y="7161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13" name="Freihandform: Form 3212">
                <a:extLst>
                  <a:ext uri="{FF2B5EF4-FFF2-40B4-BE49-F238E27FC236}">
                    <a16:creationId xmlns:a16="http://schemas.microsoft.com/office/drawing/2014/main" id="{AD4175EA-9490-8778-5670-B087858B4BDC}"/>
                  </a:ext>
                </a:extLst>
              </p:cNvPr>
              <p:cNvSpPr/>
              <p:nvPr/>
            </p:nvSpPr>
            <p:spPr>
              <a:xfrm>
                <a:off x="8552504" y="1299595"/>
                <a:ext cx="23761" cy="38459"/>
              </a:xfrm>
              <a:custGeom>
                <a:avLst/>
                <a:gdLst>
                  <a:gd name="connsiteX0" fmla="*/ 19 w 23761"/>
                  <a:gd name="connsiteY0" fmla="*/ 38440 h 38459"/>
                  <a:gd name="connsiteX1" fmla="*/ 19 w 23761"/>
                  <a:gd name="connsiteY1" fmla="*/ 603 h 38459"/>
                  <a:gd name="connsiteX2" fmla="*/ 4240 w 23761"/>
                  <a:gd name="connsiteY2" fmla="*/ 603 h 38459"/>
                  <a:gd name="connsiteX3" fmla="*/ 4240 w 23761"/>
                  <a:gd name="connsiteY3" fmla="*/ 4164 h 38459"/>
                  <a:gd name="connsiteX4" fmla="*/ 7613 w 23761"/>
                  <a:gd name="connsiteY4" fmla="*/ 1036 h 38459"/>
                  <a:gd name="connsiteX5" fmla="*/ 12173 w 23761"/>
                  <a:gd name="connsiteY5" fmla="*/ 0 h 38459"/>
                  <a:gd name="connsiteX6" fmla="*/ 18353 w 23761"/>
                  <a:gd name="connsiteY6" fmla="*/ 1809 h 38459"/>
                  <a:gd name="connsiteX7" fmla="*/ 22405 w 23761"/>
                  <a:gd name="connsiteY7" fmla="*/ 6897 h 38459"/>
                  <a:gd name="connsiteX8" fmla="*/ 23762 w 23761"/>
                  <a:gd name="connsiteY8" fmla="*/ 14095 h 38459"/>
                  <a:gd name="connsiteX9" fmla="*/ 22254 w 23761"/>
                  <a:gd name="connsiteY9" fmla="*/ 21651 h 38459"/>
                  <a:gd name="connsiteX10" fmla="*/ 17882 w 23761"/>
                  <a:gd name="connsiteY10" fmla="*/ 26795 h 38459"/>
                  <a:gd name="connsiteX11" fmla="*/ 11834 w 23761"/>
                  <a:gd name="connsiteY11" fmla="*/ 28585 h 38459"/>
                  <a:gd name="connsiteX12" fmla="*/ 7669 w 23761"/>
                  <a:gd name="connsiteY12" fmla="*/ 27606 h 38459"/>
                  <a:gd name="connsiteX13" fmla="*/ 4635 w 23761"/>
                  <a:gd name="connsiteY13" fmla="*/ 25137 h 38459"/>
                  <a:gd name="connsiteX14" fmla="*/ 4635 w 23761"/>
                  <a:gd name="connsiteY14" fmla="*/ 38459 h 38459"/>
                  <a:gd name="connsiteX15" fmla="*/ 0 w 23761"/>
                  <a:gd name="connsiteY15" fmla="*/ 38459 h 38459"/>
                  <a:gd name="connsiteX16" fmla="*/ 4221 w 23761"/>
                  <a:gd name="connsiteY16" fmla="*/ 14434 h 38459"/>
                  <a:gd name="connsiteX17" fmla="*/ 6350 w 23761"/>
                  <a:gd name="connsiteY17" fmla="*/ 22235 h 38459"/>
                  <a:gd name="connsiteX18" fmla="*/ 11532 w 23761"/>
                  <a:gd name="connsiteY18" fmla="*/ 24760 h 38459"/>
                  <a:gd name="connsiteX19" fmla="*/ 16827 w 23761"/>
                  <a:gd name="connsiteY19" fmla="*/ 22141 h 38459"/>
                  <a:gd name="connsiteX20" fmla="*/ 19032 w 23761"/>
                  <a:gd name="connsiteY20" fmla="*/ 14038 h 38459"/>
                  <a:gd name="connsiteX21" fmla="*/ 16884 w 23761"/>
                  <a:gd name="connsiteY21" fmla="*/ 6199 h 38459"/>
                  <a:gd name="connsiteX22" fmla="*/ 11739 w 23761"/>
                  <a:gd name="connsiteY22" fmla="*/ 3599 h 38459"/>
                  <a:gd name="connsiteX23" fmla="*/ 6501 w 23761"/>
                  <a:gd name="connsiteY23" fmla="*/ 6369 h 38459"/>
                  <a:gd name="connsiteX24" fmla="*/ 4221 w 23761"/>
                  <a:gd name="connsiteY24" fmla="*/ 14415 h 38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3761" h="38459">
                    <a:moveTo>
                      <a:pt x="19" y="38440"/>
                    </a:moveTo>
                    <a:lnTo>
                      <a:pt x="19" y="603"/>
                    </a:lnTo>
                    <a:lnTo>
                      <a:pt x="4240" y="603"/>
                    </a:lnTo>
                    <a:lnTo>
                      <a:pt x="4240" y="4164"/>
                    </a:lnTo>
                    <a:cubicBezTo>
                      <a:pt x="5239" y="2770"/>
                      <a:pt x="6369" y="1734"/>
                      <a:pt x="7613" y="1036"/>
                    </a:cubicBezTo>
                    <a:cubicBezTo>
                      <a:pt x="8856" y="339"/>
                      <a:pt x="10383" y="0"/>
                      <a:pt x="12173" y="0"/>
                    </a:cubicBezTo>
                    <a:cubicBezTo>
                      <a:pt x="14509" y="0"/>
                      <a:pt x="16563" y="603"/>
                      <a:pt x="18353" y="1809"/>
                    </a:cubicBezTo>
                    <a:cubicBezTo>
                      <a:pt x="20143" y="3015"/>
                      <a:pt x="21482" y="4711"/>
                      <a:pt x="22405" y="6897"/>
                    </a:cubicBezTo>
                    <a:cubicBezTo>
                      <a:pt x="23328" y="9083"/>
                      <a:pt x="23762" y="11494"/>
                      <a:pt x="23762" y="14095"/>
                    </a:cubicBezTo>
                    <a:cubicBezTo>
                      <a:pt x="23762" y="16903"/>
                      <a:pt x="23253" y="19409"/>
                      <a:pt x="22254" y="21651"/>
                    </a:cubicBezTo>
                    <a:cubicBezTo>
                      <a:pt x="21255" y="23893"/>
                      <a:pt x="19786" y="25608"/>
                      <a:pt x="17882" y="26795"/>
                    </a:cubicBezTo>
                    <a:cubicBezTo>
                      <a:pt x="15979" y="27982"/>
                      <a:pt x="13963" y="28585"/>
                      <a:pt x="11834" y="28585"/>
                    </a:cubicBezTo>
                    <a:cubicBezTo>
                      <a:pt x="10288" y="28585"/>
                      <a:pt x="8894" y="28265"/>
                      <a:pt x="7669" y="27606"/>
                    </a:cubicBezTo>
                    <a:cubicBezTo>
                      <a:pt x="6444" y="26946"/>
                      <a:pt x="5427" y="26136"/>
                      <a:pt x="4635" y="25137"/>
                    </a:cubicBezTo>
                    <a:lnTo>
                      <a:pt x="4635" y="38459"/>
                    </a:lnTo>
                    <a:lnTo>
                      <a:pt x="0" y="38459"/>
                    </a:lnTo>
                    <a:close/>
                    <a:moveTo>
                      <a:pt x="4221" y="14434"/>
                    </a:moveTo>
                    <a:cubicBezTo>
                      <a:pt x="4221" y="17958"/>
                      <a:pt x="4937" y="20558"/>
                      <a:pt x="6350" y="22235"/>
                    </a:cubicBezTo>
                    <a:cubicBezTo>
                      <a:pt x="7764" y="23912"/>
                      <a:pt x="9497" y="24760"/>
                      <a:pt x="11532" y="24760"/>
                    </a:cubicBezTo>
                    <a:cubicBezTo>
                      <a:pt x="13567" y="24760"/>
                      <a:pt x="15358" y="23893"/>
                      <a:pt x="16827" y="22141"/>
                    </a:cubicBezTo>
                    <a:cubicBezTo>
                      <a:pt x="18297" y="20389"/>
                      <a:pt x="19032" y="17694"/>
                      <a:pt x="19032" y="14038"/>
                    </a:cubicBezTo>
                    <a:cubicBezTo>
                      <a:pt x="19032" y="10383"/>
                      <a:pt x="18316" y="7933"/>
                      <a:pt x="16884" y="6199"/>
                    </a:cubicBezTo>
                    <a:cubicBezTo>
                      <a:pt x="15451" y="4466"/>
                      <a:pt x="13737" y="3599"/>
                      <a:pt x="11739" y="3599"/>
                    </a:cubicBezTo>
                    <a:cubicBezTo>
                      <a:pt x="9742" y="3599"/>
                      <a:pt x="8008" y="4522"/>
                      <a:pt x="6501" y="6369"/>
                    </a:cubicBezTo>
                    <a:cubicBezTo>
                      <a:pt x="4994" y="8216"/>
                      <a:pt x="4221" y="10891"/>
                      <a:pt x="4221" y="14415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14" name="Freihandform: Form 3213">
                <a:extLst>
                  <a:ext uri="{FF2B5EF4-FFF2-40B4-BE49-F238E27FC236}">
                    <a16:creationId xmlns:a16="http://schemas.microsoft.com/office/drawing/2014/main" id="{09DB0990-E036-7589-42FC-11204F465BF5}"/>
                  </a:ext>
                </a:extLst>
              </p:cNvPr>
              <p:cNvSpPr/>
              <p:nvPr/>
            </p:nvSpPr>
            <p:spPr>
              <a:xfrm>
                <a:off x="8580279" y="1299558"/>
                <a:ext cx="25193" cy="28623"/>
              </a:xfrm>
              <a:custGeom>
                <a:avLst/>
                <a:gdLst>
                  <a:gd name="connsiteX0" fmla="*/ 19428 w 25193"/>
                  <a:gd name="connsiteY0" fmla="*/ 24628 h 28623"/>
                  <a:gd name="connsiteX1" fmla="*/ 14472 w 25193"/>
                  <a:gd name="connsiteY1" fmla="*/ 27719 h 28623"/>
                  <a:gd name="connsiteX2" fmla="*/ 9365 w 25193"/>
                  <a:gd name="connsiteY2" fmla="*/ 28623 h 28623"/>
                  <a:gd name="connsiteX3" fmla="*/ 2431 w 25193"/>
                  <a:gd name="connsiteY3" fmla="*/ 26418 h 28623"/>
                  <a:gd name="connsiteX4" fmla="*/ 0 w 25193"/>
                  <a:gd name="connsiteY4" fmla="*/ 20784 h 28623"/>
                  <a:gd name="connsiteX5" fmla="*/ 923 w 25193"/>
                  <a:gd name="connsiteY5" fmla="*/ 17110 h 28623"/>
                  <a:gd name="connsiteX6" fmla="*/ 3316 w 25193"/>
                  <a:gd name="connsiteY6" fmla="*/ 14434 h 28623"/>
                  <a:gd name="connsiteX7" fmla="*/ 6652 w 25193"/>
                  <a:gd name="connsiteY7" fmla="*/ 12908 h 28623"/>
                  <a:gd name="connsiteX8" fmla="*/ 10778 w 25193"/>
                  <a:gd name="connsiteY8" fmla="*/ 12210 h 28623"/>
                  <a:gd name="connsiteX9" fmla="*/ 19051 w 25193"/>
                  <a:gd name="connsiteY9" fmla="*/ 10609 h 28623"/>
                  <a:gd name="connsiteX10" fmla="*/ 19070 w 25193"/>
                  <a:gd name="connsiteY10" fmla="*/ 9403 h 28623"/>
                  <a:gd name="connsiteX11" fmla="*/ 17751 w 25193"/>
                  <a:gd name="connsiteY11" fmla="*/ 5408 h 28623"/>
                  <a:gd name="connsiteX12" fmla="*/ 12475 w 25193"/>
                  <a:gd name="connsiteY12" fmla="*/ 3844 h 28623"/>
                  <a:gd name="connsiteX13" fmla="*/ 7651 w 25193"/>
                  <a:gd name="connsiteY13" fmla="*/ 4993 h 28623"/>
                  <a:gd name="connsiteX14" fmla="*/ 5352 w 25193"/>
                  <a:gd name="connsiteY14" fmla="*/ 9045 h 28623"/>
                  <a:gd name="connsiteX15" fmla="*/ 810 w 25193"/>
                  <a:gd name="connsiteY15" fmla="*/ 8423 h 28623"/>
                  <a:gd name="connsiteX16" fmla="*/ 2845 w 25193"/>
                  <a:gd name="connsiteY16" fmla="*/ 3712 h 28623"/>
                  <a:gd name="connsiteX17" fmla="*/ 6934 w 25193"/>
                  <a:gd name="connsiteY17" fmla="*/ 961 h 28623"/>
                  <a:gd name="connsiteX18" fmla="*/ 13134 w 25193"/>
                  <a:gd name="connsiteY18" fmla="*/ 0 h 28623"/>
                  <a:gd name="connsiteX19" fmla="*/ 18825 w 25193"/>
                  <a:gd name="connsiteY19" fmla="*/ 829 h 28623"/>
                  <a:gd name="connsiteX20" fmla="*/ 22047 w 25193"/>
                  <a:gd name="connsiteY20" fmla="*/ 2902 h 28623"/>
                  <a:gd name="connsiteX21" fmla="*/ 23498 w 25193"/>
                  <a:gd name="connsiteY21" fmla="*/ 6049 h 28623"/>
                  <a:gd name="connsiteX22" fmla="*/ 23724 w 25193"/>
                  <a:gd name="connsiteY22" fmla="*/ 10326 h 28623"/>
                  <a:gd name="connsiteX23" fmla="*/ 23724 w 25193"/>
                  <a:gd name="connsiteY23" fmla="*/ 16507 h 28623"/>
                  <a:gd name="connsiteX24" fmla="*/ 24025 w 25193"/>
                  <a:gd name="connsiteY24" fmla="*/ 24685 h 28623"/>
                  <a:gd name="connsiteX25" fmla="*/ 25194 w 25193"/>
                  <a:gd name="connsiteY25" fmla="*/ 27964 h 28623"/>
                  <a:gd name="connsiteX26" fmla="*/ 20351 w 25193"/>
                  <a:gd name="connsiteY26" fmla="*/ 27964 h 28623"/>
                  <a:gd name="connsiteX27" fmla="*/ 19428 w 25193"/>
                  <a:gd name="connsiteY27" fmla="*/ 24591 h 28623"/>
                  <a:gd name="connsiteX28" fmla="*/ 19032 w 25193"/>
                  <a:gd name="connsiteY28" fmla="*/ 14264 h 28623"/>
                  <a:gd name="connsiteX29" fmla="*/ 11457 w 25193"/>
                  <a:gd name="connsiteY29" fmla="*/ 16017 h 28623"/>
                  <a:gd name="connsiteX30" fmla="*/ 7405 w 25193"/>
                  <a:gd name="connsiteY30" fmla="*/ 16940 h 28623"/>
                  <a:gd name="connsiteX31" fmla="*/ 5578 w 25193"/>
                  <a:gd name="connsiteY31" fmla="*/ 18448 h 28623"/>
                  <a:gd name="connsiteX32" fmla="*/ 4937 w 25193"/>
                  <a:gd name="connsiteY32" fmla="*/ 20652 h 28623"/>
                  <a:gd name="connsiteX33" fmla="*/ 6350 w 25193"/>
                  <a:gd name="connsiteY33" fmla="*/ 23743 h 28623"/>
                  <a:gd name="connsiteX34" fmla="*/ 10458 w 25193"/>
                  <a:gd name="connsiteY34" fmla="*/ 24986 h 28623"/>
                  <a:gd name="connsiteX35" fmla="*/ 15226 w 25193"/>
                  <a:gd name="connsiteY35" fmla="*/ 23818 h 28623"/>
                  <a:gd name="connsiteX36" fmla="*/ 18297 w 25193"/>
                  <a:gd name="connsiteY36" fmla="*/ 20615 h 28623"/>
                  <a:gd name="connsiteX37" fmla="*/ 19051 w 25193"/>
                  <a:gd name="connsiteY37" fmla="*/ 15979 h 28623"/>
                  <a:gd name="connsiteX38" fmla="*/ 19051 w 25193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2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80" y="11231"/>
                      <a:pt x="19051" y="10609"/>
                    </a:cubicBezTo>
                    <a:cubicBezTo>
                      <a:pt x="19051" y="9968"/>
                      <a:pt x="19070" y="9572"/>
                      <a:pt x="19070" y="9403"/>
                    </a:cubicBezTo>
                    <a:cubicBezTo>
                      <a:pt x="19070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5" y="3844"/>
                    </a:cubicBezTo>
                    <a:cubicBezTo>
                      <a:pt x="10288" y="3844"/>
                      <a:pt x="8687" y="4221"/>
                      <a:pt x="7651" y="4993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10" y="26927"/>
                      <a:pt x="25194" y="27964"/>
                    </a:cubicBezTo>
                    <a:lnTo>
                      <a:pt x="20351" y="27964"/>
                    </a:lnTo>
                    <a:cubicBezTo>
                      <a:pt x="19880" y="27003"/>
                      <a:pt x="19560" y="25872"/>
                      <a:pt x="1942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50" y="23743"/>
                    </a:cubicBezTo>
                    <a:cubicBezTo>
                      <a:pt x="7293" y="24572"/>
                      <a:pt x="8649" y="24986"/>
                      <a:pt x="10458" y="24986"/>
                    </a:cubicBezTo>
                    <a:cubicBezTo>
                      <a:pt x="12267" y="24986"/>
                      <a:pt x="13831" y="24591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15" name="Freihandform: Form 3214">
                <a:extLst>
                  <a:ext uri="{FF2B5EF4-FFF2-40B4-BE49-F238E27FC236}">
                    <a16:creationId xmlns:a16="http://schemas.microsoft.com/office/drawing/2014/main" id="{07515448-0FD1-9669-2F6C-EE0C336EB2B8}"/>
                  </a:ext>
                </a:extLst>
              </p:cNvPr>
              <p:cNvSpPr/>
              <p:nvPr/>
            </p:nvSpPr>
            <p:spPr>
              <a:xfrm>
                <a:off x="8608676" y="1290645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1 h 37272"/>
                  <a:gd name="connsiteX7" fmla="*/ 0 w 13341"/>
                  <a:gd name="connsiteY7" fmla="*/ 13171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4 h 37272"/>
                  <a:gd name="connsiteX13" fmla="*/ 12663 w 13341"/>
                  <a:gd name="connsiteY13" fmla="*/ 9554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5 h 37272"/>
                  <a:gd name="connsiteX18" fmla="*/ 9045 w 13341"/>
                  <a:gd name="connsiteY18" fmla="*/ 32599 h 37272"/>
                  <a:gd name="connsiteX19" fmla="*/ 10627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3" y="35953"/>
                      <a:pt x="4334" y="35256"/>
                      <a:pt x="3957" y="34389"/>
                    </a:cubicBezTo>
                    <a:cubicBezTo>
                      <a:pt x="3580" y="33522"/>
                      <a:pt x="3392" y="31695"/>
                      <a:pt x="3392" y="28906"/>
                    </a:cubicBezTo>
                    <a:lnTo>
                      <a:pt x="3392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4"/>
                    </a:lnTo>
                    <a:lnTo>
                      <a:pt x="12663" y="9554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5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03" y="32825"/>
                      <a:pt x="9949" y="32938"/>
                      <a:pt x="10627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16" name="Freihandform: Form 3215">
                <a:extLst>
                  <a:ext uri="{FF2B5EF4-FFF2-40B4-BE49-F238E27FC236}">
                    <a16:creationId xmlns:a16="http://schemas.microsoft.com/office/drawing/2014/main" id="{6BC738A6-F2BC-88EC-6344-F108886FA8A2}"/>
                  </a:ext>
                </a:extLst>
              </p:cNvPr>
              <p:cNvSpPr/>
              <p:nvPr/>
            </p:nvSpPr>
            <p:spPr>
              <a:xfrm>
                <a:off x="8625861" y="1289797"/>
                <a:ext cx="22272" cy="37762"/>
              </a:xfrm>
              <a:custGeom>
                <a:avLst/>
                <a:gdLst>
                  <a:gd name="connsiteX0" fmla="*/ 0 w 22272"/>
                  <a:gd name="connsiteY0" fmla="*/ 37762 h 37762"/>
                  <a:gd name="connsiteX1" fmla="*/ 0 w 22272"/>
                  <a:gd name="connsiteY1" fmla="*/ 0 h 37762"/>
                  <a:gd name="connsiteX2" fmla="*/ 4636 w 22272"/>
                  <a:gd name="connsiteY2" fmla="*/ 0 h 37762"/>
                  <a:gd name="connsiteX3" fmla="*/ 4636 w 22272"/>
                  <a:gd name="connsiteY3" fmla="*/ 13548 h 37762"/>
                  <a:gd name="connsiteX4" fmla="*/ 12832 w 22272"/>
                  <a:gd name="connsiteY4" fmla="*/ 9780 h 37762"/>
                  <a:gd name="connsiteX5" fmla="*/ 18109 w 22272"/>
                  <a:gd name="connsiteY5" fmla="*/ 10986 h 37762"/>
                  <a:gd name="connsiteX6" fmla="*/ 21312 w 22272"/>
                  <a:gd name="connsiteY6" fmla="*/ 14302 h 37762"/>
                  <a:gd name="connsiteX7" fmla="*/ 22273 w 22272"/>
                  <a:gd name="connsiteY7" fmla="*/ 20426 h 37762"/>
                  <a:gd name="connsiteX8" fmla="*/ 22273 w 22272"/>
                  <a:gd name="connsiteY8" fmla="*/ 37762 h 37762"/>
                  <a:gd name="connsiteX9" fmla="*/ 17638 w 22272"/>
                  <a:gd name="connsiteY9" fmla="*/ 37762 h 37762"/>
                  <a:gd name="connsiteX10" fmla="*/ 17638 w 22272"/>
                  <a:gd name="connsiteY10" fmla="*/ 20426 h 37762"/>
                  <a:gd name="connsiteX11" fmla="*/ 16130 w 22272"/>
                  <a:gd name="connsiteY11" fmla="*/ 15357 h 37762"/>
                  <a:gd name="connsiteX12" fmla="*/ 11871 w 22272"/>
                  <a:gd name="connsiteY12" fmla="*/ 13775 h 37762"/>
                  <a:gd name="connsiteX13" fmla="*/ 7990 w 22272"/>
                  <a:gd name="connsiteY13" fmla="*/ 14849 h 37762"/>
                  <a:gd name="connsiteX14" fmla="*/ 5408 w 22272"/>
                  <a:gd name="connsiteY14" fmla="*/ 17750 h 37762"/>
                  <a:gd name="connsiteX15" fmla="*/ 4636 w 22272"/>
                  <a:gd name="connsiteY15" fmla="*/ 22800 h 37762"/>
                  <a:gd name="connsiteX16" fmla="*/ 4636 w 22272"/>
                  <a:gd name="connsiteY16" fmla="*/ 37762 h 37762"/>
                  <a:gd name="connsiteX17" fmla="*/ 0 w 22272"/>
                  <a:gd name="connsiteY17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272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13548"/>
                    </a:lnTo>
                    <a:cubicBezTo>
                      <a:pt x="6803" y="11042"/>
                      <a:pt x="9535" y="9780"/>
                      <a:pt x="12832" y="9780"/>
                    </a:cubicBezTo>
                    <a:cubicBezTo>
                      <a:pt x="14868" y="9780"/>
                      <a:pt x="16620" y="10175"/>
                      <a:pt x="18109" y="10986"/>
                    </a:cubicBezTo>
                    <a:cubicBezTo>
                      <a:pt x="19597" y="11796"/>
                      <a:pt x="20672" y="12889"/>
                      <a:pt x="21312" y="14302"/>
                    </a:cubicBezTo>
                    <a:cubicBezTo>
                      <a:pt x="21953" y="15715"/>
                      <a:pt x="22273" y="17750"/>
                      <a:pt x="22273" y="20426"/>
                    </a:cubicBezTo>
                    <a:lnTo>
                      <a:pt x="22273" y="37762"/>
                    </a:lnTo>
                    <a:lnTo>
                      <a:pt x="17638" y="37762"/>
                    </a:lnTo>
                    <a:lnTo>
                      <a:pt x="17638" y="20426"/>
                    </a:lnTo>
                    <a:cubicBezTo>
                      <a:pt x="17638" y="18109"/>
                      <a:pt x="17129" y="16413"/>
                      <a:pt x="16130" y="15357"/>
                    </a:cubicBezTo>
                    <a:cubicBezTo>
                      <a:pt x="15131" y="14302"/>
                      <a:pt x="13699" y="13775"/>
                      <a:pt x="11871" y="13775"/>
                    </a:cubicBezTo>
                    <a:cubicBezTo>
                      <a:pt x="10496" y="13775"/>
                      <a:pt x="9196" y="14133"/>
                      <a:pt x="7990" y="14849"/>
                    </a:cubicBezTo>
                    <a:cubicBezTo>
                      <a:pt x="6784" y="15565"/>
                      <a:pt x="5917" y="16526"/>
                      <a:pt x="5408" y="17750"/>
                    </a:cubicBezTo>
                    <a:cubicBezTo>
                      <a:pt x="4899" y="18975"/>
                      <a:pt x="4636" y="20652"/>
                      <a:pt x="4636" y="22800"/>
                    </a:cubicBez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17" name="Freihandform: Form 3216">
                <a:extLst>
                  <a:ext uri="{FF2B5EF4-FFF2-40B4-BE49-F238E27FC236}">
                    <a16:creationId xmlns:a16="http://schemas.microsoft.com/office/drawing/2014/main" id="{B626E349-D4B3-A3C7-00B3-5941A2F3B5DD}"/>
                  </a:ext>
                </a:extLst>
              </p:cNvPr>
              <p:cNvSpPr/>
              <p:nvPr/>
            </p:nvSpPr>
            <p:spPr>
              <a:xfrm>
                <a:off x="8653467" y="1299595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2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40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2" y="25797"/>
                      <a:pt x="19446" y="26927"/>
                    </a:cubicBezTo>
                    <a:cubicBezTo>
                      <a:pt x="17430" y="28058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2" y="24911"/>
                    </a:cubicBezTo>
                    <a:cubicBezTo>
                      <a:pt x="1187" y="22442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912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2"/>
                      <a:pt x="20897" y="14151"/>
                    </a:cubicBezTo>
                    <a:cubicBezTo>
                      <a:pt x="20897" y="10760"/>
                      <a:pt x="20125" y="8197"/>
                      <a:pt x="18598" y="6463"/>
                    </a:cubicBezTo>
                    <a:cubicBezTo>
                      <a:pt x="17072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18" name="Freihandform: Form 3217">
                <a:extLst>
                  <a:ext uri="{FF2B5EF4-FFF2-40B4-BE49-F238E27FC236}">
                    <a16:creationId xmlns:a16="http://schemas.microsoft.com/office/drawing/2014/main" id="{7C7A6C4D-9A08-28AC-0966-FFBA78A62CE9}"/>
                  </a:ext>
                </a:extLst>
              </p:cNvPr>
              <p:cNvSpPr/>
              <p:nvPr/>
            </p:nvSpPr>
            <p:spPr>
              <a:xfrm>
                <a:off x="8682693" y="1299614"/>
                <a:ext cx="22725" cy="28585"/>
              </a:xfrm>
              <a:custGeom>
                <a:avLst/>
                <a:gdLst>
                  <a:gd name="connsiteX0" fmla="*/ 0 w 22725"/>
                  <a:gd name="connsiteY0" fmla="*/ 19786 h 28585"/>
                  <a:gd name="connsiteX1" fmla="*/ 4579 w 22725"/>
                  <a:gd name="connsiteY1" fmla="*/ 19069 h 28585"/>
                  <a:gd name="connsiteX2" fmla="*/ 6727 w 22725"/>
                  <a:gd name="connsiteY2" fmla="*/ 23290 h 28585"/>
                  <a:gd name="connsiteX3" fmla="*/ 11664 w 22725"/>
                  <a:gd name="connsiteY3" fmla="*/ 24760 h 28585"/>
                  <a:gd name="connsiteX4" fmla="*/ 16413 w 22725"/>
                  <a:gd name="connsiteY4" fmla="*/ 23460 h 28585"/>
                  <a:gd name="connsiteX5" fmla="*/ 17958 w 22725"/>
                  <a:gd name="connsiteY5" fmla="*/ 20407 h 28585"/>
                  <a:gd name="connsiteX6" fmla="*/ 16601 w 22725"/>
                  <a:gd name="connsiteY6" fmla="*/ 17939 h 28585"/>
                  <a:gd name="connsiteX7" fmla="*/ 11853 w 22725"/>
                  <a:gd name="connsiteY7" fmla="*/ 16375 h 28585"/>
                  <a:gd name="connsiteX8" fmla="*/ 4786 w 22725"/>
                  <a:gd name="connsiteY8" fmla="*/ 14151 h 28585"/>
                  <a:gd name="connsiteX9" fmla="*/ 1790 w 22725"/>
                  <a:gd name="connsiteY9" fmla="*/ 11551 h 28585"/>
                  <a:gd name="connsiteX10" fmla="*/ 772 w 22725"/>
                  <a:gd name="connsiteY10" fmla="*/ 7877 h 28585"/>
                  <a:gd name="connsiteX11" fmla="*/ 1601 w 22725"/>
                  <a:gd name="connsiteY11" fmla="*/ 4485 h 28585"/>
                  <a:gd name="connsiteX12" fmla="*/ 3882 w 22725"/>
                  <a:gd name="connsiteY12" fmla="*/ 1903 h 28585"/>
                  <a:gd name="connsiteX13" fmla="*/ 6840 w 22725"/>
                  <a:gd name="connsiteY13" fmla="*/ 546 h 28585"/>
                  <a:gd name="connsiteX14" fmla="*/ 10854 w 22725"/>
                  <a:gd name="connsiteY14" fmla="*/ 0 h 28585"/>
                  <a:gd name="connsiteX15" fmla="*/ 16507 w 22725"/>
                  <a:gd name="connsiteY15" fmla="*/ 923 h 28585"/>
                  <a:gd name="connsiteX16" fmla="*/ 20106 w 22725"/>
                  <a:gd name="connsiteY16" fmla="*/ 3429 h 28585"/>
                  <a:gd name="connsiteX17" fmla="*/ 21708 w 22725"/>
                  <a:gd name="connsiteY17" fmla="*/ 7669 h 28585"/>
                  <a:gd name="connsiteX18" fmla="*/ 17166 w 22725"/>
                  <a:gd name="connsiteY18" fmla="*/ 8291 h 28585"/>
                  <a:gd name="connsiteX19" fmla="*/ 15376 w 22725"/>
                  <a:gd name="connsiteY19" fmla="*/ 4993 h 28585"/>
                  <a:gd name="connsiteX20" fmla="*/ 11193 w 22725"/>
                  <a:gd name="connsiteY20" fmla="*/ 3806 h 28585"/>
                  <a:gd name="connsiteX21" fmla="*/ 6633 w 22725"/>
                  <a:gd name="connsiteY21" fmla="*/ 4862 h 28585"/>
                  <a:gd name="connsiteX22" fmla="*/ 5276 w 22725"/>
                  <a:gd name="connsiteY22" fmla="*/ 7330 h 28585"/>
                  <a:gd name="connsiteX23" fmla="*/ 5841 w 22725"/>
                  <a:gd name="connsiteY23" fmla="*/ 8951 h 28585"/>
                  <a:gd name="connsiteX24" fmla="*/ 7613 w 22725"/>
                  <a:gd name="connsiteY24" fmla="*/ 10194 h 28585"/>
                  <a:gd name="connsiteX25" fmla="*/ 11702 w 22725"/>
                  <a:gd name="connsiteY25" fmla="*/ 11381 h 28585"/>
                  <a:gd name="connsiteX26" fmla="*/ 18560 w 22725"/>
                  <a:gd name="connsiteY26" fmla="*/ 13530 h 28585"/>
                  <a:gd name="connsiteX27" fmla="*/ 21613 w 22725"/>
                  <a:gd name="connsiteY27" fmla="*/ 15960 h 28585"/>
                  <a:gd name="connsiteX28" fmla="*/ 22725 w 22725"/>
                  <a:gd name="connsiteY28" fmla="*/ 19936 h 28585"/>
                  <a:gd name="connsiteX29" fmla="*/ 21368 w 22725"/>
                  <a:gd name="connsiteY29" fmla="*/ 24308 h 28585"/>
                  <a:gd name="connsiteX30" fmla="*/ 17468 w 22725"/>
                  <a:gd name="connsiteY30" fmla="*/ 27474 h 28585"/>
                  <a:gd name="connsiteX31" fmla="*/ 11702 w 22725"/>
                  <a:gd name="connsiteY31" fmla="*/ 28585 h 28585"/>
                  <a:gd name="connsiteX32" fmla="*/ 3580 w 22725"/>
                  <a:gd name="connsiteY32" fmla="*/ 26362 h 28585"/>
                  <a:gd name="connsiteX33" fmla="*/ 19 w 22725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5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1"/>
                      <a:pt x="6727" y="23290"/>
                    </a:cubicBezTo>
                    <a:cubicBezTo>
                      <a:pt x="7895" y="24270"/>
                      <a:pt x="9554" y="24760"/>
                      <a:pt x="11664" y="24760"/>
                    </a:cubicBezTo>
                    <a:cubicBezTo>
                      <a:pt x="13775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7" y="16997"/>
                      <a:pt x="11853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30"/>
                      <a:pt x="2469" y="12663"/>
                      <a:pt x="1790" y="11551"/>
                    </a:cubicBezTo>
                    <a:cubicBezTo>
                      <a:pt x="1111" y="10439"/>
                      <a:pt x="772" y="9214"/>
                      <a:pt x="772" y="7877"/>
                    </a:cubicBezTo>
                    <a:cubicBezTo>
                      <a:pt x="772" y="6652"/>
                      <a:pt x="1055" y="5521"/>
                      <a:pt x="1601" y="4485"/>
                    </a:cubicBezTo>
                    <a:cubicBezTo>
                      <a:pt x="2148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6"/>
                    </a:cubicBezTo>
                    <a:cubicBezTo>
                      <a:pt x="8103" y="170"/>
                      <a:pt x="9422" y="0"/>
                      <a:pt x="10854" y="0"/>
                    </a:cubicBezTo>
                    <a:cubicBezTo>
                      <a:pt x="13002" y="0"/>
                      <a:pt x="14886" y="301"/>
                      <a:pt x="16507" y="923"/>
                    </a:cubicBezTo>
                    <a:cubicBezTo>
                      <a:pt x="18127" y="1545"/>
                      <a:pt x="19333" y="2374"/>
                      <a:pt x="20106" y="3429"/>
                    </a:cubicBezTo>
                    <a:cubicBezTo>
                      <a:pt x="20878" y="4485"/>
                      <a:pt x="21406" y="5898"/>
                      <a:pt x="21708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3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4" y="8480"/>
                      <a:pt x="5841" y="8951"/>
                    </a:cubicBezTo>
                    <a:cubicBezTo>
                      <a:pt x="6218" y="9440"/>
                      <a:pt x="6802" y="9855"/>
                      <a:pt x="7613" y="10194"/>
                    </a:cubicBezTo>
                    <a:cubicBezTo>
                      <a:pt x="8084" y="10364"/>
                      <a:pt x="9441" y="10760"/>
                      <a:pt x="11702" y="11381"/>
                    </a:cubicBezTo>
                    <a:cubicBezTo>
                      <a:pt x="14980" y="12248"/>
                      <a:pt x="17279" y="12983"/>
                      <a:pt x="18560" y="13530"/>
                    </a:cubicBezTo>
                    <a:cubicBezTo>
                      <a:pt x="19842" y="14076"/>
                      <a:pt x="20878" y="14905"/>
                      <a:pt x="21613" y="15960"/>
                    </a:cubicBezTo>
                    <a:cubicBezTo>
                      <a:pt x="22348" y="17016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3"/>
                      <a:pt x="19164" y="26739"/>
                      <a:pt x="17468" y="27474"/>
                    </a:cubicBezTo>
                    <a:cubicBezTo>
                      <a:pt x="15772" y="28209"/>
                      <a:pt x="13850" y="28585"/>
                      <a:pt x="11702" y="28585"/>
                    </a:cubicBezTo>
                    <a:cubicBezTo>
                      <a:pt x="8140" y="28585"/>
                      <a:pt x="5446" y="27851"/>
                      <a:pt x="3580" y="26362"/>
                    </a:cubicBezTo>
                    <a:cubicBezTo>
                      <a:pt x="1715" y="24873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96" name="Grafik 21">
              <a:extLst>
                <a:ext uri="{FF2B5EF4-FFF2-40B4-BE49-F238E27FC236}">
                  <a16:creationId xmlns:a16="http://schemas.microsoft.com/office/drawing/2014/main" id="{5F107916-D36C-149E-563D-DF992732394C}"/>
                </a:ext>
              </a:extLst>
            </p:cNvPr>
            <p:cNvGrpSpPr/>
            <p:nvPr/>
          </p:nvGrpSpPr>
          <p:grpSpPr>
            <a:xfrm>
              <a:off x="7441631" y="532670"/>
              <a:ext cx="59582" cy="59846"/>
              <a:chOff x="7441631" y="532670"/>
              <a:chExt cx="59582" cy="59846"/>
            </a:xfrm>
            <a:solidFill>
              <a:srgbClr val="000000"/>
            </a:solidFill>
          </p:grpSpPr>
          <p:sp>
            <p:nvSpPr>
              <p:cNvPr id="3208" name="Freihandform: Form 3207">
                <a:extLst>
                  <a:ext uri="{FF2B5EF4-FFF2-40B4-BE49-F238E27FC236}">
                    <a16:creationId xmlns:a16="http://schemas.microsoft.com/office/drawing/2014/main" id="{B82EBF69-AF2C-03CE-F823-F91CDCCA01D0}"/>
                  </a:ext>
                </a:extLst>
              </p:cNvPr>
              <p:cNvSpPr/>
              <p:nvPr/>
            </p:nvSpPr>
            <p:spPr>
              <a:xfrm>
                <a:off x="7447887" y="553793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09" name="Freihandform: Form 3208">
                <a:extLst>
                  <a:ext uri="{FF2B5EF4-FFF2-40B4-BE49-F238E27FC236}">
                    <a16:creationId xmlns:a16="http://schemas.microsoft.com/office/drawing/2014/main" id="{EE6F3AA9-163E-DE77-83AE-6D51F26216F2}"/>
                  </a:ext>
                </a:extLst>
              </p:cNvPr>
              <p:cNvSpPr/>
              <p:nvPr/>
            </p:nvSpPr>
            <p:spPr>
              <a:xfrm>
                <a:off x="7441631" y="532670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97" name="Grafik 21">
              <a:extLst>
                <a:ext uri="{FF2B5EF4-FFF2-40B4-BE49-F238E27FC236}">
                  <a16:creationId xmlns:a16="http://schemas.microsoft.com/office/drawing/2014/main" id="{00F8DA2A-024B-E092-BFBB-06E60093C680}"/>
                </a:ext>
              </a:extLst>
            </p:cNvPr>
            <p:cNvGrpSpPr/>
            <p:nvPr/>
          </p:nvGrpSpPr>
          <p:grpSpPr>
            <a:xfrm>
              <a:off x="8766980" y="1287913"/>
              <a:ext cx="184533" cy="38383"/>
              <a:chOff x="8766980" y="1287913"/>
              <a:chExt cx="184533" cy="38383"/>
            </a:xfrm>
            <a:solidFill>
              <a:srgbClr val="000000"/>
            </a:solidFill>
          </p:grpSpPr>
          <p:sp>
            <p:nvSpPr>
              <p:cNvPr id="3201" name="Freihandform: Form 3200">
                <a:extLst>
                  <a:ext uri="{FF2B5EF4-FFF2-40B4-BE49-F238E27FC236}">
                    <a16:creationId xmlns:a16="http://schemas.microsoft.com/office/drawing/2014/main" id="{19E2C449-7FD1-CD1A-3CA9-F9EE5AD0D8AF}"/>
                  </a:ext>
                </a:extLst>
              </p:cNvPr>
              <p:cNvSpPr/>
              <p:nvPr/>
            </p:nvSpPr>
            <p:spPr>
              <a:xfrm>
                <a:off x="8766980" y="1287913"/>
                <a:ext cx="23591" cy="37780"/>
              </a:xfrm>
              <a:custGeom>
                <a:avLst/>
                <a:gdLst>
                  <a:gd name="connsiteX0" fmla="*/ 0 w 23591"/>
                  <a:gd name="connsiteY0" fmla="*/ 37762 h 37780"/>
                  <a:gd name="connsiteX1" fmla="*/ 0 w 23591"/>
                  <a:gd name="connsiteY1" fmla="*/ 0 h 37780"/>
                  <a:gd name="connsiteX2" fmla="*/ 4993 w 23591"/>
                  <a:gd name="connsiteY2" fmla="*/ 0 h 37780"/>
                  <a:gd name="connsiteX3" fmla="*/ 4993 w 23591"/>
                  <a:gd name="connsiteY3" fmla="*/ 33315 h 37780"/>
                  <a:gd name="connsiteX4" fmla="*/ 23592 w 23591"/>
                  <a:gd name="connsiteY4" fmla="*/ 33315 h 37780"/>
                  <a:gd name="connsiteX5" fmla="*/ 23592 w 23591"/>
                  <a:gd name="connsiteY5" fmla="*/ 37781 h 37780"/>
                  <a:gd name="connsiteX6" fmla="*/ 0 w 23591"/>
                  <a:gd name="connsiteY6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91" h="37780">
                    <a:moveTo>
                      <a:pt x="0" y="37762"/>
                    </a:moveTo>
                    <a:lnTo>
                      <a:pt x="0" y="0"/>
                    </a:lnTo>
                    <a:lnTo>
                      <a:pt x="4993" y="0"/>
                    </a:lnTo>
                    <a:lnTo>
                      <a:pt x="4993" y="33315"/>
                    </a:lnTo>
                    <a:lnTo>
                      <a:pt x="23592" y="33315"/>
                    </a:lnTo>
                    <a:lnTo>
                      <a:pt x="23592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02" name="Freihandform: Form 3201">
                <a:extLst>
                  <a:ext uri="{FF2B5EF4-FFF2-40B4-BE49-F238E27FC236}">
                    <a16:creationId xmlns:a16="http://schemas.microsoft.com/office/drawing/2014/main" id="{230EE5FD-117B-9892-8AA1-611C61698A41}"/>
                  </a:ext>
                </a:extLst>
              </p:cNvPr>
              <p:cNvSpPr/>
              <p:nvPr/>
            </p:nvSpPr>
            <p:spPr>
              <a:xfrm>
                <a:off x="8794359" y="1297673"/>
                <a:ext cx="25174" cy="28623"/>
              </a:xfrm>
              <a:custGeom>
                <a:avLst/>
                <a:gdLst>
                  <a:gd name="connsiteX0" fmla="*/ 19428 w 25174"/>
                  <a:gd name="connsiteY0" fmla="*/ 24628 h 28623"/>
                  <a:gd name="connsiteX1" fmla="*/ 14472 w 25174"/>
                  <a:gd name="connsiteY1" fmla="*/ 27719 h 28623"/>
                  <a:gd name="connsiteX2" fmla="*/ 9365 w 25174"/>
                  <a:gd name="connsiteY2" fmla="*/ 28623 h 28623"/>
                  <a:gd name="connsiteX3" fmla="*/ 2431 w 25174"/>
                  <a:gd name="connsiteY3" fmla="*/ 26418 h 28623"/>
                  <a:gd name="connsiteX4" fmla="*/ 0 w 25174"/>
                  <a:gd name="connsiteY4" fmla="*/ 20784 h 28623"/>
                  <a:gd name="connsiteX5" fmla="*/ 904 w 25174"/>
                  <a:gd name="connsiteY5" fmla="*/ 17110 h 28623"/>
                  <a:gd name="connsiteX6" fmla="*/ 3298 w 25174"/>
                  <a:gd name="connsiteY6" fmla="*/ 14434 h 28623"/>
                  <a:gd name="connsiteX7" fmla="*/ 6633 w 25174"/>
                  <a:gd name="connsiteY7" fmla="*/ 12908 h 28623"/>
                  <a:gd name="connsiteX8" fmla="*/ 10759 w 25174"/>
                  <a:gd name="connsiteY8" fmla="*/ 12210 h 28623"/>
                  <a:gd name="connsiteX9" fmla="*/ 19032 w 25174"/>
                  <a:gd name="connsiteY9" fmla="*/ 10609 h 28623"/>
                  <a:gd name="connsiteX10" fmla="*/ 19050 w 25174"/>
                  <a:gd name="connsiteY10" fmla="*/ 9403 h 28623"/>
                  <a:gd name="connsiteX11" fmla="*/ 17731 w 25174"/>
                  <a:gd name="connsiteY11" fmla="*/ 5408 h 28623"/>
                  <a:gd name="connsiteX12" fmla="*/ 12455 w 25174"/>
                  <a:gd name="connsiteY12" fmla="*/ 3844 h 28623"/>
                  <a:gd name="connsiteX13" fmla="*/ 7632 w 25174"/>
                  <a:gd name="connsiteY13" fmla="*/ 4993 h 28623"/>
                  <a:gd name="connsiteX14" fmla="*/ 5332 w 25174"/>
                  <a:gd name="connsiteY14" fmla="*/ 9045 h 28623"/>
                  <a:gd name="connsiteX15" fmla="*/ 791 w 25174"/>
                  <a:gd name="connsiteY15" fmla="*/ 8423 h 28623"/>
                  <a:gd name="connsiteX16" fmla="*/ 2827 w 25174"/>
                  <a:gd name="connsiteY16" fmla="*/ 3712 h 28623"/>
                  <a:gd name="connsiteX17" fmla="*/ 6915 w 25174"/>
                  <a:gd name="connsiteY17" fmla="*/ 961 h 28623"/>
                  <a:gd name="connsiteX18" fmla="*/ 13115 w 25174"/>
                  <a:gd name="connsiteY18" fmla="*/ 0 h 28623"/>
                  <a:gd name="connsiteX19" fmla="*/ 18806 w 25174"/>
                  <a:gd name="connsiteY19" fmla="*/ 829 h 28623"/>
                  <a:gd name="connsiteX20" fmla="*/ 22028 w 25174"/>
                  <a:gd name="connsiteY20" fmla="*/ 2902 h 28623"/>
                  <a:gd name="connsiteX21" fmla="*/ 23479 w 25174"/>
                  <a:gd name="connsiteY21" fmla="*/ 6049 h 28623"/>
                  <a:gd name="connsiteX22" fmla="*/ 23705 w 25174"/>
                  <a:gd name="connsiteY22" fmla="*/ 10326 h 28623"/>
                  <a:gd name="connsiteX23" fmla="*/ 23705 w 25174"/>
                  <a:gd name="connsiteY23" fmla="*/ 16507 h 28623"/>
                  <a:gd name="connsiteX24" fmla="*/ 24006 w 25174"/>
                  <a:gd name="connsiteY24" fmla="*/ 24685 h 28623"/>
                  <a:gd name="connsiteX25" fmla="*/ 25174 w 25174"/>
                  <a:gd name="connsiteY25" fmla="*/ 27964 h 28623"/>
                  <a:gd name="connsiteX26" fmla="*/ 20332 w 25174"/>
                  <a:gd name="connsiteY26" fmla="*/ 27964 h 28623"/>
                  <a:gd name="connsiteX27" fmla="*/ 19409 w 25174"/>
                  <a:gd name="connsiteY27" fmla="*/ 24591 h 28623"/>
                  <a:gd name="connsiteX28" fmla="*/ 19032 w 25174"/>
                  <a:gd name="connsiteY28" fmla="*/ 14264 h 28623"/>
                  <a:gd name="connsiteX29" fmla="*/ 11456 w 25174"/>
                  <a:gd name="connsiteY29" fmla="*/ 16017 h 28623"/>
                  <a:gd name="connsiteX30" fmla="*/ 7405 w 25174"/>
                  <a:gd name="connsiteY30" fmla="*/ 16940 h 28623"/>
                  <a:gd name="connsiteX31" fmla="*/ 5578 w 25174"/>
                  <a:gd name="connsiteY31" fmla="*/ 18448 h 28623"/>
                  <a:gd name="connsiteX32" fmla="*/ 4937 w 25174"/>
                  <a:gd name="connsiteY32" fmla="*/ 20652 h 28623"/>
                  <a:gd name="connsiteX33" fmla="*/ 6331 w 25174"/>
                  <a:gd name="connsiteY33" fmla="*/ 23743 h 28623"/>
                  <a:gd name="connsiteX34" fmla="*/ 10439 w 25174"/>
                  <a:gd name="connsiteY34" fmla="*/ 24986 h 28623"/>
                  <a:gd name="connsiteX35" fmla="*/ 15206 w 25174"/>
                  <a:gd name="connsiteY35" fmla="*/ 23818 h 28623"/>
                  <a:gd name="connsiteX36" fmla="*/ 18278 w 25174"/>
                  <a:gd name="connsiteY36" fmla="*/ 20615 h 28623"/>
                  <a:gd name="connsiteX37" fmla="*/ 19032 w 25174"/>
                  <a:gd name="connsiteY37" fmla="*/ 15979 h 28623"/>
                  <a:gd name="connsiteX38" fmla="*/ 19032 w 25174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74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04" y="17110"/>
                    </a:cubicBezTo>
                    <a:cubicBezTo>
                      <a:pt x="1508" y="15998"/>
                      <a:pt x="2318" y="15112"/>
                      <a:pt x="3298" y="14434"/>
                    </a:cubicBezTo>
                    <a:cubicBezTo>
                      <a:pt x="4277" y="13756"/>
                      <a:pt x="5408" y="13266"/>
                      <a:pt x="6633" y="12908"/>
                    </a:cubicBezTo>
                    <a:cubicBezTo>
                      <a:pt x="7537" y="12663"/>
                      <a:pt x="8913" y="12437"/>
                      <a:pt x="10759" y="12210"/>
                    </a:cubicBezTo>
                    <a:cubicBezTo>
                      <a:pt x="14509" y="11758"/>
                      <a:pt x="17260" y="11231"/>
                      <a:pt x="19032" y="10609"/>
                    </a:cubicBezTo>
                    <a:cubicBezTo>
                      <a:pt x="19032" y="9968"/>
                      <a:pt x="19050" y="9572"/>
                      <a:pt x="19050" y="9403"/>
                    </a:cubicBezTo>
                    <a:cubicBezTo>
                      <a:pt x="19050" y="7518"/>
                      <a:pt x="18617" y="6181"/>
                      <a:pt x="17731" y="5408"/>
                    </a:cubicBezTo>
                    <a:cubicBezTo>
                      <a:pt x="16545" y="4353"/>
                      <a:pt x="14792" y="3844"/>
                      <a:pt x="12455" y="3844"/>
                    </a:cubicBezTo>
                    <a:cubicBezTo>
                      <a:pt x="10270" y="3844"/>
                      <a:pt x="8668" y="4221"/>
                      <a:pt x="7632" y="4993"/>
                    </a:cubicBezTo>
                    <a:cubicBezTo>
                      <a:pt x="6595" y="5766"/>
                      <a:pt x="5822" y="7104"/>
                      <a:pt x="5332" y="9045"/>
                    </a:cubicBezTo>
                    <a:lnTo>
                      <a:pt x="791" y="8423"/>
                    </a:lnTo>
                    <a:cubicBezTo>
                      <a:pt x="1206" y="6482"/>
                      <a:pt x="1884" y="4918"/>
                      <a:pt x="2827" y="3712"/>
                    </a:cubicBezTo>
                    <a:cubicBezTo>
                      <a:pt x="3769" y="2525"/>
                      <a:pt x="5125" y="1602"/>
                      <a:pt x="6915" y="961"/>
                    </a:cubicBezTo>
                    <a:cubicBezTo>
                      <a:pt x="8705" y="320"/>
                      <a:pt x="10759" y="0"/>
                      <a:pt x="13115" y="0"/>
                    </a:cubicBezTo>
                    <a:cubicBezTo>
                      <a:pt x="15470" y="0"/>
                      <a:pt x="17355" y="283"/>
                      <a:pt x="18806" y="829"/>
                    </a:cubicBezTo>
                    <a:cubicBezTo>
                      <a:pt x="20257" y="1376"/>
                      <a:pt x="21330" y="2073"/>
                      <a:pt x="22028" y="2902"/>
                    </a:cubicBezTo>
                    <a:cubicBezTo>
                      <a:pt x="22706" y="3731"/>
                      <a:pt x="23196" y="4786"/>
                      <a:pt x="23479" y="6049"/>
                    </a:cubicBezTo>
                    <a:cubicBezTo>
                      <a:pt x="23630" y="6840"/>
                      <a:pt x="23705" y="8272"/>
                      <a:pt x="23705" y="10326"/>
                    </a:cubicBezTo>
                    <a:lnTo>
                      <a:pt x="23705" y="16507"/>
                    </a:lnTo>
                    <a:cubicBezTo>
                      <a:pt x="23705" y="20822"/>
                      <a:pt x="23799" y="23535"/>
                      <a:pt x="24006" y="24685"/>
                    </a:cubicBezTo>
                    <a:cubicBezTo>
                      <a:pt x="24213" y="25834"/>
                      <a:pt x="24591" y="26927"/>
                      <a:pt x="25174" y="27964"/>
                    </a:cubicBezTo>
                    <a:lnTo>
                      <a:pt x="20332" y="27964"/>
                    </a:lnTo>
                    <a:cubicBezTo>
                      <a:pt x="19842" y="27003"/>
                      <a:pt x="19540" y="25872"/>
                      <a:pt x="19409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31" y="23743"/>
                    </a:cubicBezTo>
                    <a:cubicBezTo>
                      <a:pt x="7273" y="24572"/>
                      <a:pt x="8630" y="24986"/>
                      <a:pt x="10439" y="24986"/>
                    </a:cubicBezTo>
                    <a:cubicBezTo>
                      <a:pt x="12248" y="24986"/>
                      <a:pt x="13812" y="24591"/>
                      <a:pt x="15206" y="23818"/>
                    </a:cubicBezTo>
                    <a:cubicBezTo>
                      <a:pt x="16601" y="23045"/>
                      <a:pt x="17618" y="21971"/>
                      <a:pt x="18278" y="20615"/>
                    </a:cubicBezTo>
                    <a:cubicBezTo>
                      <a:pt x="18768" y="19559"/>
                      <a:pt x="19032" y="18014"/>
                      <a:pt x="19032" y="15979"/>
                    </a:cubicBezTo>
                    <a:lnTo>
                      <a:pt x="19032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03" name="Freihandform: Form 3202">
                <a:extLst>
                  <a:ext uri="{FF2B5EF4-FFF2-40B4-BE49-F238E27FC236}">
                    <a16:creationId xmlns:a16="http://schemas.microsoft.com/office/drawing/2014/main" id="{33EB8834-0B99-81D5-FAAF-B2AD4DD9D425}"/>
                  </a:ext>
                </a:extLst>
              </p:cNvPr>
              <p:cNvSpPr/>
              <p:nvPr/>
            </p:nvSpPr>
            <p:spPr>
              <a:xfrm>
                <a:off x="8825205" y="1297692"/>
                <a:ext cx="14867" cy="27982"/>
              </a:xfrm>
              <a:custGeom>
                <a:avLst/>
                <a:gdLst>
                  <a:gd name="connsiteX0" fmla="*/ 19 w 14867"/>
                  <a:gd name="connsiteY0" fmla="*/ 27982 h 27982"/>
                  <a:gd name="connsiteX1" fmla="*/ 19 w 14867"/>
                  <a:gd name="connsiteY1" fmla="*/ 622 h 27982"/>
                  <a:gd name="connsiteX2" fmla="*/ 4183 w 14867"/>
                  <a:gd name="connsiteY2" fmla="*/ 622 h 27982"/>
                  <a:gd name="connsiteX3" fmla="*/ 4183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8 w 14867"/>
                  <a:gd name="connsiteY6" fmla="*/ 1489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19" y="27982"/>
                    </a:moveTo>
                    <a:lnTo>
                      <a:pt x="19" y="622"/>
                    </a:lnTo>
                    <a:lnTo>
                      <a:pt x="4183" y="622"/>
                    </a:lnTo>
                    <a:lnTo>
                      <a:pt x="4183" y="4767"/>
                    </a:lnTo>
                    <a:cubicBezTo>
                      <a:pt x="5239" y="2827"/>
                      <a:pt x="6237" y="1545"/>
                      <a:pt x="7123" y="923"/>
                    </a:cubicBezTo>
                    <a:cubicBezTo>
                      <a:pt x="8008" y="302"/>
                      <a:pt x="9026" y="0"/>
                      <a:pt x="10100" y="0"/>
                    </a:cubicBezTo>
                    <a:cubicBezTo>
                      <a:pt x="11664" y="0"/>
                      <a:pt x="13247" y="490"/>
                      <a:pt x="14868" y="1489"/>
                    </a:cubicBezTo>
                    <a:lnTo>
                      <a:pt x="13266" y="5785"/>
                    </a:lnTo>
                    <a:cubicBezTo>
                      <a:pt x="12135" y="5107"/>
                      <a:pt x="11005" y="4786"/>
                      <a:pt x="9874" y="4786"/>
                    </a:cubicBezTo>
                    <a:cubicBezTo>
                      <a:pt x="8856" y="4786"/>
                      <a:pt x="7952" y="5088"/>
                      <a:pt x="7142" y="5710"/>
                    </a:cubicBezTo>
                    <a:cubicBezTo>
                      <a:pt x="6332" y="6313"/>
                      <a:pt x="5766" y="7161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04" name="Freihandform: Form 3203">
                <a:extLst>
                  <a:ext uri="{FF2B5EF4-FFF2-40B4-BE49-F238E27FC236}">
                    <a16:creationId xmlns:a16="http://schemas.microsoft.com/office/drawing/2014/main" id="{649E6F52-00CD-C3B5-4741-AC8E4F14BCEB}"/>
                  </a:ext>
                </a:extLst>
              </p:cNvPr>
              <p:cNvSpPr/>
              <p:nvPr/>
            </p:nvSpPr>
            <p:spPr>
              <a:xfrm>
                <a:off x="8842843" y="1297692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599 w 22235"/>
                  <a:gd name="connsiteY10" fmla="*/ 27982 h 28001"/>
                  <a:gd name="connsiteX11" fmla="*/ 17599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909 w 22235"/>
                  <a:gd name="connsiteY14" fmla="*/ 4033 h 28001"/>
                  <a:gd name="connsiteX15" fmla="*/ 6802 w 22235"/>
                  <a:gd name="connsiteY15" fmla="*/ 5917 h 28001"/>
                  <a:gd name="connsiteX16" fmla="*/ 4654 w 22235"/>
                  <a:gd name="connsiteY16" fmla="*/ 13058 h 28001"/>
                  <a:gd name="connsiteX17" fmla="*/ 4654 w 22235"/>
                  <a:gd name="connsiteY17" fmla="*/ 28001 h 28001"/>
                  <a:gd name="connsiteX18" fmla="*/ 19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8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9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599" y="27982"/>
                    </a:lnTo>
                    <a:lnTo>
                      <a:pt x="17599" y="11344"/>
                    </a:lnTo>
                    <a:cubicBezTo>
                      <a:pt x="17599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909" y="4033"/>
                    </a:cubicBezTo>
                    <a:cubicBezTo>
                      <a:pt x="9930" y="4033"/>
                      <a:pt x="8234" y="4654"/>
                      <a:pt x="6802" y="5917"/>
                    </a:cubicBezTo>
                    <a:cubicBezTo>
                      <a:pt x="5370" y="7179"/>
                      <a:pt x="4654" y="9554"/>
                      <a:pt x="4654" y="13058"/>
                    </a:cubicBezTo>
                    <a:lnTo>
                      <a:pt x="4654" y="28001"/>
                    </a:lnTo>
                    <a:lnTo>
                      <a:pt x="19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05" name="Freihandform: Form 3204">
                <a:extLst>
                  <a:ext uri="{FF2B5EF4-FFF2-40B4-BE49-F238E27FC236}">
                    <a16:creationId xmlns:a16="http://schemas.microsoft.com/office/drawing/2014/main" id="{3EB7FF63-27A4-4CF6-221F-29E4F4BEE198}"/>
                  </a:ext>
                </a:extLst>
              </p:cNvPr>
              <p:cNvSpPr/>
              <p:nvPr/>
            </p:nvSpPr>
            <p:spPr>
              <a:xfrm>
                <a:off x="8870618" y="1297673"/>
                <a:ext cx="25174" cy="28623"/>
              </a:xfrm>
              <a:custGeom>
                <a:avLst/>
                <a:gdLst>
                  <a:gd name="connsiteX0" fmla="*/ 19428 w 25174"/>
                  <a:gd name="connsiteY0" fmla="*/ 24628 h 28623"/>
                  <a:gd name="connsiteX1" fmla="*/ 14472 w 25174"/>
                  <a:gd name="connsiteY1" fmla="*/ 27719 h 28623"/>
                  <a:gd name="connsiteX2" fmla="*/ 9365 w 25174"/>
                  <a:gd name="connsiteY2" fmla="*/ 28623 h 28623"/>
                  <a:gd name="connsiteX3" fmla="*/ 2431 w 25174"/>
                  <a:gd name="connsiteY3" fmla="*/ 26418 h 28623"/>
                  <a:gd name="connsiteX4" fmla="*/ 0 w 25174"/>
                  <a:gd name="connsiteY4" fmla="*/ 20784 h 28623"/>
                  <a:gd name="connsiteX5" fmla="*/ 904 w 25174"/>
                  <a:gd name="connsiteY5" fmla="*/ 17110 h 28623"/>
                  <a:gd name="connsiteX6" fmla="*/ 3298 w 25174"/>
                  <a:gd name="connsiteY6" fmla="*/ 14434 h 28623"/>
                  <a:gd name="connsiteX7" fmla="*/ 6633 w 25174"/>
                  <a:gd name="connsiteY7" fmla="*/ 12908 h 28623"/>
                  <a:gd name="connsiteX8" fmla="*/ 10759 w 25174"/>
                  <a:gd name="connsiteY8" fmla="*/ 12210 h 28623"/>
                  <a:gd name="connsiteX9" fmla="*/ 19032 w 25174"/>
                  <a:gd name="connsiteY9" fmla="*/ 10609 h 28623"/>
                  <a:gd name="connsiteX10" fmla="*/ 19050 w 25174"/>
                  <a:gd name="connsiteY10" fmla="*/ 9403 h 28623"/>
                  <a:gd name="connsiteX11" fmla="*/ 17731 w 25174"/>
                  <a:gd name="connsiteY11" fmla="*/ 5408 h 28623"/>
                  <a:gd name="connsiteX12" fmla="*/ 12455 w 25174"/>
                  <a:gd name="connsiteY12" fmla="*/ 3844 h 28623"/>
                  <a:gd name="connsiteX13" fmla="*/ 7632 w 25174"/>
                  <a:gd name="connsiteY13" fmla="*/ 4993 h 28623"/>
                  <a:gd name="connsiteX14" fmla="*/ 5333 w 25174"/>
                  <a:gd name="connsiteY14" fmla="*/ 9045 h 28623"/>
                  <a:gd name="connsiteX15" fmla="*/ 791 w 25174"/>
                  <a:gd name="connsiteY15" fmla="*/ 8423 h 28623"/>
                  <a:gd name="connsiteX16" fmla="*/ 2827 w 25174"/>
                  <a:gd name="connsiteY16" fmla="*/ 3712 h 28623"/>
                  <a:gd name="connsiteX17" fmla="*/ 6915 w 25174"/>
                  <a:gd name="connsiteY17" fmla="*/ 961 h 28623"/>
                  <a:gd name="connsiteX18" fmla="*/ 13115 w 25174"/>
                  <a:gd name="connsiteY18" fmla="*/ 0 h 28623"/>
                  <a:gd name="connsiteX19" fmla="*/ 18806 w 25174"/>
                  <a:gd name="connsiteY19" fmla="*/ 829 h 28623"/>
                  <a:gd name="connsiteX20" fmla="*/ 22028 w 25174"/>
                  <a:gd name="connsiteY20" fmla="*/ 2902 h 28623"/>
                  <a:gd name="connsiteX21" fmla="*/ 23479 w 25174"/>
                  <a:gd name="connsiteY21" fmla="*/ 6049 h 28623"/>
                  <a:gd name="connsiteX22" fmla="*/ 23705 w 25174"/>
                  <a:gd name="connsiteY22" fmla="*/ 10326 h 28623"/>
                  <a:gd name="connsiteX23" fmla="*/ 23705 w 25174"/>
                  <a:gd name="connsiteY23" fmla="*/ 16507 h 28623"/>
                  <a:gd name="connsiteX24" fmla="*/ 24006 w 25174"/>
                  <a:gd name="connsiteY24" fmla="*/ 24685 h 28623"/>
                  <a:gd name="connsiteX25" fmla="*/ 25174 w 25174"/>
                  <a:gd name="connsiteY25" fmla="*/ 27964 h 28623"/>
                  <a:gd name="connsiteX26" fmla="*/ 20332 w 25174"/>
                  <a:gd name="connsiteY26" fmla="*/ 27964 h 28623"/>
                  <a:gd name="connsiteX27" fmla="*/ 19409 w 25174"/>
                  <a:gd name="connsiteY27" fmla="*/ 24591 h 28623"/>
                  <a:gd name="connsiteX28" fmla="*/ 19032 w 25174"/>
                  <a:gd name="connsiteY28" fmla="*/ 14264 h 28623"/>
                  <a:gd name="connsiteX29" fmla="*/ 11457 w 25174"/>
                  <a:gd name="connsiteY29" fmla="*/ 16017 h 28623"/>
                  <a:gd name="connsiteX30" fmla="*/ 7405 w 25174"/>
                  <a:gd name="connsiteY30" fmla="*/ 16940 h 28623"/>
                  <a:gd name="connsiteX31" fmla="*/ 5578 w 25174"/>
                  <a:gd name="connsiteY31" fmla="*/ 18448 h 28623"/>
                  <a:gd name="connsiteX32" fmla="*/ 4937 w 25174"/>
                  <a:gd name="connsiteY32" fmla="*/ 20652 h 28623"/>
                  <a:gd name="connsiteX33" fmla="*/ 6331 w 25174"/>
                  <a:gd name="connsiteY33" fmla="*/ 23743 h 28623"/>
                  <a:gd name="connsiteX34" fmla="*/ 10439 w 25174"/>
                  <a:gd name="connsiteY34" fmla="*/ 24986 h 28623"/>
                  <a:gd name="connsiteX35" fmla="*/ 15207 w 25174"/>
                  <a:gd name="connsiteY35" fmla="*/ 23818 h 28623"/>
                  <a:gd name="connsiteX36" fmla="*/ 18278 w 25174"/>
                  <a:gd name="connsiteY36" fmla="*/ 20615 h 28623"/>
                  <a:gd name="connsiteX37" fmla="*/ 19032 w 25174"/>
                  <a:gd name="connsiteY37" fmla="*/ 15979 h 28623"/>
                  <a:gd name="connsiteX38" fmla="*/ 19032 w 25174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74" h="28623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04" y="17110"/>
                    </a:cubicBezTo>
                    <a:cubicBezTo>
                      <a:pt x="1508" y="15998"/>
                      <a:pt x="2318" y="15112"/>
                      <a:pt x="3298" y="14434"/>
                    </a:cubicBezTo>
                    <a:cubicBezTo>
                      <a:pt x="4277" y="13756"/>
                      <a:pt x="5408" y="13266"/>
                      <a:pt x="6633" y="12908"/>
                    </a:cubicBezTo>
                    <a:cubicBezTo>
                      <a:pt x="7537" y="12663"/>
                      <a:pt x="8913" y="12437"/>
                      <a:pt x="10759" y="12210"/>
                    </a:cubicBezTo>
                    <a:cubicBezTo>
                      <a:pt x="14509" y="11758"/>
                      <a:pt x="17260" y="11231"/>
                      <a:pt x="19032" y="10609"/>
                    </a:cubicBezTo>
                    <a:cubicBezTo>
                      <a:pt x="19032" y="9968"/>
                      <a:pt x="19050" y="9572"/>
                      <a:pt x="19050" y="9403"/>
                    </a:cubicBezTo>
                    <a:cubicBezTo>
                      <a:pt x="19050" y="7518"/>
                      <a:pt x="18617" y="6181"/>
                      <a:pt x="17731" y="5408"/>
                    </a:cubicBezTo>
                    <a:cubicBezTo>
                      <a:pt x="16545" y="4353"/>
                      <a:pt x="14792" y="3844"/>
                      <a:pt x="12455" y="3844"/>
                    </a:cubicBezTo>
                    <a:cubicBezTo>
                      <a:pt x="10270" y="3844"/>
                      <a:pt x="8668" y="4221"/>
                      <a:pt x="7632" y="4993"/>
                    </a:cubicBezTo>
                    <a:cubicBezTo>
                      <a:pt x="6595" y="5766"/>
                      <a:pt x="5823" y="7104"/>
                      <a:pt x="5333" y="9045"/>
                    </a:cubicBezTo>
                    <a:lnTo>
                      <a:pt x="791" y="8423"/>
                    </a:lnTo>
                    <a:cubicBezTo>
                      <a:pt x="1206" y="6482"/>
                      <a:pt x="1884" y="4918"/>
                      <a:pt x="2827" y="3712"/>
                    </a:cubicBezTo>
                    <a:cubicBezTo>
                      <a:pt x="3769" y="2525"/>
                      <a:pt x="5125" y="1602"/>
                      <a:pt x="6915" y="961"/>
                    </a:cubicBezTo>
                    <a:cubicBezTo>
                      <a:pt x="8705" y="320"/>
                      <a:pt x="10759" y="0"/>
                      <a:pt x="13115" y="0"/>
                    </a:cubicBezTo>
                    <a:cubicBezTo>
                      <a:pt x="15470" y="0"/>
                      <a:pt x="17355" y="283"/>
                      <a:pt x="18806" y="829"/>
                    </a:cubicBezTo>
                    <a:cubicBezTo>
                      <a:pt x="20257" y="1376"/>
                      <a:pt x="21331" y="2073"/>
                      <a:pt x="22028" y="2902"/>
                    </a:cubicBezTo>
                    <a:cubicBezTo>
                      <a:pt x="22706" y="3731"/>
                      <a:pt x="23196" y="4786"/>
                      <a:pt x="23479" y="6049"/>
                    </a:cubicBezTo>
                    <a:cubicBezTo>
                      <a:pt x="23630" y="6840"/>
                      <a:pt x="23705" y="8272"/>
                      <a:pt x="23705" y="10326"/>
                    </a:cubicBezTo>
                    <a:lnTo>
                      <a:pt x="23705" y="16507"/>
                    </a:lnTo>
                    <a:cubicBezTo>
                      <a:pt x="23705" y="20822"/>
                      <a:pt x="23799" y="23535"/>
                      <a:pt x="24006" y="24685"/>
                    </a:cubicBezTo>
                    <a:cubicBezTo>
                      <a:pt x="24213" y="25834"/>
                      <a:pt x="24591" y="26927"/>
                      <a:pt x="25174" y="27964"/>
                    </a:cubicBezTo>
                    <a:lnTo>
                      <a:pt x="20332" y="27964"/>
                    </a:lnTo>
                    <a:cubicBezTo>
                      <a:pt x="19842" y="27003"/>
                      <a:pt x="19540" y="25872"/>
                      <a:pt x="19409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7" y="16017"/>
                    </a:cubicBezTo>
                    <a:cubicBezTo>
                      <a:pt x="9554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31" y="23743"/>
                    </a:cubicBezTo>
                    <a:cubicBezTo>
                      <a:pt x="7273" y="24572"/>
                      <a:pt x="8630" y="24986"/>
                      <a:pt x="10439" y="24986"/>
                    </a:cubicBezTo>
                    <a:cubicBezTo>
                      <a:pt x="12248" y="24986"/>
                      <a:pt x="13812" y="24591"/>
                      <a:pt x="15207" y="23818"/>
                    </a:cubicBezTo>
                    <a:cubicBezTo>
                      <a:pt x="16601" y="23045"/>
                      <a:pt x="17618" y="21971"/>
                      <a:pt x="18278" y="20615"/>
                    </a:cubicBezTo>
                    <a:cubicBezTo>
                      <a:pt x="18768" y="19559"/>
                      <a:pt x="19032" y="18014"/>
                      <a:pt x="19032" y="15979"/>
                    </a:cubicBezTo>
                    <a:lnTo>
                      <a:pt x="19032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06" name="Freihandform: Form 3205">
                <a:extLst>
                  <a:ext uri="{FF2B5EF4-FFF2-40B4-BE49-F238E27FC236}">
                    <a16:creationId xmlns:a16="http://schemas.microsoft.com/office/drawing/2014/main" id="{6B0EB90D-AF28-99B1-6415-ACB2C64264F9}"/>
                  </a:ext>
                </a:extLst>
              </p:cNvPr>
              <p:cNvSpPr/>
              <p:nvPr/>
            </p:nvSpPr>
            <p:spPr>
              <a:xfrm>
                <a:off x="8901540" y="1287913"/>
                <a:ext cx="22687" cy="37780"/>
              </a:xfrm>
              <a:custGeom>
                <a:avLst/>
                <a:gdLst>
                  <a:gd name="connsiteX0" fmla="*/ 19 w 22687"/>
                  <a:gd name="connsiteY0" fmla="*/ 37762 h 37780"/>
                  <a:gd name="connsiteX1" fmla="*/ 19 w 22687"/>
                  <a:gd name="connsiteY1" fmla="*/ 0 h 37780"/>
                  <a:gd name="connsiteX2" fmla="*/ 4654 w 22687"/>
                  <a:gd name="connsiteY2" fmla="*/ 0 h 37780"/>
                  <a:gd name="connsiteX3" fmla="*/ 4654 w 22687"/>
                  <a:gd name="connsiteY3" fmla="*/ 21538 h 37780"/>
                  <a:gd name="connsiteX4" fmla="*/ 15621 w 22687"/>
                  <a:gd name="connsiteY4" fmla="*/ 10402 h 37780"/>
                  <a:gd name="connsiteX5" fmla="*/ 21632 w 22687"/>
                  <a:gd name="connsiteY5" fmla="*/ 10402 h 37780"/>
                  <a:gd name="connsiteX6" fmla="*/ 11174 w 22687"/>
                  <a:gd name="connsiteY6" fmla="*/ 20558 h 37780"/>
                  <a:gd name="connsiteX7" fmla="*/ 22687 w 22687"/>
                  <a:gd name="connsiteY7" fmla="*/ 37762 h 37780"/>
                  <a:gd name="connsiteX8" fmla="*/ 16959 w 22687"/>
                  <a:gd name="connsiteY8" fmla="*/ 37762 h 37780"/>
                  <a:gd name="connsiteX9" fmla="*/ 7914 w 22687"/>
                  <a:gd name="connsiteY9" fmla="*/ 23780 h 37780"/>
                  <a:gd name="connsiteX10" fmla="*/ 4635 w 22687"/>
                  <a:gd name="connsiteY10" fmla="*/ 26927 h 37780"/>
                  <a:gd name="connsiteX11" fmla="*/ 4635 w 22687"/>
                  <a:gd name="connsiteY11" fmla="*/ 37781 h 37780"/>
                  <a:gd name="connsiteX12" fmla="*/ 0 w 22687"/>
                  <a:gd name="connsiteY12" fmla="*/ 37781 h 3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687" h="37780">
                    <a:moveTo>
                      <a:pt x="19" y="37762"/>
                    </a:moveTo>
                    <a:lnTo>
                      <a:pt x="19" y="0"/>
                    </a:lnTo>
                    <a:lnTo>
                      <a:pt x="4654" y="0"/>
                    </a:lnTo>
                    <a:lnTo>
                      <a:pt x="4654" y="21538"/>
                    </a:lnTo>
                    <a:lnTo>
                      <a:pt x="15621" y="10402"/>
                    </a:lnTo>
                    <a:lnTo>
                      <a:pt x="21632" y="10402"/>
                    </a:lnTo>
                    <a:lnTo>
                      <a:pt x="11174" y="20558"/>
                    </a:lnTo>
                    <a:lnTo>
                      <a:pt x="22687" y="37762"/>
                    </a:lnTo>
                    <a:lnTo>
                      <a:pt x="16959" y="37762"/>
                    </a:lnTo>
                    <a:lnTo>
                      <a:pt x="7914" y="23780"/>
                    </a:lnTo>
                    <a:lnTo>
                      <a:pt x="4635" y="26927"/>
                    </a:lnTo>
                    <a:lnTo>
                      <a:pt x="4635" y="37781"/>
                    </a:lnTo>
                    <a:lnTo>
                      <a:pt x="0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07" name="Freihandform: Form 3206">
                <a:extLst>
                  <a:ext uri="{FF2B5EF4-FFF2-40B4-BE49-F238E27FC236}">
                    <a16:creationId xmlns:a16="http://schemas.microsoft.com/office/drawing/2014/main" id="{B5FC95E4-07E5-F2BE-B05D-146AFAD19493}"/>
                  </a:ext>
                </a:extLst>
              </p:cNvPr>
              <p:cNvSpPr/>
              <p:nvPr/>
            </p:nvSpPr>
            <p:spPr>
              <a:xfrm>
                <a:off x="8926338" y="1297673"/>
                <a:ext cx="25174" cy="28623"/>
              </a:xfrm>
              <a:custGeom>
                <a:avLst/>
                <a:gdLst>
                  <a:gd name="connsiteX0" fmla="*/ 19427 w 25174"/>
                  <a:gd name="connsiteY0" fmla="*/ 24628 h 28623"/>
                  <a:gd name="connsiteX1" fmla="*/ 14472 w 25174"/>
                  <a:gd name="connsiteY1" fmla="*/ 27719 h 28623"/>
                  <a:gd name="connsiteX2" fmla="*/ 9365 w 25174"/>
                  <a:gd name="connsiteY2" fmla="*/ 28623 h 28623"/>
                  <a:gd name="connsiteX3" fmla="*/ 2430 w 25174"/>
                  <a:gd name="connsiteY3" fmla="*/ 26418 h 28623"/>
                  <a:gd name="connsiteX4" fmla="*/ 0 w 25174"/>
                  <a:gd name="connsiteY4" fmla="*/ 20784 h 28623"/>
                  <a:gd name="connsiteX5" fmla="*/ 904 w 25174"/>
                  <a:gd name="connsiteY5" fmla="*/ 17110 h 28623"/>
                  <a:gd name="connsiteX6" fmla="*/ 3298 w 25174"/>
                  <a:gd name="connsiteY6" fmla="*/ 14434 h 28623"/>
                  <a:gd name="connsiteX7" fmla="*/ 6633 w 25174"/>
                  <a:gd name="connsiteY7" fmla="*/ 12908 h 28623"/>
                  <a:gd name="connsiteX8" fmla="*/ 10759 w 25174"/>
                  <a:gd name="connsiteY8" fmla="*/ 12210 h 28623"/>
                  <a:gd name="connsiteX9" fmla="*/ 19032 w 25174"/>
                  <a:gd name="connsiteY9" fmla="*/ 10609 h 28623"/>
                  <a:gd name="connsiteX10" fmla="*/ 19050 w 25174"/>
                  <a:gd name="connsiteY10" fmla="*/ 9403 h 28623"/>
                  <a:gd name="connsiteX11" fmla="*/ 17731 w 25174"/>
                  <a:gd name="connsiteY11" fmla="*/ 5408 h 28623"/>
                  <a:gd name="connsiteX12" fmla="*/ 12455 w 25174"/>
                  <a:gd name="connsiteY12" fmla="*/ 3844 h 28623"/>
                  <a:gd name="connsiteX13" fmla="*/ 7631 w 25174"/>
                  <a:gd name="connsiteY13" fmla="*/ 4993 h 28623"/>
                  <a:gd name="connsiteX14" fmla="*/ 5332 w 25174"/>
                  <a:gd name="connsiteY14" fmla="*/ 9045 h 28623"/>
                  <a:gd name="connsiteX15" fmla="*/ 791 w 25174"/>
                  <a:gd name="connsiteY15" fmla="*/ 8423 h 28623"/>
                  <a:gd name="connsiteX16" fmla="*/ 2827 w 25174"/>
                  <a:gd name="connsiteY16" fmla="*/ 3712 h 28623"/>
                  <a:gd name="connsiteX17" fmla="*/ 6915 w 25174"/>
                  <a:gd name="connsiteY17" fmla="*/ 961 h 28623"/>
                  <a:gd name="connsiteX18" fmla="*/ 13115 w 25174"/>
                  <a:gd name="connsiteY18" fmla="*/ 0 h 28623"/>
                  <a:gd name="connsiteX19" fmla="*/ 18806 w 25174"/>
                  <a:gd name="connsiteY19" fmla="*/ 829 h 28623"/>
                  <a:gd name="connsiteX20" fmla="*/ 22028 w 25174"/>
                  <a:gd name="connsiteY20" fmla="*/ 2902 h 28623"/>
                  <a:gd name="connsiteX21" fmla="*/ 23479 w 25174"/>
                  <a:gd name="connsiteY21" fmla="*/ 6049 h 28623"/>
                  <a:gd name="connsiteX22" fmla="*/ 23705 w 25174"/>
                  <a:gd name="connsiteY22" fmla="*/ 10326 h 28623"/>
                  <a:gd name="connsiteX23" fmla="*/ 23705 w 25174"/>
                  <a:gd name="connsiteY23" fmla="*/ 16507 h 28623"/>
                  <a:gd name="connsiteX24" fmla="*/ 24006 w 25174"/>
                  <a:gd name="connsiteY24" fmla="*/ 24685 h 28623"/>
                  <a:gd name="connsiteX25" fmla="*/ 25174 w 25174"/>
                  <a:gd name="connsiteY25" fmla="*/ 27964 h 28623"/>
                  <a:gd name="connsiteX26" fmla="*/ 20332 w 25174"/>
                  <a:gd name="connsiteY26" fmla="*/ 27964 h 28623"/>
                  <a:gd name="connsiteX27" fmla="*/ 19408 w 25174"/>
                  <a:gd name="connsiteY27" fmla="*/ 24591 h 28623"/>
                  <a:gd name="connsiteX28" fmla="*/ 19032 w 25174"/>
                  <a:gd name="connsiteY28" fmla="*/ 14264 h 28623"/>
                  <a:gd name="connsiteX29" fmla="*/ 11456 w 25174"/>
                  <a:gd name="connsiteY29" fmla="*/ 16017 h 28623"/>
                  <a:gd name="connsiteX30" fmla="*/ 7405 w 25174"/>
                  <a:gd name="connsiteY30" fmla="*/ 16940 h 28623"/>
                  <a:gd name="connsiteX31" fmla="*/ 5578 w 25174"/>
                  <a:gd name="connsiteY31" fmla="*/ 18448 h 28623"/>
                  <a:gd name="connsiteX32" fmla="*/ 4937 w 25174"/>
                  <a:gd name="connsiteY32" fmla="*/ 20652 h 28623"/>
                  <a:gd name="connsiteX33" fmla="*/ 6331 w 25174"/>
                  <a:gd name="connsiteY33" fmla="*/ 23743 h 28623"/>
                  <a:gd name="connsiteX34" fmla="*/ 10439 w 25174"/>
                  <a:gd name="connsiteY34" fmla="*/ 24986 h 28623"/>
                  <a:gd name="connsiteX35" fmla="*/ 15206 w 25174"/>
                  <a:gd name="connsiteY35" fmla="*/ 23818 h 28623"/>
                  <a:gd name="connsiteX36" fmla="*/ 18278 w 25174"/>
                  <a:gd name="connsiteY36" fmla="*/ 20615 h 28623"/>
                  <a:gd name="connsiteX37" fmla="*/ 19032 w 25174"/>
                  <a:gd name="connsiteY37" fmla="*/ 15979 h 28623"/>
                  <a:gd name="connsiteX38" fmla="*/ 19032 w 25174"/>
                  <a:gd name="connsiteY38" fmla="*/ 14283 h 2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74" h="28623">
                    <a:moveTo>
                      <a:pt x="19427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0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04" y="17110"/>
                    </a:cubicBezTo>
                    <a:cubicBezTo>
                      <a:pt x="1507" y="15998"/>
                      <a:pt x="2318" y="15112"/>
                      <a:pt x="3298" y="14434"/>
                    </a:cubicBezTo>
                    <a:cubicBezTo>
                      <a:pt x="4277" y="13756"/>
                      <a:pt x="5408" y="13266"/>
                      <a:pt x="6633" y="12908"/>
                    </a:cubicBezTo>
                    <a:cubicBezTo>
                      <a:pt x="7537" y="12663"/>
                      <a:pt x="8913" y="12437"/>
                      <a:pt x="10759" y="12210"/>
                    </a:cubicBezTo>
                    <a:cubicBezTo>
                      <a:pt x="14509" y="11758"/>
                      <a:pt x="17260" y="11231"/>
                      <a:pt x="19032" y="10609"/>
                    </a:cubicBezTo>
                    <a:cubicBezTo>
                      <a:pt x="19032" y="9968"/>
                      <a:pt x="19050" y="9572"/>
                      <a:pt x="19050" y="9403"/>
                    </a:cubicBezTo>
                    <a:cubicBezTo>
                      <a:pt x="19050" y="7518"/>
                      <a:pt x="18617" y="6181"/>
                      <a:pt x="17731" y="5408"/>
                    </a:cubicBezTo>
                    <a:cubicBezTo>
                      <a:pt x="16544" y="4353"/>
                      <a:pt x="14792" y="3844"/>
                      <a:pt x="12455" y="3844"/>
                    </a:cubicBezTo>
                    <a:cubicBezTo>
                      <a:pt x="10270" y="3844"/>
                      <a:pt x="8668" y="4221"/>
                      <a:pt x="7631" y="4993"/>
                    </a:cubicBezTo>
                    <a:cubicBezTo>
                      <a:pt x="6595" y="5766"/>
                      <a:pt x="5822" y="7104"/>
                      <a:pt x="5332" y="9045"/>
                    </a:cubicBezTo>
                    <a:lnTo>
                      <a:pt x="791" y="8423"/>
                    </a:lnTo>
                    <a:cubicBezTo>
                      <a:pt x="1206" y="6482"/>
                      <a:pt x="1884" y="4918"/>
                      <a:pt x="2827" y="3712"/>
                    </a:cubicBezTo>
                    <a:cubicBezTo>
                      <a:pt x="3769" y="2525"/>
                      <a:pt x="5125" y="1602"/>
                      <a:pt x="6915" y="961"/>
                    </a:cubicBezTo>
                    <a:cubicBezTo>
                      <a:pt x="8705" y="320"/>
                      <a:pt x="10759" y="0"/>
                      <a:pt x="13115" y="0"/>
                    </a:cubicBezTo>
                    <a:cubicBezTo>
                      <a:pt x="15470" y="0"/>
                      <a:pt x="17355" y="283"/>
                      <a:pt x="18806" y="829"/>
                    </a:cubicBezTo>
                    <a:cubicBezTo>
                      <a:pt x="20257" y="1376"/>
                      <a:pt x="21330" y="2073"/>
                      <a:pt x="22028" y="2902"/>
                    </a:cubicBezTo>
                    <a:cubicBezTo>
                      <a:pt x="22706" y="3731"/>
                      <a:pt x="23196" y="4786"/>
                      <a:pt x="23479" y="6049"/>
                    </a:cubicBezTo>
                    <a:cubicBezTo>
                      <a:pt x="23629" y="6840"/>
                      <a:pt x="23705" y="8272"/>
                      <a:pt x="23705" y="10326"/>
                    </a:cubicBezTo>
                    <a:lnTo>
                      <a:pt x="23705" y="16507"/>
                    </a:lnTo>
                    <a:cubicBezTo>
                      <a:pt x="23705" y="20822"/>
                      <a:pt x="23799" y="23535"/>
                      <a:pt x="24006" y="24685"/>
                    </a:cubicBezTo>
                    <a:cubicBezTo>
                      <a:pt x="24213" y="25834"/>
                      <a:pt x="24590" y="26927"/>
                      <a:pt x="25174" y="27964"/>
                    </a:cubicBezTo>
                    <a:lnTo>
                      <a:pt x="20332" y="27964"/>
                    </a:lnTo>
                    <a:cubicBezTo>
                      <a:pt x="19842" y="27003"/>
                      <a:pt x="19540" y="25872"/>
                      <a:pt x="19408" y="24591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29" y="15527"/>
                      <a:pt x="11456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3"/>
                      <a:pt x="6331" y="23743"/>
                    </a:cubicBezTo>
                    <a:cubicBezTo>
                      <a:pt x="7273" y="24572"/>
                      <a:pt x="8630" y="24986"/>
                      <a:pt x="10439" y="24986"/>
                    </a:cubicBezTo>
                    <a:cubicBezTo>
                      <a:pt x="12248" y="24986"/>
                      <a:pt x="13812" y="24591"/>
                      <a:pt x="15206" y="23818"/>
                    </a:cubicBezTo>
                    <a:cubicBezTo>
                      <a:pt x="16601" y="23045"/>
                      <a:pt x="17618" y="21971"/>
                      <a:pt x="18278" y="20615"/>
                    </a:cubicBezTo>
                    <a:cubicBezTo>
                      <a:pt x="18768" y="19559"/>
                      <a:pt x="19032" y="18014"/>
                      <a:pt x="19032" y="15979"/>
                    </a:cubicBezTo>
                    <a:lnTo>
                      <a:pt x="19032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98" name="Grafik 21">
              <a:extLst>
                <a:ext uri="{FF2B5EF4-FFF2-40B4-BE49-F238E27FC236}">
                  <a16:creationId xmlns:a16="http://schemas.microsoft.com/office/drawing/2014/main" id="{A1B305DF-034D-C6B1-A2A0-D8A5EE6CDD51}"/>
                </a:ext>
              </a:extLst>
            </p:cNvPr>
            <p:cNvGrpSpPr/>
            <p:nvPr/>
          </p:nvGrpSpPr>
          <p:grpSpPr>
            <a:xfrm>
              <a:off x="7831689" y="440338"/>
              <a:ext cx="59582" cy="59846"/>
              <a:chOff x="7831689" y="440338"/>
              <a:chExt cx="59582" cy="59846"/>
            </a:xfrm>
            <a:solidFill>
              <a:srgbClr val="000000"/>
            </a:solidFill>
          </p:grpSpPr>
          <p:sp>
            <p:nvSpPr>
              <p:cNvPr id="3199" name="Freihandform: Form 3198">
                <a:extLst>
                  <a:ext uri="{FF2B5EF4-FFF2-40B4-BE49-F238E27FC236}">
                    <a16:creationId xmlns:a16="http://schemas.microsoft.com/office/drawing/2014/main" id="{36B51A8F-7C74-A920-6CB2-3A17304AD521}"/>
                  </a:ext>
                </a:extLst>
              </p:cNvPr>
              <p:cNvSpPr/>
              <p:nvPr/>
            </p:nvSpPr>
            <p:spPr>
              <a:xfrm>
                <a:off x="7837945" y="461460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00" name="Freihandform: Form 3199">
                <a:extLst>
                  <a:ext uri="{FF2B5EF4-FFF2-40B4-BE49-F238E27FC236}">
                    <a16:creationId xmlns:a16="http://schemas.microsoft.com/office/drawing/2014/main" id="{FB175F7B-F6BA-42BE-7AD7-F28A791508F5}"/>
                  </a:ext>
                </a:extLst>
              </p:cNvPr>
              <p:cNvSpPr/>
              <p:nvPr/>
            </p:nvSpPr>
            <p:spPr>
              <a:xfrm>
                <a:off x="7831689" y="440338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99" name="Grafik 21">
              <a:extLst>
                <a:ext uri="{FF2B5EF4-FFF2-40B4-BE49-F238E27FC236}">
                  <a16:creationId xmlns:a16="http://schemas.microsoft.com/office/drawing/2014/main" id="{7323B720-C9F2-ABC0-7C33-D3046AE25446}"/>
                </a:ext>
              </a:extLst>
            </p:cNvPr>
            <p:cNvGrpSpPr/>
            <p:nvPr/>
          </p:nvGrpSpPr>
          <p:grpSpPr>
            <a:xfrm>
              <a:off x="7922137" y="566588"/>
              <a:ext cx="59582" cy="59846"/>
              <a:chOff x="7922137" y="566588"/>
              <a:chExt cx="59582" cy="59846"/>
            </a:xfrm>
            <a:solidFill>
              <a:srgbClr val="000000"/>
            </a:solidFill>
          </p:grpSpPr>
          <p:sp>
            <p:nvSpPr>
              <p:cNvPr id="3197" name="Freihandform: Form 3196">
                <a:extLst>
                  <a:ext uri="{FF2B5EF4-FFF2-40B4-BE49-F238E27FC236}">
                    <a16:creationId xmlns:a16="http://schemas.microsoft.com/office/drawing/2014/main" id="{24705AC7-9195-F7C6-7697-7D255692D318}"/>
                  </a:ext>
                </a:extLst>
              </p:cNvPr>
              <p:cNvSpPr/>
              <p:nvPr/>
            </p:nvSpPr>
            <p:spPr>
              <a:xfrm>
                <a:off x="7928393" y="587711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98" name="Freihandform: Form 3197">
                <a:extLst>
                  <a:ext uri="{FF2B5EF4-FFF2-40B4-BE49-F238E27FC236}">
                    <a16:creationId xmlns:a16="http://schemas.microsoft.com/office/drawing/2014/main" id="{CE5BA9CF-778B-ED12-DBB6-3448375A89DA}"/>
                  </a:ext>
                </a:extLst>
              </p:cNvPr>
              <p:cNvSpPr/>
              <p:nvPr/>
            </p:nvSpPr>
            <p:spPr>
              <a:xfrm>
                <a:off x="7922137" y="566588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00" name="Grafik 21">
              <a:extLst>
                <a:ext uri="{FF2B5EF4-FFF2-40B4-BE49-F238E27FC236}">
                  <a16:creationId xmlns:a16="http://schemas.microsoft.com/office/drawing/2014/main" id="{CEBEF2A3-AF21-A483-5A8E-00C6A1A34EAA}"/>
                </a:ext>
              </a:extLst>
            </p:cNvPr>
            <p:cNvGrpSpPr/>
            <p:nvPr/>
          </p:nvGrpSpPr>
          <p:grpSpPr>
            <a:xfrm>
              <a:off x="8359755" y="732410"/>
              <a:ext cx="60562" cy="59846"/>
              <a:chOff x="8359755" y="732410"/>
              <a:chExt cx="60562" cy="59846"/>
            </a:xfrm>
            <a:solidFill>
              <a:srgbClr val="000000"/>
            </a:solidFill>
          </p:grpSpPr>
          <p:sp>
            <p:nvSpPr>
              <p:cNvPr id="3195" name="Freihandform: Form 3194">
                <a:extLst>
                  <a:ext uri="{FF2B5EF4-FFF2-40B4-BE49-F238E27FC236}">
                    <a16:creationId xmlns:a16="http://schemas.microsoft.com/office/drawing/2014/main" id="{CFE72BF1-4E96-5CEE-A640-DB4B58691436}"/>
                  </a:ext>
                </a:extLst>
              </p:cNvPr>
              <p:cNvSpPr/>
              <p:nvPr/>
            </p:nvSpPr>
            <p:spPr>
              <a:xfrm>
                <a:off x="8366125" y="753532"/>
                <a:ext cx="47880" cy="26852"/>
              </a:xfrm>
              <a:custGeom>
                <a:avLst/>
                <a:gdLst>
                  <a:gd name="connsiteX0" fmla="*/ 41776 w 47880"/>
                  <a:gd name="connsiteY0" fmla="*/ 22613 h 26852"/>
                  <a:gd name="connsiteX1" fmla="*/ 41776 w 47880"/>
                  <a:gd name="connsiteY1" fmla="*/ 26853 h 26852"/>
                  <a:gd name="connsiteX2" fmla="*/ 0 w 47880"/>
                  <a:gd name="connsiteY2" fmla="*/ 1 h 26852"/>
                  <a:gd name="connsiteX3" fmla="*/ 14509 w 47880"/>
                  <a:gd name="connsiteY3" fmla="*/ 1 h 26852"/>
                  <a:gd name="connsiteX4" fmla="*/ 14509 w 47880"/>
                  <a:gd name="connsiteY4" fmla="*/ 2507 h 26852"/>
                  <a:gd name="connsiteX5" fmla="*/ 11664 w 47880"/>
                  <a:gd name="connsiteY5" fmla="*/ 3261 h 26852"/>
                  <a:gd name="connsiteX6" fmla="*/ 21029 w 47880"/>
                  <a:gd name="connsiteY6" fmla="*/ 9272 h 26852"/>
                  <a:gd name="connsiteX7" fmla="*/ 17618 w 47880"/>
                  <a:gd name="connsiteY7" fmla="*/ 1659 h 26852"/>
                  <a:gd name="connsiteX8" fmla="*/ 21255 w 47880"/>
                  <a:gd name="connsiteY8" fmla="*/ 1 h 26852"/>
                  <a:gd name="connsiteX9" fmla="*/ 47881 w 47880"/>
                  <a:gd name="connsiteY9" fmla="*/ 1 h 26852"/>
                  <a:gd name="connsiteX10" fmla="*/ 31939 w 47880"/>
                  <a:gd name="connsiteY10" fmla="*/ 12362 h 26852"/>
                  <a:gd name="connsiteX11" fmla="*/ 30112 w 47880"/>
                  <a:gd name="connsiteY11" fmla="*/ 10647 h 26852"/>
                  <a:gd name="connsiteX12" fmla="*/ 37894 w 47880"/>
                  <a:gd name="connsiteY12" fmla="*/ 3355 h 26852"/>
                  <a:gd name="connsiteX13" fmla="*/ 23083 w 47880"/>
                  <a:gd name="connsiteY13" fmla="*/ 3355 h 26852"/>
                  <a:gd name="connsiteX14" fmla="*/ 22009 w 47880"/>
                  <a:gd name="connsiteY14" fmla="*/ 3845 h 26852"/>
                  <a:gd name="connsiteX15" fmla="*/ 38101 w 47880"/>
                  <a:gd name="connsiteY15" fmla="*/ 20201 h 26852"/>
                  <a:gd name="connsiteX16" fmla="*/ 41776 w 47880"/>
                  <a:gd name="connsiteY16" fmla="*/ 22613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0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8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39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1" y="6125"/>
                      <a:pt x="29641" y="14661"/>
                      <a:pt x="38101" y="20201"/>
                    </a:cubicBezTo>
                    <a:lnTo>
                      <a:pt x="41776" y="2261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96" name="Freihandform: Form 3195">
                <a:extLst>
                  <a:ext uri="{FF2B5EF4-FFF2-40B4-BE49-F238E27FC236}">
                    <a16:creationId xmlns:a16="http://schemas.microsoft.com/office/drawing/2014/main" id="{BB93E391-2E34-C984-0D38-7CFEEE542645}"/>
                  </a:ext>
                </a:extLst>
              </p:cNvPr>
              <p:cNvSpPr/>
              <p:nvPr/>
            </p:nvSpPr>
            <p:spPr>
              <a:xfrm>
                <a:off x="8359755" y="732410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7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7 h 59846"/>
                  <a:gd name="connsiteX10" fmla="*/ 30281 w 6056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8" y="0"/>
                      <a:pt x="0" y="13398"/>
                      <a:pt x="0" y="29923"/>
                    </a:cubicBezTo>
                    <a:cubicBezTo>
                      <a:pt x="0" y="46449"/>
                      <a:pt x="13549" y="59847"/>
                      <a:pt x="30281" y="59847"/>
                    </a:cubicBezTo>
                    <a:cubicBezTo>
                      <a:pt x="47015" y="59847"/>
                      <a:pt x="60563" y="46449"/>
                      <a:pt x="60563" y="29923"/>
                    </a:cubicBezTo>
                    <a:cubicBezTo>
                      <a:pt x="60563" y="13398"/>
                      <a:pt x="47015" y="0"/>
                      <a:pt x="30281" y="0"/>
                    </a:cubicBezTo>
                    <a:close/>
                    <a:moveTo>
                      <a:pt x="30281" y="57077"/>
                    </a:moveTo>
                    <a:cubicBezTo>
                      <a:pt x="15112" y="57077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7"/>
                      <a:pt x="30281" y="57077"/>
                    </a:cubicBezTo>
                    <a:lnTo>
                      <a:pt x="3028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01" name="Grafik 21">
              <a:extLst>
                <a:ext uri="{FF2B5EF4-FFF2-40B4-BE49-F238E27FC236}">
                  <a16:creationId xmlns:a16="http://schemas.microsoft.com/office/drawing/2014/main" id="{671C6D7C-CBCB-024A-9D39-2EBC4CA228A2}"/>
                </a:ext>
              </a:extLst>
            </p:cNvPr>
            <p:cNvGrpSpPr/>
            <p:nvPr/>
          </p:nvGrpSpPr>
          <p:grpSpPr>
            <a:xfrm>
              <a:off x="7543385" y="762559"/>
              <a:ext cx="59582" cy="59846"/>
              <a:chOff x="7543385" y="762559"/>
              <a:chExt cx="59582" cy="59846"/>
            </a:xfrm>
            <a:solidFill>
              <a:srgbClr val="000000"/>
            </a:solidFill>
          </p:grpSpPr>
          <p:sp>
            <p:nvSpPr>
              <p:cNvPr id="3193" name="Freihandform: Form 3192">
                <a:extLst>
                  <a:ext uri="{FF2B5EF4-FFF2-40B4-BE49-F238E27FC236}">
                    <a16:creationId xmlns:a16="http://schemas.microsoft.com/office/drawing/2014/main" id="{881E073A-8320-7EF6-D559-AF4991CB4E84}"/>
                  </a:ext>
                </a:extLst>
              </p:cNvPr>
              <p:cNvSpPr/>
              <p:nvPr/>
            </p:nvSpPr>
            <p:spPr>
              <a:xfrm>
                <a:off x="7549641" y="783682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94" name="Freihandform: Form 3193">
                <a:extLst>
                  <a:ext uri="{FF2B5EF4-FFF2-40B4-BE49-F238E27FC236}">
                    <a16:creationId xmlns:a16="http://schemas.microsoft.com/office/drawing/2014/main" id="{622027EE-1637-ABDD-330A-C4B656EC2729}"/>
                  </a:ext>
                </a:extLst>
              </p:cNvPr>
              <p:cNvSpPr/>
              <p:nvPr/>
            </p:nvSpPr>
            <p:spPr>
              <a:xfrm>
                <a:off x="7543385" y="762559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02" name="Grafik 21">
              <a:extLst>
                <a:ext uri="{FF2B5EF4-FFF2-40B4-BE49-F238E27FC236}">
                  <a16:creationId xmlns:a16="http://schemas.microsoft.com/office/drawing/2014/main" id="{BA9949B3-927A-899A-3DA8-029FA1DE35B6}"/>
                </a:ext>
              </a:extLst>
            </p:cNvPr>
            <p:cNvGrpSpPr/>
            <p:nvPr/>
          </p:nvGrpSpPr>
          <p:grpSpPr>
            <a:xfrm>
              <a:off x="7903293" y="894463"/>
              <a:ext cx="59582" cy="59846"/>
              <a:chOff x="7903293" y="894463"/>
              <a:chExt cx="59582" cy="59846"/>
            </a:xfrm>
            <a:solidFill>
              <a:srgbClr val="000000"/>
            </a:solidFill>
          </p:grpSpPr>
          <p:sp>
            <p:nvSpPr>
              <p:cNvPr id="3191" name="Freihandform: Form 3190">
                <a:extLst>
                  <a:ext uri="{FF2B5EF4-FFF2-40B4-BE49-F238E27FC236}">
                    <a16:creationId xmlns:a16="http://schemas.microsoft.com/office/drawing/2014/main" id="{7A7CC9C5-30EE-8BAE-7C90-4117527247E5}"/>
                  </a:ext>
                </a:extLst>
              </p:cNvPr>
              <p:cNvSpPr/>
              <p:nvPr/>
            </p:nvSpPr>
            <p:spPr>
              <a:xfrm>
                <a:off x="7909549" y="915585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92" name="Freihandform: Form 3191">
                <a:extLst>
                  <a:ext uri="{FF2B5EF4-FFF2-40B4-BE49-F238E27FC236}">
                    <a16:creationId xmlns:a16="http://schemas.microsoft.com/office/drawing/2014/main" id="{35AE2489-A9AD-8217-A9DE-A2500C149E3B}"/>
                  </a:ext>
                </a:extLst>
              </p:cNvPr>
              <p:cNvSpPr/>
              <p:nvPr/>
            </p:nvSpPr>
            <p:spPr>
              <a:xfrm>
                <a:off x="7903293" y="894463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03" name="Grafik 21">
              <a:extLst>
                <a:ext uri="{FF2B5EF4-FFF2-40B4-BE49-F238E27FC236}">
                  <a16:creationId xmlns:a16="http://schemas.microsoft.com/office/drawing/2014/main" id="{2ADEA8CB-0C74-0D0B-7ADD-F908AD2ECD8F}"/>
                </a:ext>
              </a:extLst>
            </p:cNvPr>
            <p:cNvGrpSpPr/>
            <p:nvPr/>
          </p:nvGrpSpPr>
          <p:grpSpPr>
            <a:xfrm>
              <a:off x="8093611" y="869967"/>
              <a:ext cx="59582" cy="59846"/>
              <a:chOff x="8093611" y="869967"/>
              <a:chExt cx="59582" cy="59846"/>
            </a:xfrm>
            <a:solidFill>
              <a:srgbClr val="000000"/>
            </a:solidFill>
          </p:grpSpPr>
          <p:sp>
            <p:nvSpPr>
              <p:cNvPr id="3189" name="Freihandform: Form 3188">
                <a:extLst>
                  <a:ext uri="{FF2B5EF4-FFF2-40B4-BE49-F238E27FC236}">
                    <a16:creationId xmlns:a16="http://schemas.microsoft.com/office/drawing/2014/main" id="{05705D87-AF73-3029-7F18-2D33938F8551}"/>
                  </a:ext>
                </a:extLst>
              </p:cNvPr>
              <p:cNvSpPr/>
              <p:nvPr/>
            </p:nvSpPr>
            <p:spPr>
              <a:xfrm>
                <a:off x="8099868" y="891089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90" name="Freihandform: Form 3189">
                <a:extLst>
                  <a:ext uri="{FF2B5EF4-FFF2-40B4-BE49-F238E27FC236}">
                    <a16:creationId xmlns:a16="http://schemas.microsoft.com/office/drawing/2014/main" id="{BE9B1FA9-3414-405D-B779-795804B7675A}"/>
                  </a:ext>
                </a:extLst>
              </p:cNvPr>
              <p:cNvSpPr/>
              <p:nvPr/>
            </p:nvSpPr>
            <p:spPr>
              <a:xfrm>
                <a:off x="8093611" y="869967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04" name="Grafik 21">
              <a:extLst>
                <a:ext uri="{FF2B5EF4-FFF2-40B4-BE49-F238E27FC236}">
                  <a16:creationId xmlns:a16="http://schemas.microsoft.com/office/drawing/2014/main" id="{F5B117F1-2221-7039-863B-89F6D4B39959}"/>
                </a:ext>
              </a:extLst>
            </p:cNvPr>
            <p:cNvGrpSpPr/>
            <p:nvPr/>
          </p:nvGrpSpPr>
          <p:grpSpPr>
            <a:xfrm>
              <a:off x="8169437" y="892579"/>
              <a:ext cx="60562" cy="59846"/>
              <a:chOff x="8169437" y="892579"/>
              <a:chExt cx="60562" cy="59846"/>
            </a:xfrm>
            <a:solidFill>
              <a:srgbClr val="000000"/>
            </a:solidFill>
          </p:grpSpPr>
          <p:sp>
            <p:nvSpPr>
              <p:cNvPr id="3187" name="Freihandform: Form 3186">
                <a:extLst>
                  <a:ext uri="{FF2B5EF4-FFF2-40B4-BE49-F238E27FC236}">
                    <a16:creationId xmlns:a16="http://schemas.microsoft.com/office/drawing/2014/main" id="{F7FAF17F-BBFF-088A-812D-A032FD12D59F}"/>
                  </a:ext>
                </a:extLst>
              </p:cNvPr>
              <p:cNvSpPr/>
              <p:nvPr/>
            </p:nvSpPr>
            <p:spPr>
              <a:xfrm>
                <a:off x="8175806" y="913701"/>
                <a:ext cx="47880" cy="26852"/>
              </a:xfrm>
              <a:custGeom>
                <a:avLst/>
                <a:gdLst>
                  <a:gd name="connsiteX0" fmla="*/ 41776 w 47880"/>
                  <a:gd name="connsiteY0" fmla="*/ 22613 h 26852"/>
                  <a:gd name="connsiteX1" fmla="*/ 41776 w 47880"/>
                  <a:gd name="connsiteY1" fmla="*/ 26853 h 26852"/>
                  <a:gd name="connsiteX2" fmla="*/ 0 w 47880"/>
                  <a:gd name="connsiteY2" fmla="*/ 1 h 26852"/>
                  <a:gd name="connsiteX3" fmla="*/ 14509 w 47880"/>
                  <a:gd name="connsiteY3" fmla="*/ 1 h 26852"/>
                  <a:gd name="connsiteX4" fmla="*/ 14509 w 47880"/>
                  <a:gd name="connsiteY4" fmla="*/ 2507 h 26852"/>
                  <a:gd name="connsiteX5" fmla="*/ 11664 w 47880"/>
                  <a:gd name="connsiteY5" fmla="*/ 3261 h 26852"/>
                  <a:gd name="connsiteX6" fmla="*/ 21029 w 47880"/>
                  <a:gd name="connsiteY6" fmla="*/ 9272 h 26852"/>
                  <a:gd name="connsiteX7" fmla="*/ 17618 w 47880"/>
                  <a:gd name="connsiteY7" fmla="*/ 1659 h 26852"/>
                  <a:gd name="connsiteX8" fmla="*/ 21255 w 47880"/>
                  <a:gd name="connsiteY8" fmla="*/ 1 h 26852"/>
                  <a:gd name="connsiteX9" fmla="*/ 47881 w 47880"/>
                  <a:gd name="connsiteY9" fmla="*/ 1 h 26852"/>
                  <a:gd name="connsiteX10" fmla="*/ 31939 w 47880"/>
                  <a:gd name="connsiteY10" fmla="*/ 12362 h 26852"/>
                  <a:gd name="connsiteX11" fmla="*/ 30112 w 47880"/>
                  <a:gd name="connsiteY11" fmla="*/ 10647 h 26852"/>
                  <a:gd name="connsiteX12" fmla="*/ 37894 w 47880"/>
                  <a:gd name="connsiteY12" fmla="*/ 3355 h 26852"/>
                  <a:gd name="connsiteX13" fmla="*/ 23083 w 47880"/>
                  <a:gd name="connsiteY13" fmla="*/ 3355 h 26852"/>
                  <a:gd name="connsiteX14" fmla="*/ 22009 w 47880"/>
                  <a:gd name="connsiteY14" fmla="*/ 3845 h 26852"/>
                  <a:gd name="connsiteX15" fmla="*/ 38101 w 47880"/>
                  <a:gd name="connsiteY15" fmla="*/ 20201 h 26852"/>
                  <a:gd name="connsiteX16" fmla="*/ 41776 w 47880"/>
                  <a:gd name="connsiteY16" fmla="*/ 22613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0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8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39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1" y="6125"/>
                      <a:pt x="29641" y="14661"/>
                      <a:pt x="38101" y="20201"/>
                    </a:cubicBezTo>
                    <a:lnTo>
                      <a:pt x="41776" y="2261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88" name="Freihandform: Form 3187">
                <a:extLst>
                  <a:ext uri="{FF2B5EF4-FFF2-40B4-BE49-F238E27FC236}">
                    <a16:creationId xmlns:a16="http://schemas.microsoft.com/office/drawing/2014/main" id="{5F7BE0AC-4A3F-CCC1-588C-D7DF88668583}"/>
                  </a:ext>
                </a:extLst>
              </p:cNvPr>
              <p:cNvSpPr/>
              <p:nvPr/>
            </p:nvSpPr>
            <p:spPr>
              <a:xfrm>
                <a:off x="8169437" y="892579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7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7 h 59846"/>
                  <a:gd name="connsiteX10" fmla="*/ 30281 w 6056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8" y="0"/>
                      <a:pt x="0" y="13398"/>
                      <a:pt x="0" y="29923"/>
                    </a:cubicBezTo>
                    <a:cubicBezTo>
                      <a:pt x="0" y="46449"/>
                      <a:pt x="13549" y="59847"/>
                      <a:pt x="30281" y="59847"/>
                    </a:cubicBezTo>
                    <a:cubicBezTo>
                      <a:pt x="47015" y="59847"/>
                      <a:pt x="60563" y="46449"/>
                      <a:pt x="60563" y="29923"/>
                    </a:cubicBezTo>
                    <a:cubicBezTo>
                      <a:pt x="60563" y="13398"/>
                      <a:pt x="47015" y="0"/>
                      <a:pt x="30281" y="0"/>
                    </a:cubicBezTo>
                    <a:close/>
                    <a:moveTo>
                      <a:pt x="30281" y="57077"/>
                    </a:moveTo>
                    <a:cubicBezTo>
                      <a:pt x="15112" y="57077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7"/>
                      <a:pt x="30281" y="57077"/>
                    </a:cubicBezTo>
                    <a:lnTo>
                      <a:pt x="3028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05" name="Grafik 21">
              <a:extLst>
                <a:ext uri="{FF2B5EF4-FFF2-40B4-BE49-F238E27FC236}">
                  <a16:creationId xmlns:a16="http://schemas.microsoft.com/office/drawing/2014/main" id="{E31327DB-D2CB-C5E6-014B-5BE9C067403E}"/>
                </a:ext>
              </a:extLst>
            </p:cNvPr>
            <p:cNvGrpSpPr/>
            <p:nvPr/>
          </p:nvGrpSpPr>
          <p:grpSpPr>
            <a:xfrm>
              <a:off x="8131298" y="966068"/>
              <a:ext cx="59582" cy="59846"/>
              <a:chOff x="8131298" y="966068"/>
              <a:chExt cx="59582" cy="59846"/>
            </a:xfrm>
            <a:solidFill>
              <a:srgbClr val="000000"/>
            </a:solidFill>
          </p:grpSpPr>
          <p:sp>
            <p:nvSpPr>
              <p:cNvPr id="3185" name="Freihandform: Form 3184">
                <a:extLst>
                  <a:ext uri="{FF2B5EF4-FFF2-40B4-BE49-F238E27FC236}">
                    <a16:creationId xmlns:a16="http://schemas.microsoft.com/office/drawing/2014/main" id="{BA4C846C-3F92-D758-9F6E-26FDF4CF25B4}"/>
                  </a:ext>
                </a:extLst>
              </p:cNvPr>
              <p:cNvSpPr/>
              <p:nvPr/>
            </p:nvSpPr>
            <p:spPr>
              <a:xfrm>
                <a:off x="8137554" y="987190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86" name="Freihandform: Form 3185">
                <a:extLst>
                  <a:ext uri="{FF2B5EF4-FFF2-40B4-BE49-F238E27FC236}">
                    <a16:creationId xmlns:a16="http://schemas.microsoft.com/office/drawing/2014/main" id="{6B33F07F-F54E-4C84-C4BF-CB67879CAED1}"/>
                  </a:ext>
                </a:extLst>
              </p:cNvPr>
              <p:cNvSpPr/>
              <p:nvPr/>
            </p:nvSpPr>
            <p:spPr>
              <a:xfrm>
                <a:off x="8131298" y="966068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06" name="Grafik 21">
              <a:extLst>
                <a:ext uri="{FF2B5EF4-FFF2-40B4-BE49-F238E27FC236}">
                  <a16:creationId xmlns:a16="http://schemas.microsoft.com/office/drawing/2014/main" id="{86F84CE3-BAA6-BD63-D54C-D856BD5A249C}"/>
                </a:ext>
              </a:extLst>
            </p:cNvPr>
            <p:cNvGrpSpPr/>
            <p:nvPr/>
          </p:nvGrpSpPr>
          <p:grpSpPr>
            <a:xfrm>
              <a:off x="8152026" y="1007523"/>
              <a:ext cx="59582" cy="59846"/>
              <a:chOff x="8152026" y="1007523"/>
              <a:chExt cx="59582" cy="59846"/>
            </a:xfrm>
            <a:solidFill>
              <a:srgbClr val="000000"/>
            </a:solidFill>
          </p:grpSpPr>
          <p:sp>
            <p:nvSpPr>
              <p:cNvPr id="3183" name="Freihandform: Form 3182">
                <a:extLst>
                  <a:ext uri="{FF2B5EF4-FFF2-40B4-BE49-F238E27FC236}">
                    <a16:creationId xmlns:a16="http://schemas.microsoft.com/office/drawing/2014/main" id="{93C1B3BA-FDE6-00D5-52CF-074723B72455}"/>
                  </a:ext>
                </a:extLst>
              </p:cNvPr>
              <p:cNvSpPr/>
              <p:nvPr/>
            </p:nvSpPr>
            <p:spPr>
              <a:xfrm>
                <a:off x="8158282" y="1028646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84" name="Freihandform: Form 3183">
                <a:extLst>
                  <a:ext uri="{FF2B5EF4-FFF2-40B4-BE49-F238E27FC236}">
                    <a16:creationId xmlns:a16="http://schemas.microsoft.com/office/drawing/2014/main" id="{0812B229-4C7E-F6A0-6193-BCA133FD0875}"/>
                  </a:ext>
                </a:extLst>
              </p:cNvPr>
              <p:cNvSpPr/>
              <p:nvPr/>
            </p:nvSpPr>
            <p:spPr>
              <a:xfrm>
                <a:off x="8152026" y="1007523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07" name="Grafik 21">
              <a:extLst>
                <a:ext uri="{FF2B5EF4-FFF2-40B4-BE49-F238E27FC236}">
                  <a16:creationId xmlns:a16="http://schemas.microsoft.com/office/drawing/2014/main" id="{592021FA-1110-6384-CDFB-854147B863D8}"/>
                </a:ext>
              </a:extLst>
            </p:cNvPr>
            <p:cNvGrpSpPr/>
            <p:nvPr/>
          </p:nvGrpSpPr>
          <p:grpSpPr>
            <a:xfrm>
              <a:off x="8225967" y="1041441"/>
              <a:ext cx="60562" cy="59846"/>
              <a:chOff x="8225967" y="1041441"/>
              <a:chExt cx="60562" cy="59846"/>
            </a:xfrm>
            <a:solidFill>
              <a:srgbClr val="000000"/>
            </a:solidFill>
          </p:grpSpPr>
          <p:sp>
            <p:nvSpPr>
              <p:cNvPr id="3181" name="Freihandform: Form 3180">
                <a:extLst>
                  <a:ext uri="{FF2B5EF4-FFF2-40B4-BE49-F238E27FC236}">
                    <a16:creationId xmlns:a16="http://schemas.microsoft.com/office/drawing/2014/main" id="{F482D1E9-210F-E110-1373-DC6B1D6AC5A7}"/>
                  </a:ext>
                </a:extLst>
              </p:cNvPr>
              <p:cNvSpPr/>
              <p:nvPr/>
            </p:nvSpPr>
            <p:spPr>
              <a:xfrm>
                <a:off x="8232337" y="1062564"/>
                <a:ext cx="47880" cy="26852"/>
              </a:xfrm>
              <a:custGeom>
                <a:avLst/>
                <a:gdLst>
                  <a:gd name="connsiteX0" fmla="*/ 41776 w 47880"/>
                  <a:gd name="connsiteY0" fmla="*/ 22613 h 26852"/>
                  <a:gd name="connsiteX1" fmla="*/ 41776 w 47880"/>
                  <a:gd name="connsiteY1" fmla="*/ 26853 h 26852"/>
                  <a:gd name="connsiteX2" fmla="*/ 0 w 47880"/>
                  <a:gd name="connsiteY2" fmla="*/ 1 h 26852"/>
                  <a:gd name="connsiteX3" fmla="*/ 14509 w 47880"/>
                  <a:gd name="connsiteY3" fmla="*/ 1 h 26852"/>
                  <a:gd name="connsiteX4" fmla="*/ 14509 w 47880"/>
                  <a:gd name="connsiteY4" fmla="*/ 2507 h 26852"/>
                  <a:gd name="connsiteX5" fmla="*/ 11664 w 47880"/>
                  <a:gd name="connsiteY5" fmla="*/ 3261 h 26852"/>
                  <a:gd name="connsiteX6" fmla="*/ 21029 w 47880"/>
                  <a:gd name="connsiteY6" fmla="*/ 9272 h 26852"/>
                  <a:gd name="connsiteX7" fmla="*/ 17618 w 47880"/>
                  <a:gd name="connsiteY7" fmla="*/ 1659 h 26852"/>
                  <a:gd name="connsiteX8" fmla="*/ 21255 w 47880"/>
                  <a:gd name="connsiteY8" fmla="*/ 1 h 26852"/>
                  <a:gd name="connsiteX9" fmla="*/ 47881 w 47880"/>
                  <a:gd name="connsiteY9" fmla="*/ 1 h 26852"/>
                  <a:gd name="connsiteX10" fmla="*/ 31939 w 47880"/>
                  <a:gd name="connsiteY10" fmla="*/ 12362 h 26852"/>
                  <a:gd name="connsiteX11" fmla="*/ 30112 w 47880"/>
                  <a:gd name="connsiteY11" fmla="*/ 10647 h 26852"/>
                  <a:gd name="connsiteX12" fmla="*/ 37894 w 47880"/>
                  <a:gd name="connsiteY12" fmla="*/ 3355 h 26852"/>
                  <a:gd name="connsiteX13" fmla="*/ 23083 w 47880"/>
                  <a:gd name="connsiteY13" fmla="*/ 3355 h 26852"/>
                  <a:gd name="connsiteX14" fmla="*/ 22009 w 47880"/>
                  <a:gd name="connsiteY14" fmla="*/ 3845 h 26852"/>
                  <a:gd name="connsiteX15" fmla="*/ 38101 w 47880"/>
                  <a:gd name="connsiteY15" fmla="*/ 20201 h 26852"/>
                  <a:gd name="connsiteX16" fmla="*/ 41776 w 47880"/>
                  <a:gd name="connsiteY16" fmla="*/ 22613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0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8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39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1" y="6125"/>
                      <a:pt x="29641" y="14661"/>
                      <a:pt x="38101" y="20201"/>
                    </a:cubicBezTo>
                    <a:lnTo>
                      <a:pt x="41776" y="2261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82" name="Freihandform: Form 3181">
                <a:extLst>
                  <a:ext uri="{FF2B5EF4-FFF2-40B4-BE49-F238E27FC236}">
                    <a16:creationId xmlns:a16="http://schemas.microsoft.com/office/drawing/2014/main" id="{80179ED0-7F9E-F34B-27E2-2E845F6FC419}"/>
                  </a:ext>
                </a:extLst>
              </p:cNvPr>
              <p:cNvSpPr/>
              <p:nvPr/>
            </p:nvSpPr>
            <p:spPr>
              <a:xfrm>
                <a:off x="8225967" y="1041441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7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7 h 59846"/>
                  <a:gd name="connsiteX10" fmla="*/ 30281 w 6056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8" y="0"/>
                      <a:pt x="0" y="13398"/>
                      <a:pt x="0" y="29923"/>
                    </a:cubicBezTo>
                    <a:cubicBezTo>
                      <a:pt x="0" y="46449"/>
                      <a:pt x="13549" y="59847"/>
                      <a:pt x="30281" y="59847"/>
                    </a:cubicBezTo>
                    <a:cubicBezTo>
                      <a:pt x="47015" y="59847"/>
                      <a:pt x="60563" y="46449"/>
                      <a:pt x="60563" y="29923"/>
                    </a:cubicBezTo>
                    <a:cubicBezTo>
                      <a:pt x="60563" y="13398"/>
                      <a:pt x="47015" y="0"/>
                      <a:pt x="30281" y="0"/>
                    </a:cubicBezTo>
                    <a:close/>
                    <a:moveTo>
                      <a:pt x="30281" y="57077"/>
                    </a:moveTo>
                    <a:cubicBezTo>
                      <a:pt x="15112" y="57077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7"/>
                      <a:pt x="30281" y="57077"/>
                    </a:cubicBezTo>
                    <a:lnTo>
                      <a:pt x="3028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08" name="Grafik 21">
              <a:extLst>
                <a:ext uri="{FF2B5EF4-FFF2-40B4-BE49-F238E27FC236}">
                  <a16:creationId xmlns:a16="http://schemas.microsoft.com/office/drawing/2014/main" id="{166300AD-C97C-A391-53C7-E3FF8F4DBF42}"/>
                </a:ext>
              </a:extLst>
            </p:cNvPr>
            <p:cNvGrpSpPr/>
            <p:nvPr/>
          </p:nvGrpSpPr>
          <p:grpSpPr>
            <a:xfrm>
              <a:off x="8323501" y="875620"/>
              <a:ext cx="59582" cy="59846"/>
              <a:chOff x="8323501" y="875620"/>
              <a:chExt cx="59582" cy="59846"/>
            </a:xfrm>
            <a:solidFill>
              <a:srgbClr val="000000"/>
            </a:solidFill>
          </p:grpSpPr>
          <p:sp>
            <p:nvSpPr>
              <p:cNvPr id="3179" name="Freihandform: Form 3178">
                <a:extLst>
                  <a:ext uri="{FF2B5EF4-FFF2-40B4-BE49-F238E27FC236}">
                    <a16:creationId xmlns:a16="http://schemas.microsoft.com/office/drawing/2014/main" id="{0E4F2E99-B684-F40F-A75F-DA863A58355D}"/>
                  </a:ext>
                </a:extLst>
              </p:cNvPr>
              <p:cNvSpPr/>
              <p:nvPr/>
            </p:nvSpPr>
            <p:spPr>
              <a:xfrm>
                <a:off x="8329757" y="896742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80" name="Freihandform: Form 3179">
                <a:extLst>
                  <a:ext uri="{FF2B5EF4-FFF2-40B4-BE49-F238E27FC236}">
                    <a16:creationId xmlns:a16="http://schemas.microsoft.com/office/drawing/2014/main" id="{6D6689D5-5296-3854-8493-4EA7E0CD2B09}"/>
                  </a:ext>
                </a:extLst>
              </p:cNvPr>
              <p:cNvSpPr/>
              <p:nvPr/>
            </p:nvSpPr>
            <p:spPr>
              <a:xfrm>
                <a:off x="8323501" y="875620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09" name="Grafik 21">
              <a:extLst>
                <a:ext uri="{FF2B5EF4-FFF2-40B4-BE49-F238E27FC236}">
                  <a16:creationId xmlns:a16="http://schemas.microsoft.com/office/drawing/2014/main" id="{A0613464-5720-391A-4088-1D97CED161E2}"/>
                </a:ext>
              </a:extLst>
            </p:cNvPr>
            <p:cNvGrpSpPr/>
            <p:nvPr/>
          </p:nvGrpSpPr>
          <p:grpSpPr>
            <a:xfrm>
              <a:off x="8472363" y="999590"/>
              <a:ext cx="59582" cy="58753"/>
              <a:chOff x="8472363" y="999590"/>
              <a:chExt cx="59582" cy="58753"/>
            </a:xfrm>
            <a:solidFill>
              <a:srgbClr val="000000"/>
            </a:solidFill>
          </p:grpSpPr>
          <p:sp>
            <p:nvSpPr>
              <p:cNvPr id="3177" name="Freihandform: Form 3176">
                <a:extLst>
                  <a:ext uri="{FF2B5EF4-FFF2-40B4-BE49-F238E27FC236}">
                    <a16:creationId xmlns:a16="http://schemas.microsoft.com/office/drawing/2014/main" id="{D751BFAD-EF14-0557-514D-CB25928A6B65}"/>
                  </a:ext>
                </a:extLst>
              </p:cNvPr>
              <p:cNvSpPr/>
              <p:nvPr/>
            </p:nvSpPr>
            <p:spPr>
              <a:xfrm>
                <a:off x="8478619" y="1020336"/>
                <a:ext cx="47089" cy="26362"/>
              </a:xfrm>
              <a:custGeom>
                <a:avLst/>
                <a:gdLst>
                  <a:gd name="connsiteX0" fmla="*/ 41098 w 47089"/>
                  <a:gd name="connsiteY0" fmla="*/ 22198 h 26362"/>
                  <a:gd name="connsiteX1" fmla="*/ 41098 w 47089"/>
                  <a:gd name="connsiteY1" fmla="*/ 26363 h 26362"/>
                  <a:gd name="connsiteX2" fmla="*/ 0 w 47089"/>
                  <a:gd name="connsiteY2" fmla="*/ 20 h 26362"/>
                  <a:gd name="connsiteX3" fmla="*/ 14265 w 47089"/>
                  <a:gd name="connsiteY3" fmla="*/ 20 h 26362"/>
                  <a:gd name="connsiteX4" fmla="*/ 14265 w 47089"/>
                  <a:gd name="connsiteY4" fmla="*/ 2469 h 26362"/>
                  <a:gd name="connsiteX5" fmla="*/ 11457 w 47089"/>
                  <a:gd name="connsiteY5" fmla="*/ 3204 h 26362"/>
                  <a:gd name="connsiteX6" fmla="*/ 20671 w 47089"/>
                  <a:gd name="connsiteY6" fmla="*/ 9102 h 26362"/>
                  <a:gd name="connsiteX7" fmla="*/ 17317 w 47089"/>
                  <a:gd name="connsiteY7" fmla="*/ 1621 h 26362"/>
                  <a:gd name="connsiteX8" fmla="*/ 20897 w 47089"/>
                  <a:gd name="connsiteY8" fmla="*/ 1 h 26362"/>
                  <a:gd name="connsiteX9" fmla="*/ 47090 w 47089"/>
                  <a:gd name="connsiteY9" fmla="*/ 1 h 26362"/>
                  <a:gd name="connsiteX10" fmla="*/ 31412 w 47089"/>
                  <a:gd name="connsiteY10" fmla="*/ 12136 h 26362"/>
                  <a:gd name="connsiteX11" fmla="*/ 29622 w 47089"/>
                  <a:gd name="connsiteY11" fmla="*/ 10440 h 26362"/>
                  <a:gd name="connsiteX12" fmla="*/ 37291 w 47089"/>
                  <a:gd name="connsiteY12" fmla="*/ 3280 h 26362"/>
                  <a:gd name="connsiteX13" fmla="*/ 22725 w 47089"/>
                  <a:gd name="connsiteY13" fmla="*/ 3280 h 26362"/>
                  <a:gd name="connsiteX14" fmla="*/ 21670 w 47089"/>
                  <a:gd name="connsiteY14" fmla="*/ 3770 h 26362"/>
                  <a:gd name="connsiteX15" fmla="*/ 37498 w 47089"/>
                  <a:gd name="connsiteY15" fmla="*/ 19824 h 26362"/>
                  <a:gd name="connsiteX16" fmla="*/ 41116 w 47089"/>
                  <a:gd name="connsiteY16" fmla="*/ 22198 h 26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362">
                    <a:moveTo>
                      <a:pt x="41098" y="22198"/>
                    </a:moveTo>
                    <a:lnTo>
                      <a:pt x="41098" y="26363"/>
                    </a:lnTo>
                    <a:lnTo>
                      <a:pt x="0" y="20"/>
                    </a:lnTo>
                    <a:lnTo>
                      <a:pt x="14265" y="20"/>
                    </a:lnTo>
                    <a:lnTo>
                      <a:pt x="14265" y="2469"/>
                    </a:lnTo>
                    <a:lnTo>
                      <a:pt x="11457" y="3204"/>
                    </a:lnTo>
                    <a:lnTo>
                      <a:pt x="20671" y="9102"/>
                    </a:lnTo>
                    <a:cubicBezTo>
                      <a:pt x="20671" y="9102"/>
                      <a:pt x="15734" y="4806"/>
                      <a:pt x="17317" y="1621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136"/>
                    </a:lnTo>
                    <a:lnTo>
                      <a:pt x="29622" y="10440"/>
                    </a:lnTo>
                    <a:lnTo>
                      <a:pt x="37291" y="3280"/>
                    </a:lnTo>
                    <a:lnTo>
                      <a:pt x="22725" y="3280"/>
                    </a:lnTo>
                    <a:cubicBezTo>
                      <a:pt x="22574" y="3280"/>
                      <a:pt x="21896" y="3242"/>
                      <a:pt x="21670" y="3770"/>
                    </a:cubicBezTo>
                    <a:cubicBezTo>
                      <a:pt x="20671" y="6012"/>
                      <a:pt x="29188" y="14378"/>
                      <a:pt x="37498" y="19824"/>
                    </a:cubicBezTo>
                    <a:lnTo>
                      <a:pt x="41116" y="2219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78" name="Freihandform: Form 3177">
                <a:extLst>
                  <a:ext uri="{FF2B5EF4-FFF2-40B4-BE49-F238E27FC236}">
                    <a16:creationId xmlns:a16="http://schemas.microsoft.com/office/drawing/2014/main" id="{183D972F-015F-1C1D-BD95-D165F099AB50}"/>
                  </a:ext>
                </a:extLst>
              </p:cNvPr>
              <p:cNvSpPr/>
              <p:nvPr/>
            </p:nvSpPr>
            <p:spPr>
              <a:xfrm>
                <a:off x="8472363" y="999590"/>
                <a:ext cx="59582" cy="58753"/>
              </a:xfrm>
              <a:custGeom>
                <a:avLst/>
                <a:gdLst>
                  <a:gd name="connsiteX0" fmla="*/ 29791 w 59582"/>
                  <a:gd name="connsiteY0" fmla="*/ 0 h 58753"/>
                  <a:gd name="connsiteX1" fmla="*/ 0 w 59582"/>
                  <a:gd name="connsiteY1" fmla="*/ 29377 h 58753"/>
                  <a:gd name="connsiteX2" fmla="*/ 29791 w 59582"/>
                  <a:gd name="connsiteY2" fmla="*/ 58754 h 58753"/>
                  <a:gd name="connsiteX3" fmla="*/ 59583 w 59582"/>
                  <a:gd name="connsiteY3" fmla="*/ 29377 h 58753"/>
                  <a:gd name="connsiteX4" fmla="*/ 29791 w 59582"/>
                  <a:gd name="connsiteY4" fmla="*/ 0 h 58753"/>
                  <a:gd name="connsiteX5" fmla="*/ 29791 w 59582"/>
                  <a:gd name="connsiteY5" fmla="*/ 56021 h 58753"/>
                  <a:gd name="connsiteX6" fmla="*/ 2770 w 59582"/>
                  <a:gd name="connsiteY6" fmla="*/ 29377 h 58753"/>
                  <a:gd name="connsiteX7" fmla="*/ 29791 w 59582"/>
                  <a:gd name="connsiteY7" fmla="*/ 2732 h 58753"/>
                  <a:gd name="connsiteX8" fmla="*/ 56813 w 59582"/>
                  <a:gd name="connsiteY8" fmla="*/ 29377 h 58753"/>
                  <a:gd name="connsiteX9" fmla="*/ 29791 w 59582"/>
                  <a:gd name="connsiteY9" fmla="*/ 56021 h 58753"/>
                  <a:gd name="connsiteX10" fmla="*/ 29791 w 59582"/>
                  <a:gd name="connsiteY10" fmla="*/ 56021 h 58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8753">
                    <a:moveTo>
                      <a:pt x="29791" y="0"/>
                    </a:moveTo>
                    <a:cubicBezTo>
                      <a:pt x="13341" y="0"/>
                      <a:pt x="0" y="13153"/>
                      <a:pt x="0" y="29377"/>
                    </a:cubicBezTo>
                    <a:cubicBezTo>
                      <a:pt x="0" y="45601"/>
                      <a:pt x="13341" y="58754"/>
                      <a:pt x="29791" y="58754"/>
                    </a:cubicBezTo>
                    <a:cubicBezTo>
                      <a:pt x="46242" y="58754"/>
                      <a:pt x="59583" y="45601"/>
                      <a:pt x="59583" y="29377"/>
                    </a:cubicBezTo>
                    <a:cubicBezTo>
                      <a:pt x="59583" y="13153"/>
                      <a:pt x="46242" y="0"/>
                      <a:pt x="29791" y="0"/>
                    </a:cubicBezTo>
                    <a:close/>
                    <a:moveTo>
                      <a:pt x="29791" y="56021"/>
                    </a:moveTo>
                    <a:cubicBezTo>
                      <a:pt x="14868" y="56021"/>
                      <a:pt x="2770" y="44093"/>
                      <a:pt x="2770" y="29377"/>
                    </a:cubicBezTo>
                    <a:cubicBezTo>
                      <a:pt x="2770" y="14660"/>
                      <a:pt x="14868" y="2732"/>
                      <a:pt x="29791" y="2732"/>
                    </a:cubicBezTo>
                    <a:cubicBezTo>
                      <a:pt x="44715" y="2732"/>
                      <a:pt x="56813" y="14660"/>
                      <a:pt x="56813" y="29377"/>
                    </a:cubicBezTo>
                    <a:cubicBezTo>
                      <a:pt x="56813" y="44093"/>
                      <a:pt x="44715" y="56021"/>
                      <a:pt x="29791" y="56021"/>
                    </a:cubicBezTo>
                    <a:lnTo>
                      <a:pt x="29791" y="5602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10" name="Grafik 21">
              <a:extLst>
                <a:ext uri="{FF2B5EF4-FFF2-40B4-BE49-F238E27FC236}">
                  <a16:creationId xmlns:a16="http://schemas.microsoft.com/office/drawing/2014/main" id="{1BB02693-A229-7A38-21D0-7F2AE64C6ABD}"/>
                </a:ext>
              </a:extLst>
            </p:cNvPr>
            <p:cNvGrpSpPr/>
            <p:nvPr/>
          </p:nvGrpSpPr>
          <p:grpSpPr>
            <a:xfrm>
              <a:off x="8479901" y="1073475"/>
              <a:ext cx="59582" cy="59846"/>
              <a:chOff x="8479901" y="1073475"/>
              <a:chExt cx="59582" cy="59846"/>
            </a:xfrm>
            <a:solidFill>
              <a:srgbClr val="000000"/>
            </a:solidFill>
          </p:grpSpPr>
          <p:sp>
            <p:nvSpPr>
              <p:cNvPr id="3175" name="Freihandform: Form 3174">
                <a:extLst>
                  <a:ext uri="{FF2B5EF4-FFF2-40B4-BE49-F238E27FC236}">
                    <a16:creationId xmlns:a16="http://schemas.microsoft.com/office/drawing/2014/main" id="{5CE2EA6D-D7BF-9D76-3A67-AD98043017EB}"/>
                  </a:ext>
                </a:extLst>
              </p:cNvPr>
              <p:cNvSpPr/>
              <p:nvPr/>
            </p:nvSpPr>
            <p:spPr>
              <a:xfrm>
                <a:off x="8486157" y="1094597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76" name="Freihandform: Form 3175">
                <a:extLst>
                  <a:ext uri="{FF2B5EF4-FFF2-40B4-BE49-F238E27FC236}">
                    <a16:creationId xmlns:a16="http://schemas.microsoft.com/office/drawing/2014/main" id="{BCD4DC6D-FDFF-AF5E-4523-EE7451874D8E}"/>
                  </a:ext>
                </a:extLst>
              </p:cNvPr>
              <p:cNvSpPr/>
              <p:nvPr/>
            </p:nvSpPr>
            <p:spPr>
              <a:xfrm>
                <a:off x="8479901" y="1073475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11" name="Grafik 21">
              <a:extLst>
                <a:ext uri="{FF2B5EF4-FFF2-40B4-BE49-F238E27FC236}">
                  <a16:creationId xmlns:a16="http://schemas.microsoft.com/office/drawing/2014/main" id="{F19BFA05-25A7-7A58-3F43-5065B211BCF1}"/>
                </a:ext>
              </a:extLst>
            </p:cNvPr>
            <p:cNvGrpSpPr/>
            <p:nvPr/>
          </p:nvGrpSpPr>
          <p:grpSpPr>
            <a:xfrm>
              <a:off x="8538315" y="1105509"/>
              <a:ext cx="59582" cy="59846"/>
              <a:chOff x="8538315" y="1105509"/>
              <a:chExt cx="59582" cy="59846"/>
            </a:xfrm>
            <a:solidFill>
              <a:srgbClr val="000000"/>
            </a:solidFill>
          </p:grpSpPr>
          <p:sp>
            <p:nvSpPr>
              <p:cNvPr id="3173" name="Freihandform: Form 3172">
                <a:extLst>
                  <a:ext uri="{FF2B5EF4-FFF2-40B4-BE49-F238E27FC236}">
                    <a16:creationId xmlns:a16="http://schemas.microsoft.com/office/drawing/2014/main" id="{4DE25838-5AF7-485B-CD98-42F9E14F3D63}"/>
                  </a:ext>
                </a:extLst>
              </p:cNvPr>
              <p:cNvSpPr/>
              <p:nvPr/>
            </p:nvSpPr>
            <p:spPr>
              <a:xfrm>
                <a:off x="8544571" y="1126631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74" name="Freihandform: Form 3173">
                <a:extLst>
                  <a:ext uri="{FF2B5EF4-FFF2-40B4-BE49-F238E27FC236}">
                    <a16:creationId xmlns:a16="http://schemas.microsoft.com/office/drawing/2014/main" id="{9400FC15-1352-248D-39EF-F9A49E602FD1}"/>
                  </a:ext>
                </a:extLst>
              </p:cNvPr>
              <p:cNvSpPr/>
              <p:nvPr/>
            </p:nvSpPr>
            <p:spPr>
              <a:xfrm>
                <a:off x="8538315" y="1105509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12" name="Grafik 21">
              <a:extLst>
                <a:ext uri="{FF2B5EF4-FFF2-40B4-BE49-F238E27FC236}">
                  <a16:creationId xmlns:a16="http://schemas.microsoft.com/office/drawing/2014/main" id="{01221C8E-05C7-522F-502F-BD44FC965768}"/>
                </a:ext>
              </a:extLst>
            </p:cNvPr>
            <p:cNvGrpSpPr/>
            <p:nvPr/>
          </p:nvGrpSpPr>
          <p:grpSpPr>
            <a:xfrm>
              <a:off x="8500628" y="1154501"/>
              <a:ext cx="59582" cy="59846"/>
              <a:chOff x="8500628" y="1154501"/>
              <a:chExt cx="59582" cy="59846"/>
            </a:xfrm>
            <a:solidFill>
              <a:srgbClr val="000000"/>
            </a:solidFill>
          </p:grpSpPr>
          <p:sp>
            <p:nvSpPr>
              <p:cNvPr id="3171" name="Freihandform: Form 3170">
                <a:extLst>
                  <a:ext uri="{FF2B5EF4-FFF2-40B4-BE49-F238E27FC236}">
                    <a16:creationId xmlns:a16="http://schemas.microsoft.com/office/drawing/2014/main" id="{A32FEA47-3CAD-71F4-EB78-D045B801166A}"/>
                  </a:ext>
                </a:extLst>
              </p:cNvPr>
              <p:cNvSpPr/>
              <p:nvPr/>
            </p:nvSpPr>
            <p:spPr>
              <a:xfrm>
                <a:off x="8506884" y="1175624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72" name="Freihandform: Form 3171">
                <a:extLst>
                  <a:ext uri="{FF2B5EF4-FFF2-40B4-BE49-F238E27FC236}">
                    <a16:creationId xmlns:a16="http://schemas.microsoft.com/office/drawing/2014/main" id="{9BE9BBCC-AA45-187A-00C6-80C88CD477FF}"/>
                  </a:ext>
                </a:extLst>
              </p:cNvPr>
              <p:cNvSpPr/>
              <p:nvPr/>
            </p:nvSpPr>
            <p:spPr>
              <a:xfrm>
                <a:off x="8500628" y="1154501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13" name="Grafik 21">
              <a:extLst>
                <a:ext uri="{FF2B5EF4-FFF2-40B4-BE49-F238E27FC236}">
                  <a16:creationId xmlns:a16="http://schemas.microsoft.com/office/drawing/2014/main" id="{4E221714-657F-12DF-8DF2-2C49DE36FDA3}"/>
                </a:ext>
              </a:extLst>
            </p:cNvPr>
            <p:cNvGrpSpPr/>
            <p:nvPr/>
          </p:nvGrpSpPr>
          <p:grpSpPr>
            <a:xfrm>
              <a:off x="8387568" y="1173345"/>
              <a:ext cx="59582" cy="59846"/>
              <a:chOff x="8387568" y="1173345"/>
              <a:chExt cx="59582" cy="59846"/>
            </a:xfrm>
            <a:solidFill>
              <a:srgbClr val="000000"/>
            </a:solidFill>
          </p:grpSpPr>
          <p:sp>
            <p:nvSpPr>
              <p:cNvPr id="3169" name="Freihandform: Form 3168">
                <a:extLst>
                  <a:ext uri="{FF2B5EF4-FFF2-40B4-BE49-F238E27FC236}">
                    <a16:creationId xmlns:a16="http://schemas.microsoft.com/office/drawing/2014/main" id="{71F94244-DBE9-20DA-22CD-07E1DA94E6F2}"/>
                  </a:ext>
                </a:extLst>
              </p:cNvPr>
              <p:cNvSpPr/>
              <p:nvPr/>
            </p:nvSpPr>
            <p:spPr>
              <a:xfrm>
                <a:off x="8393824" y="1194467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70" name="Freihandform: Form 3169">
                <a:extLst>
                  <a:ext uri="{FF2B5EF4-FFF2-40B4-BE49-F238E27FC236}">
                    <a16:creationId xmlns:a16="http://schemas.microsoft.com/office/drawing/2014/main" id="{657D2506-F7C7-B494-8D23-4BF8F92D85A9}"/>
                  </a:ext>
                </a:extLst>
              </p:cNvPr>
              <p:cNvSpPr/>
              <p:nvPr/>
            </p:nvSpPr>
            <p:spPr>
              <a:xfrm>
                <a:off x="8387568" y="1173345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14" name="Grafik 21">
              <a:extLst>
                <a:ext uri="{FF2B5EF4-FFF2-40B4-BE49-F238E27FC236}">
                  <a16:creationId xmlns:a16="http://schemas.microsoft.com/office/drawing/2014/main" id="{EDE6F979-A1CD-2AD2-D3A9-DA2C37DF0B17}"/>
                </a:ext>
              </a:extLst>
            </p:cNvPr>
            <p:cNvGrpSpPr/>
            <p:nvPr/>
          </p:nvGrpSpPr>
          <p:grpSpPr>
            <a:xfrm>
              <a:off x="8334807" y="1165807"/>
              <a:ext cx="59582" cy="59846"/>
              <a:chOff x="8334807" y="1165807"/>
              <a:chExt cx="59582" cy="59846"/>
            </a:xfrm>
            <a:solidFill>
              <a:srgbClr val="000000"/>
            </a:solidFill>
          </p:grpSpPr>
          <p:sp>
            <p:nvSpPr>
              <p:cNvPr id="3167" name="Freihandform: Form 3166">
                <a:extLst>
                  <a:ext uri="{FF2B5EF4-FFF2-40B4-BE49-F238E27FC236}">
                    <a16:creationId xmlns:a16="http://schemas.microsoft.com/office/drawing/2014/main" id="{6CF0BB2F-7F4E-6603-68CB-E49045CBF367}"/>
                  </a:ext>
                </a:extLst>
              </p:cNvPr>
              <p:cNvSpPr/>
              <p:nvPr/>
            </p:nvSpPr>
            <p:spPr>
              <a:xfrm>
                <a:off x="8341063" y="1186930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68" name="Freihandform: Form 3167">
                <a:extLst>
                  <a:ext uri="{FF2B5EF4-FFF2-40B4-BE49-F238E27FC236}">
                    <a16:creationId xmlns:a16="http://schemas.microsoft.com/office/drawing/2014/main" id="{63623335-C086-2F64-9262-C9A46445B33E}"/>
                  </a:ext>
                </a:extLst>
              </p:cNvPr>
              <p:cNvSpPr/>
              <p:nvPr/>
            </p:nvSpPr>
            <p:spPr>
              <a:xfrm>
                <a:off x="8334807" y="1165807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15" name="Grafik 21">
              <a:extLst>
                <a:ext uri="{FF2B5EF4-FFF2-40B4-BE49-F238E27FC236}">
                  <a16:creationId xmlns:a16="http://schemas.microsoft.com/office/drawing/2014/main" id="{41CFFD0C-0F85-8C74-3752-0D7FC68E4328}"/>
                </a:ext>
              </a:extLst>
            </p:cNvPr>
            <p:cNvGrpSpPr/>
            <p:nvPr/>
          </p:nvGrpSpPr>
          <p:grpSpPr>
            <a:xfrm>
              <a:off x="8698484" y="1056516"/>
              <a:ext cx="59582" cy="59846"/>
              <a:chOff x="8698484" y="1056516"/>
              <a:chExt cx="59582" cy="59846"/>
            </a:xfrm>
            <a:solidFill>
              <a:srgbClr val="000000"/>
            </a:solidFill>
          </p:grpSpPr>
          <p:sp>
            <p:nvSpPr>
              <p:cNvPr id="3165" name="Freihandform: Form 3164">
                <a:extLst>
                  <a:ext uri="{FF2B5EF4-FFF2-40B4-BE49-F238E27FC236}">
                    <a16:creationId xmlns:a16="http://schemas.microsoft.com/office/drawing/2014/main" id="{77EDCBE8-CBE1-C9AD-5FF5-B0320099B3CE}"/>
                  </a:ext>
                </a:extLst>
              </p:cNvPr>
              <p:cNvSpPr/>
              <p:nvPr/>
            </p:nvSpPr>
            <p:spPr>
              <a:xfrm>
                <a:off x="8704740" y="1077638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66" name="Freihandform: Form 3165">
                <a:extLst>
                  <a:ext uri="{FF2B5EF4-FFF2-40B4-BE49-F238E27FC236}">
                    <a16:creationId xmlns:a16="http://schemas.microsoft.com/office/drawing/2014/main" id="{A14BA7EF-1817-29A7-F475-1715CFC5EE51}"/>
                  </a:ext>
                </a:extLst>
              </p:cNvPr>
              <p:cNvSpPr/>
              <p:nvPr/>
            </p:nvSpPr>
            <p:spPr>
              <a:xfrm>
                <a:off x="8698484" y="1056516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16" name="Grafik 21">
              <a:extLst>
                <a:ext uri="{FF2B5EF4-FFF2-40B4-BE49-F238E27FC236}">
                  <a16:creationId xmlns:a16="http://schemas.microsoft.com/office/drawing/2014/main" id="{0F694131-9A92-E6B6-CB3E-6FAEEA580327}"/>
                </a:ext>
              </a:extLst>
            </p:cNvPr>
            <p:cNvGrpSpPr/>
            <p:nvPr/>
          </p:nvGrpSpPr>
          <p:grpSpPr>
            <a:xfrm>
              <a:off x="8813881" y="1209147"/>
              <a:ext cx="60562" cy="59846"/>
              <a:chOff x="8813881" y="1209147"/>
              <a:chExt cx="60562" cy="59846"/>
            </a:xfrm>
            <a:solidFill>
              <a:srgbClr val="000000"/>
            </a:solidFill>
          </p:grpSpPr>
          <p:sp>
            <p:nvSpPr>
              <p:cNvPr id="3163" name="Freihandform: Form 3162">
                <a:extLst>
                  <a:ext uri="{FF2B5EF4-FFF2-40B4-BE49-F238E27FC236}">
                    <a16:creationId xmlns:a16="http://schemas.microsoft.com/office/drawing/2014/main" id="{D70CCEAE-3FB0-BE56-237D-8C6AEB5F2921}"/>
                  </a:ext>
                </a:extLst>
              </p:cNvPr>
              <p:cNvSpPr/>
              <p:nvPr/>
            </p:nvSpPr>
            <p:spPr>
              <a:xfrm>
                <a:off x="8820250" y="1230270"/>
                <a:ext cx="47880" cy="26852"/>
              </a:xfrm>
              <a:custGeom>
                <a:avLst/>
                <a:gdLst>
                  <a:gd name="connsiteX0" fmla="*/ 41776 w 47880"/>
                  <a:gd name="connsiteY0" fmla="*/ 22613 h 26852"/>
                  <a:gd name="connsiteX1" fmla="*/ 41776 w 47880"/>
                  <a:gd name="connsiteY1" fmla="*/ 26853 h 26852"/>
                  <a:gd name="connsiteX2" fmla="*/ 0 w 47880"/>
                  <a:gd name="connsiteY2" fmla="*/ 1 h 26852"/>
                  <a:gd name="connsiteX3" fmla="*/ 14509 w 47880"/>
                  <a:gd name="connsiteY3" fmla="*/ 1 h 26852"/>
                  <a:gd name="connsiteX4" fmla="*/ 14509 w 47880"/>
                  <a:gd name="connsiteY4" fmla="*/ 2507 h 26852"/>
                  <a:gd name="connsiteX5" fmla="*/ 11664 w 47880"/>
                  <a:gd name="connsiteY5" fmla="*/ 3261 h 26852"/>
                  <a:gd name="connsiteX6" fmla="*/ 21029 w 47880"/>
                  <a:gd name="connsiteY6" fmla="*/ 9272 h 26852"/>
                  <a:gd name="connsiteX7" fmla="*/ 17618 w 47880"/>
                  <a:gd name="connsiteY7" fmla="*/ 1659 h 26852"/>
                  <a:gd name="connsiteX8" fmla="*/ 21255 w 47880"/>
                  <a:gd name="connsiteY8" fmla="*/ 1 h 26852"/>
                  <a:gd name="connsiteX9" fmla="*/ 47881 w 47880"/>
                  <a:gd name="connsiteY9" fmla="*/ 1 h 26852"/>
                  <a:gd name="connsiteX10" fmla="*/ 31939 w 47880"/>
                  <a:gd name="connsiteY10" fmla="*/ 12362 h 26852"/>
                  <a:gd name="connsiteX11" fmla="*/ 30112 w 47880"/>
                  <a:gd name="connsiteY11" fmla="*/ 10647 h 26852"/>
                  <a:gd name="connsiteX12" fmla="*/ 37894 w 47880"/>
                  <a:gd name="connsiteY12" fmla="*/ 3355 h 26852"/>
                  <a:gd name="connsiteX13" fmla="*/ 23083 w 47880"/>
                  <a:gd name="connsiteY13" fmla="*/ 3355 h 26852"/>
                  <a:gd name="connsiteX14" fmla="*/ 22009 w 47880"/>
                  <a:gd name="connsiteY14" fmla="*/ 3845 h 26852"/>
                  <a:gd name="connsiteX15" fmla="*/ 38101 w 47880"/>
                  <a:gd name="connsiteY15" fmla="*/ 20201 h 26852"/>
                  <a:gd name="connsiteX16" fmla="*/ 41776 w 47880"/>
                  <a:gd name="connsiteY16" fmla="*/ 22613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0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8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39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1" y="6125"/>
                      <a:pt x="29641" y="14661"/>
                      <a:pt x="38101" y="20201"/>
                    </a:cubicBezTo>
                    <a:lnTo>
                      <a:pt x="41776" y="2261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64" name="Freihandform: Form 3163">
                <a:extLst>
                  <a:ext uri="{FF2B5EF4-FFF2-40B4-BE49-F238E27FC236}">
                    <a16:creationId xmlns:a16="http://schemas.microsoft.com/office/drawing/2014/main" id="{27D63B52-92D2-45E2-3D88-AD3CD433E1C9}"/>
                  </a:ext>
                </a:extLst>
              </p:cNvPr>
              <p:cNvSpPr/>
              <p:nvPr/>
            </p:nvSpPr>
            <p:spPr>
              <a:xfrm>
                <a:off x="8813881" y="1209147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7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7 h 59846"/>
                  <a:gd name="connsiteX10" fmla="*/ 30281 w 6056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8" y="0"/>
                      <a:pt x="0" y="13398"/>
                      <a:pt x="0" y="29923"/>
                    </a:cubicBezTo>
                    <a:cubicBezTo>
                      <a:pt x="0" y="46449"/>
                      <a:pt x="13549" y="59847"/>
                      <a:pt x="30281" y="59847"/>
                    </a:cubicBezTo>
                    <a:cubicBezTo>
                      <a:pt x="47015" y="59847"/>
                      <a:pt x="60563" y="46449"/>
                      <a:pt x="60563" y="29923"/>
                    </a:cubicBezTo>
                    <a:cubicBezTo>
                      <a:pt x="60563" y="13398"/>
                      <a:pt x="47015" y="0"/>
                      <a:pt x="30281" y="0"/>
                    </a:cubicBezTo>
                    <a:close/>
                    <a:moveTo>
                      <a:pt x="30281" y="57077"/>
                    </a:moveTo>
                    <a:cubicBezTo>
                      <a:pt x="15112" y="57077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7"/>
                      <a:pt x="30281" y="57077"/>
                    </a:cubicBezTo>
                    <a:lnTo>
                      <a:pt x="3028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17" name="Grafik 21">
              <a:extLst>
                <a:ext uri="{FF2B5EF4-FFF2-40B4-BE49-F238E27FC236}">
                  <a16:creationId xmlns:a16="http://schemas.microsoft.com/office/drawing/2014/main" id="{59B49FE4-E953-B4AC-E99A-B3C8BC9F9887}"/>
                </a:ext>
              </a:extLst>
            </p:cNvPr>
            <p:cNvGrpSpPr/>
            <p:nvPr/>
          </p:nvGrpSpPr>
          <p:grpSpPr>
            <a:xfrm>
              <a:off x="8054040" y="1919542"/>
              <a:ext cx="59582" cy="59846"/>
              <a:chOff x="8054040" y="1919542"/>
              <a:chExt cx="59582" cy="59846"/>
            </a:xfrm>
            <a:solidFill>
              <a:srgbClr val="000000"/>
            </a:solidFill>
          </p:grpSpPr>
          <p:sp>
            <p:nvSpPr>
              <p:cNvPr id="3161" name="Freihandform: Form 3160">
                <a:extLst>
                  <a:ext uri="{FF2B5EF4-FFF2-40B4-BE49-F238E27FC236}">
                    <a16:creationId xmlns:a16="http://schemas.microsoft.com/office/drawing/2014/main" id="{50AADAAC-597D-6AA9-0076-F75205BA513E}"/>
                  </a:ext>
                </a:extLst>
              </p:cNvPr>
              <p:cNvSpPr/>
              <p:nvPr/>
            </p:nvSpPr>
            <p:spPr>
              <a:xfrm>
                <a:off x="8060296" y="1940665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62" name="Freihandform: Form 3161">
                <a:extLst>
                  <a:ext uri="{FF2B5EF4-FFF2-40B4-BE49-F238E27FC236}">
                    <a16:creationId xmlns:a16="http://schemas.microsoft.com/office/drawing/2014/main" id="{83F4FD7E-E6DA-0C56-5ADE-160D014F7399}"/>
                  </a:ext>
                </a:extLst>
              </p:cNvPr>
              <p:cNvSpPr/>
              <p:nvPr/>
            </p:nvSpPr>
            <p:spPr>
              <a:xfrm>
                <a:off x="8054040" y="1919542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18" name="Grafik 21">
              <a:extLst>
                <a:ext uri="{FF2B5EF4-FFF2-40B4-BE49-F238E27FC236}">
                  <a16:creationId xmlns:a16="http://schemas.microsoft.com/office/drawing/2014/main" id="{1E497482-2834-B469-B639-607230C2696A}"/>
                </a:ext>
              </a:extLst>
            </p:cNvPr>
            <p:cNvGrpSpPr/>
            <p:nvPr/>
          </p:nvGrpSpPr>
          <p:grpSpPr>
            <a:xfrm>
              <a:off x="8055925" y="2183349"/>
              <a:ext cx="59582" cy="59846"/>
              <a:chOff x="8055925" y="2183349"/>
              <a:chExt cx="59582" cy="59846"/>
            </a:xfrm>
            <a:solidFill>
              <a:srgbClr val="000000"/>
            </a:solidFill>
          </p:grpSpPr>
          <p:sp>
            <p:nvSpPr>
              <p:cNvPr id="3159" name="Freihandform: Form 3158">
                <a:extLst>
                  <a:ext uri="{FF2B5EF4-FFF2-40B4-BE49-F238E27FC236}">
                    <a16:creationId xmlns:a16="http://schemas.microsoft.com/office/drawing/2014/main" id="{B70BDB2F-6A78-F0D1-34C2-F6CFFF574A35}"/>
                  </a:ext>
                </a:extLst>
              </p:cNvPr>
              <p:cNvSpPr/>
              <p:nvPr/>
            </p:nvSpPr>
            <p:spPr>
              <a:xfrm>
                <a:off x="8062181" y="2204472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60" name="Freihandform: Form 3159">
                <a:extLst>
                  <a:ext uri="{FF2B5EF4-FFF2-40B4-BE49-F238E27FC236}">
                    <a16:creationId xmlns:a16="http://schemas.microsoft.com/office/drawing/2014/main" id="{39530E5C-7672-5C59-5BEE-D2DC2198142B}"/>
                  </a:ext>
                </a:extLst>
              </p:cNvPr>
              <p:cNvSpPr/>
              <p:nvPr/>
            </p:nvSpPr>
            <p:spPr>
              <a:xfrm>
                <a:off x="8055925" y="2183349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19" name="Grafik 21">
              <a:extLst>
                <a:ext uri="{FF2B5EF4-FFF2-40B4-BE49-F238E27FC236}">
                  <a16:creationId xmlns:a16="http://schemas.microsoft.com/office/drawing/2014/main" id="{00837230-E6B5-3121-07B3-8F184D6F2657}"/>
                </a:ext>
              </a:extLst>
            </p:cNvPr>
            <p:cNvGrpSpPr/>
            <p:nvPr/>
          </p:nvGrpSpPr>
          <p:grpSpPr>
            <a:xfrm>
              <a:off x="7618758" y="2405701"/>
              <a:ext cx="59582" cy="59846"/>
              <a:chOff x="7618758" y="2405701"/>
              <a:chExt cx="59582" cy="59846"/>
            </a:xfrm>
            <a:solidFill>
              <a:srgbClr val="000000"/>
            </a:solidFill>
          </p:grpSpPr>
          <p:sp>
            <p:nvSpPr>
              <p:cNvPr id="3157" name="Freihandform: Form 3156">
                <a:extLst>
                  <a:ext uri="{FF2B5EF4-FFF2-40B4-BE49-F238E27FC236}">
                    <a16:creationId xmlns:a16="http://schemas.microsoft.com/office/drawing/2014/main" id="{35AF8673-4ACF-4A9C-C950-23020F8E3692}"/>
                  </a:ext>
                </a:extLst>
              </p:cNvPr>
              <p:cNvSpPr/>
              <p:nvPr/>
            </p:nvSpPr>
            <p:spPr>
              <a:xfrm>
                <a:off x="7625015" y="2426824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58" name="Freihandform: Form 3157">
                <a:extLst>
                  <a:ext uri="{FF2B5EF4-FFF2-40B4-BE49-F238E27FC236}">
                    <a16:creationId xmlns:a16="http://schemas.microsoft.com/office/drawing/2014/main" id="{922E4D56-8CC5-212A-C394-F990F04F7E85}"/>
                  </a:ext>
                </a:extLst>
              </p:cNvPr>
              <p:cNvSpPr/>
              <p:nvPr/>
            </p:nvSpPr>
            <p:spPr>
              <a:xfrm>
                <a:off x="7618758" y="2405701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8" y="57076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20" name="Grafik 21">
              <a:extLst>
                <a:ext uri="{FF2B5EF4-FFF2-40B4-BE49-F238E27FC236}">
                  <a16:creationId xmlns:a16="http://schemas.microsoft.com/office/drawing/2014/main" id="{48BB14B3-77BA-C368-BF57-C3AFA435AF9B}"/>
                </a:ext>
              </a:extLst>
            </p:cNvPr>
            <p:cNvGrpSpPr/>
            <p:nvPr/>
          </p:nvGrpSpPr>
          <p:grpSpPr>
            <a:xfrm>
              <a:off x="7718628" y="2496150"/>
              <a:ext cx="59582" cy="59846"/>
              <a:chOff x="7718628" y="2496150"/>
              <a:chExt cx="59582" cy="59846"/>
            </a:xfrm>
            <a:solidFill>
              <a:srgbClr val="000000"/>
            </a:solidFill>
          </p:grpSpPr>
          <p:sp>
            <p:nvSpPr>
              <p:cNvPr id="3155" name="Freihandform: Form 3154">
                <a:extLst>
                  <a:ext uri="{FF2B5EF4-FFF2-40B4-BE49-F238E27FC236}">
                    <a16:creationId xmlns:a16="http://schemas.microsoft.com/office/drawing/2014/main" id="{7C4C8283-8741-8E05-0B4E-1D368BF81F27}"/>
                  </a:ext>
                </a:extLst>
              </p:cNvPr>
              <p:cNvSpPr/>
              <p:nvPr/>
            </p:nvSpPr>
            <p:spPr>
              <a:xfrm>
                <a:off x="7724884" y="2517272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56" name="Freihandform: Form 3155">
                <a:extLst>
                  <a:ext uri="{FF2B5EF4-FFF2-40B4-BE49-F238E27FC236}">
                    <a16:creationId xmlns:a16="http://schemas.microsoft.com/office/drawing/2014/main" id="{9F755E01-C46E-5114-4C08-5F1D2135F762}"/>
                  </a:ext>
                </a:extLst>
              </p:cNvPr>
              <p:cNvSpPr/>
              <p:nvPr/>
            </p:nvSpPr>
            <p:spPr>
              <a:xfrm>
                <a:off x="7718628" y="2496150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8" y="57076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21" name="Grafik 21">
              <a:extLst>
                <a:ext uri="{FF2B5EF4-FFF2-40B4-BE49-F238E27FC236}">
                  <a16:creationId xmlns:a16="http://schemas.microsoft.com/office/drawing/2014/main" id="{BB9179DD-0B0B-3CEA-4A90-E953C885392F}"/>
                </a:ext>
              </a:extLst>
            </p:cNvPr>
            <p:cNvGrpSpPr/>
            <p:nvPr/>
          </p:nvGrpSpPr>
          <p:grpSpPr>
            <a:xfrm>
              <a:off x="8800238" y="3453393"/>
              <a:ext cx="59582" cy="59846"/>
              <a:chOff x="8800238" y="3453393"/>
              <a:chExt cx="59582" cy="59846"/>
            </a:xfrm>
            <a:solidFill>
              <a:srgbClr val="000000"/>
            </a:solidFill>
          </p:grpSpPr>
          <p:sp>
            <p:nvSpPr>
              <p:cNvPr id="3153" name="Freihandform: Form 3152">
                <a:extLst>
                  <a:ext uri="{FF2B5EF4-FFF2-40B4-BE49-F238E27FC236}">
                    <a16:creationId xmlns:a16="http://schemas.microsoft.com/office/drawing/2014/main" id="{19280214-A437-598B-6030-0F8917E30497}"/>
                  </a:ext>
                </a:extLst>
              </p:cNvPr>
              <p:cNvSpPr/>
              <p:nvPr/>
            </p:nvSpPr>
            <p:spPr>
              <a:xfrm>
                <a:off x="8806494" y="3474515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54" name="Freihandform: Form 3153">
                <a:extLst>
                  <a:ext uri="{FF2B5EF4-FFF2-40B4-BE49-F238E27FC236}">
                    <a16:creationId xmlns:a16="http://schemas.microsoft.com/office/drawing/2014/main" id="{127BB893-3BA9-FD31-3171-865162351FCA}"/>
                  </a:ext>
                </a:extLst>
              </p:cNvPr>
              <p:cNvSpPr/>
              <p:nvPr/>
            </p:nvSpPr>
            <p:spPr>
              <a:xfrm>
                <a:off x="8800238" y="3453393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8" y="57076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22" name="Grafik 21">
              <a:extLst>
                <a:ext uri="{FF2B5EF4-FFF2-40B4-BE49-F238E27FC236}">
                  <a16:creationId xmlns:a16="http://schemas.microsoft.com/office/drawing/2014/main" id="{BC14B11C-3C48-3043-AEA1-5FDD805DBD41}"/>
                </a:ext>
              </a:extLst>
            </p:cNvPr>
            <p:cNvGrpSpPr/>
            <p:nvPr/>
          </p:nvGrpSpPr>
          <p:grpSpPr>
            <a:xfrm>
              <a:off x="8344228" y="3687051"/>
              <a:ext cx="59582" cy="59846"/>
              <a:chOff x="8344228" y="3687051"/>
              <a:chExt cx="59582" cy="59846"/>
            </a:xfrm>
            <a:solidFill>
              <a:srgbClr val="000000"/>
            </a:solidFill>
          </p:grpSpPr>
          <p:sp>
            <p:nvSpPr>
              <p:cNvPr id="3151" name="Freihandform: Form 3150">
                <a:extLst>
                  <a:ext uri="{FF2B5EF4-FFF2-40B4-BE49-F238E27FC236}">
                    <a16:creationId xmlns:a16="http://schemas.microsoft.com/office/drawing/2014/main" id="{BB5FD5E2-4A34-3409-4DD2-2DAAE0FB0FDF}"/>
                  </a:ext>
                </a:extLst>
              </p:cNvPr>
              <p:cNvSpPr/>
              <p:nvPr/>
            </p:nvSpPr>
            <p:spPr>
              <a:xfrm>
                <a:off x="8350484" y="3708173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52" name="Freihandform: Form 3151">
                <a:extLst>
                  <a:ext uri="{FF2B5EF4-FFF2-40B4-BE49-F238E27FC236}">
                    <a16:creationId xmlns:a16="http://schemas.microsoft.com/office/drawing/2014/main" id="{2E6529B3-DA36-1644-46C0-63089F75C757}"/>
                  </a:ext>
                </a:extLst>
              </p:cNvPr>
              <p:cNvSpPr/>
              <p:nvPr/>
            </p:nvSpPr>
            <p:spPr>
              <a:xfrm>
                <a:off x="8344228" y="3687051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8" y="57076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23" name="Grafik 21">
              <a:extLst>
                <a:ext uri="{FF2B5EF4-FFF2-40B4-BE49-F238E27FC236}">
                  <a16:creationId xmlns:a16="http://schemas.microsoft.com/office/drawing/2014/main" id="{DBF620DF-D592-C472-CAF6-6761EDFE662B}"/>
                </a:ext>
              </a:extLst>
            </p:cNvPr>
            <p:cNvGrpSpPr/>
            <p:nvPr/>
          </p:nvGrpSpPr>
          <p:grpSpPr>
            <a:xfrm>
              <a:off x="7888219" y="3664439"/>
              <a:ext cx="59582" cy="59846"/>
              <a:chOff x="7888219" y="3664439"/>
              <a:chExt cx="59582" cy="59846"/>
            </a:xfrm>
            <a:solidFill>
              <a:srgbClr val="000000"/>
            </a:solidFill>
          </p:grpSpPr>
          <p:sp>
            <p:nvSpPr>
              <p:cNvPr id="3149" name="Freihandform: Form 3148">
                <a:extLst>
                  <a:ext uri="{FF2B5EF4-FFF2-40B4-BE49-F238E27FC236}">
                    <a16:creationId xmlns:a16="http://schemas.microsoft.com/office/drawing/2014/main" id="{DED1744A-B231-C072-A58B-065DC4361E3C}"/>
                  </a:ext>
                </a:extLst>
              </p:cNvPr>
              <p:cNvSpPr/>
              <p:nvPr/>
            </p:nvSpPr>
            <p:spPr>
              <a:xfrm>
                <a:off x="7894475" y="3685561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50" name="Freihandform: Form 3149">
                <a:extLst>
                  <a:ext uri="{FF2B5EF4-FFF2-40B4-BE49-F238E27FC236}">
                    <a16:creationId xmlns:a16="http://schemas.microsoft.com/office/drawing/2014/main" id="{7422AA0C-1035-1F94-4318-50BC6124313B}"/>
                  </a:ext>
                </a:extLst>
              </p:cNvPr>
              <p:cNvSpPr/>
              <p:nvPr/>
            </p:nvSpPr>
            <p:spPr>
              <a:xfrm>
                <a:off x="7888219" y="3664439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8" y="57076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24" name="Grafik 21">
              <a:extLst>
                <a:ext uri="{FF2B5EF4-FFF2-40B4-BE49-F238E27FC236}">
                  <a16:creationId xmlns:a16="http://schemas.microsoft.com/office/drawing/2014/main" id="{79C32354-FAE0-A8F2-912C-AAD9CDE68854}"/>
                </a:ext>
              </a:extLst>
            </p:cNvPr>
            <p:cNvGrpSpPr/>
            <p:nvPr/>
          </p:nvGrpSpPr>
          <p:grpSpPr>
            <a:xfrm>
              <a:off x="7888219" y="3773730"/>
              <a:ext cx="59582" cy="59846"/>
              <a:chOff x="7888219" y="3773730"/>
              <a:chExt cx="59582" cy="59846"/>
            </a:xfrm>
            <a:solidFill>
              <a:srgbClr val="000000"/>
            </a:solidFill>
          </p:grpSpPr>
          <p:sp>
            <p:nvSpPr>
              <p:cNvPr id="3147" name="Freihandform: Form 3146">
                <a:extLst>
                  <a:ext uri="{FF2B5EF4-FFF2-40B4-BE49-F238E27FC236}">
                    <a16:creationId xmlns:a16="http://schemas.microsoft.com/office/drawing/2014/main" id="{97440E99-5981-16D7-7549-8E0DE217DD0B}"/>
                  </a:ext>
                </a:extLst>
              </p:cNvPr>
              <p:cNvSpPr/>
              <p:nvPr/>
            </p:nvSpPr>
            <p:spPr>
              <a:xfrm>
                <a:off x="7894475" y="3794853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48" name="Freihandform: Form 3147">
                <a:extLst>
                  <a:ext uri="{FF2B5EF4-FFF2-40B4-BE49-F238E27FC236}">
                    <a16:creationId xmlns:a16="http://schemas.microsoft.com/office/drawing/2014/main" id="{A62EC3A2-90F9-A410-CB31-B4E7FF23567F}"/>
                  </a:ext>
                </a:extLst>
              </p:cNvPr>
              <p:cNvSpPr/>
              <p:nvPr/>
            </p:nvSpPr>
            <p:spPr>
              <a:xfrm>
                <a:off x="7888219" y="3773730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8" y="57076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25" name="Grafik 21">
              <a:extLst>
                <a:ext uri="{FF2B5EF4-FFF2-40B4-BE49-F238E27FC236}">
                  <a16:creationId xmlns:a16="http://schemas.microsoft.com/office/drawing/2014/main" id="{35E4168B-EB79-B681-59CB-EB95F28E5766}"/>
                </a:ext>
              </a:extLst>
            </p:cNvPr>
            <p:cNvGrpSpPr/>
            <p:nvPr/>
          </p:nvGrpSpPr>
          <p:grpSpPr>
            <a:xfrm>
              <a:off x="8415833" y="4291923"/>
              <a:ext cx="59582" cy="59846"/>
              <a:chOff x="8415833" y="4291923"/>
              <a:chExt cx="59582" cy="59846"/>
            </a:xfrm>
            <a:solidFill>
              <a:srgbClr val="000000"/>
            </a:solidFill>
          </p:grpSpPr>
          <p:sp>
            <p:nvSpPr>
              <p:cNvPr id="3145" name="Freihandform: Form 3144">
                <a:extLst>
                  <a:ext uri="{FF2B5EF4-FFF2-40B4-BE49-F238E27FC236}">
                    <a16:creationId xmlns:a16="http://schemas.microsoft.com/office/drawing/2014/main" id="{832ACA93-4FAD-E989-1E95-65E85AFE2F56}"/>
                  </a:ext>
                </a:extLst>
              </p:cNvPr>
              <p:cNvSpPr/>
              <p:nvPr/>
            </p:nvSpPr>
            <p:spPr>
              <a:xfrm>
                <a:off x="8422089" y="4313045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1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46" name="Freihandform: Form 3145">
                <a:extLst>
                  <a:ext uri="{FF2B5EF4-FFF2-40B4-BE49-F238E27FC236}">
                    <a16:creationId xmlns:a16="http://schemas.microsoft.com/office/drawing/2014/main" id="{254B1848-9890-5643-A48C-3224C76CEE8A}"/>
                  </a:ext>
                </a:extLst>
              </p:cNvPr>
              <p:cNvSpPr/>
              <p:nvPr/>
            </p:nvSpPr>
            <p:spPr>
              <a:xfrm>
                <a:off x="8415833" y="4291923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4 h 59846"/>
                  <a:gd name="connsiteX2" fmla="*/ 29791 w 59582"/>
                  <a:gd name="connsiteY2" fmla="*/ 59847 h 59846"/>
                  <a:gd name="connsiteX3" fmla="*/ 59583 w 59582"/>
                  <a:gd name="connsiteY3" fmla="*/ 29924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4 h 59846"/>
                  <a:gd name="connsiteX7" fmla="*/ 29791 w 59582"/>
                  <a:gd name="connsiteY7" fmla="*/ 2770 h 59846"/>
                  <a:gd name="connsiteX8" fmla="*/ 56813 w 59582"/>
                  <a:gd name="connsiteY8" fmla="*/ 29924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4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4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4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4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26" name="Grafik 21">
              <a:extLst>
                <a:ext uri="{FF2B5EF4-FFF2-40B4-BE49-F238E27FC236}">
                  <a16:creationId xmlns:a16="http://schemas.microsoft.com/office/drawing/2014/main" id="{A789CCB6-108C-1660-AF35-7A9C808A0163}"/>
                </a:ext>
              </a:extLst>
            </p:cNvPr>
            <p:cNvGrpSpPr/>
            <p:nvPr/>
          </p:nvGrpSpPr>
          <p:grpSpPr>
            <a:xfrm>
              <a:off x="7556575" y="4493547"/>
              <a:ext cx="59582" cy="59846"/>
              <a:chOff x="7556575" y="4493547"/>
              <a:chExt cx="59582" cy="59846"/>
            </a:xfrm>
            <a:solidFill>
              <a:srgbClr val="000000"/>
            </a:solidFill>
          </p:grpSpPr>
          <p:sp>
            <p:nvSpPr>
              <p:cNvPr id="3143" name="Freihandform: Form 3142">
                <a:extLst>
                  <a:ext uri="{FF2B5EF4-FFF2-40B4-BE49-F238E27FC236}">
                    <a16:creationId xmlns:a16="http://schemas.microsoft.com/office/drawing/2014/main" id="{DA9531E4-762A-14E7-DA8E-D49ED6B593DB}"/>
                  </a:ext>
                </a:extLst>
              </p:cNvPr>
              <p:cNvSpPr/>
              <p:nvPr/>
            </p:nvSpPr>
            <p:spPr>
              <a:xfrm>
                <a:off x="7562831" y="4514670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1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44" name="Freihandform: Form 3143">
                <a:extLst>
                  <a:ext uri="{FF2B5EF4-FFF2-40B4-BE49-F238E27FC236}">
                    <a16:creationId xmlns:a16="http://schemas.microsoft.com/office/drawing/2014/main" id="{FF4DF6DD-087A-1DD4-238F-04D10A5A6015}"/>
                  </a:ext>
                </a:extLst>
              </p:cNvPr>
              <p:cNvSpPr/>
              <p:nvPr/>
            </p:nvSpPr>
            <p:spPr>
              <a:xfrm>
                <a:off x="7556575" y="4493547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4 h 59846"/>
                  <a:gd name="connsiteX2" fmla="*/ 29791 w 59582"/>
                  <a:gd name="connsiteY2" fmla="*/ 59847 h 59846"/>
                  <a:gd name="connsiteX3" fmla="*/ 59583 w 59582"/>
                  <a:gd name="connsiteY3" fmla="*/ 29924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4 h 59846"/>
                  <a:gd name="connsiteX7" fmla="*/ 29791 w 59582"/>
                  <a:gd name="connsiteY7" fmla="*/ 2770 h 59846"/>
                  <a:gd name="connsiteX8" fmla="*/ 56813 w 59582"/>
                  <a:gd name="connsiteY8" fmla="*/ 29924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4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4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4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4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27" name="Grafik 21">
              <a:extLst>
                <a:ext uri="{FF2B5EF4-FFF2-40B4-BE49-F238E27FC236}">
                  <a16:creationId xmlns:a16="http://schemas.microsoft.com/office/drawing/2014/main" id="{00706CF1-8F20-A2DE-F300-38B95CCF3C20}"/>
                </a:ext>
              </a:extLst>
            </p:cNvPr>
            <p:cNvGrpSpPr/>
            <p:nvPr/>
          </p:nvGrpSpPr>
          <p:grpSpPr>
            <a:xfrm>
              <a:off x="7240459" y="4832727"/>
              <a:ext cx="60562" cy="59846"/>
              <a:chOff x="7240459" y="4832727"/>
              <a:chExt cx="60562" cy="59846"/>
            </a:xfrm>
            <a:solidFill>
              <a:srgbClr val="000000"/>
            </a:solidFill>
          </p:grpSpPr>
          <p:sp>
            <p:nvSpPr>
              <p:cNvPr id="3141" name="Freihandform: Form 3140">
                <a:extLst>
                  <a:ext uri="{FF2B5EF4-FFF2-40B4-BE49-F238E27FC236}">
                    <a16:creationId xmlns:a16="http://schemas.microsoft.com/office/drawing/2014/main" id="{657C37BA-9333-597D-B6D7-D9DA238CC47B}"/>
                  </a:ext>
                </a:extLst>
              </p:cNvPr>
              <p:cNvSpPr/>
              <p:nvPr/>
            </p:nvSpPr>
            <p:spPr>
              <a:xfrm>
                <a:off x="7246828" y="4853850"/>
                <a:ext cx="47880" cy="26852"/>
              </a:xfrm>
              <a:custGeom>
                <a:avLst/>
                <a:gdLst>
                  <a:gd name="connsiteX0" fmla="*/ 41776 w 47880"/>
                  <a:gd name="connsiteY0" fmla="*/ 22613 h 26852"/>
                  <a:gd name="connsiteX1" fmla="*/ 41776 w 47880"/>
                  <a:gd name="connsiteY1" fmla="*/ 26853 h 26852"/>
                  <a:gd name="connsiteX2" fmla="*/ 0 w 47880"/>
                  <a:gd name="connsiteY2" fmla="*/ 1 h 26852"/>
                  <a:gd name="connsiteX3" fmla="*/ 14509 w 47880"/>
                  <a:gd name="connsiteY3" fmla="*/ 1 h 26852"/>
                  <a:gd name="connsiteX4" fmla="*/ 14509 w 47880"/>
                  <a:gd name="connsiteY4" fmla="*/ 2507 h 26852"/>
                  <a:gd name="connsiteX5" fmla="*/ 11664 w 47880"/>
                  <a:gd name="connsiteY5" fmla="*/ 3261 h 26852"/>
                  <a:gd name="connsiteX6" fmla="*/ 21029 w 47880"/>
                  <a:gd name="connsiteY6" fmla="*/ 9272 h 26852"/>
                  <a:gd name="connsiteX7" fmla="*/ 17618 w 47880"/>
                  <a:gd name="connsiteY7" fmla="*/ 1659 h 26852"/>
                  <a:gd name="connsiteX8" fmla="*/ 21255 w 47880"/>
                  <a:gd name="connsiteY8" fmla="*/ 1 h 26852"/>
                  <a:gd name="connsiteX9" fmla="*/ 47881 w 47880"/>
                  <a:gd name="connsiteY9" fmla="*/ 1 h 26852"/>
                  <a:gd name="connsiteX10" fmla="*/ 31939 w 47880"/>
                  <a:gd name="connsiteY10" fmla="*/ 12362 h 26852"/>
                  <a:gd name="connsiteX11" fmla="*/ 30112 w 47880"/>
                  <a:gd name="connsiteY11" fmla="*/ 10647 h 26852"/>
                  <a:gd name="connsiteX12" fmla="*/ 37894 w 47880"/>
                  <a:gd name="connsiteY12" fmla="*/ 3355 h 26852"/>
                  <a:gd name="connsiteX13" fmla="*/ 23083 w 47880"/>
                  <a:gd name="connsiteY13" fmla="*/ 3355 h 26852"/>
                  <a:gd name="connsiteX14" fmla="*/ 22009 w 47880"/>
                  <a:gd name="connsiteY14" fmla="*/ 3845 h 26852"/>
                  <a:gd name="connsiteX15" fmla="*/ 38101 w 47880"/>
                  <a:gd name="connsiteY15" fmla="*/ 20201 h 26852"/>
                  <a:gd name="connsiteX16" fmla="*/ 41776 w 47880"/>
                  <a:gd name="connsiteY16" fmla="*/ 22613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0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8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39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1" y="6125"/>
                      <a:pt x="29641" y="14661"/>
                      <a:pt x="38101" y="20201"/>
                    </a:cubicBezTo>
                    <a:lnTo>
                      <a:pt x="41776" y="2261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42" name="Freihandform: Form 3141">
                <a:extLst>
                  <a:ext uri="{FF2B5EF4-FFF2-40B4-BE49-F238E27FC236}">
                    <a16:creationId xmlns:a16="http://schemas.microsoft.com/office/drawing/2014/main" id="{9384C829-675A-5829-DE65-FC02706A269D}"/>
                  </a:ext>
                </a:extLst>
              </p:cNvPr>
              <p:cNvSpPr/>
              <p:nvPr/>
            </p:nvSpPr>
            <p:spPr>
              <a:xfrm>
                <a:off x="7240459" y="4832727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4 h 59846"/>
                  <a:gd name="connsiteX2" fmla="*/ 30281 w 60562"/>
                  <a:gd name="connsiteY2" fmla="*/ 59847 h 59846"/>
                  <a:gd name="connsiteX3" fmla="*/ 60563 w 60562"/>
                  <a:gd name="connsiteY3" fmla="*/ 29924 h 59846"/>
                  <a:gd name="connsiteX4" fmla="*/ 30281 w 60562"/>
                  <a:gd name="connsiteY4" fmla="*/ 0 h 59846"/>
                  <a:gd name="connsiteX5" fmla="*/ 30281 w 60562"/>
                  <a:gd name="connsiteY5" fmla="*/ 57077 h 59846"/>
                  <a:gd name="connsiteX6" fmla="*/ 2808 w 60562"/>
                  <a:gd name="connsiteY6" fmla="*/ 29924 h 59846"/>
                  <a:gd name="connsiteX7" fmla="*/ 30281 w 60562"/>
                  <a:gd name="connsiteY7" fmla="*/ 2770 h 59846"/>
                  <a:gd name="connsiteX8" fmla="*/ 57755 w 60562"/>
                  <a:gd name="connsiteY8" fmla="*/ 29924 h 59846"/>
                  <a:gd name="connsiteX9" fmla="*/ 30281 w 60562"/>
                  <a:gd name="connsiteY9" fmla="*/ 57077 h 59846"/>
                  <a:gd name="connsiteX10" fmla="*/ 30281 w 6056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8" y="0"/>
                      <a:pt x="0" y="13398"/>
                      <a:pt x="0" y="29924"/>
                    </a:cubicBezTo>
                    <a:cubicBezTo>
                      <a:pt x="0" y="46449"/>
                      <a:pt x="13549" y="59847"/>
                      <a:pt x="30281" y="59847"/>
                    </a:cubicBezTo>
                    <a:cubicBezTo>
                      <a:pt x="47015" y="59847"/>
                      <a:pt x="60563" y="46449"/>
                      <a:pt x="60563" y="29924"/>
                    </a:cubicBezTo>
                    <a:cubicBezTo>
                      <a:pt x="60563" y="13398"/>
                      <a:pt x="47015" y="0"/>
                      <a:pt x="30281" y="0"/>
                    </a:cubicBezTo>
                    <a:close/>
                    <a:moveTo>
                      <a:pt x="30281" y="57077"/>
                    </a:moveTo>
                    <a:cubicBezTo>
                      <a:pt x="15112" y="57077"/>
                      <a:pt x="2808" y="44923"/>
                      <a:pt x="2808" y="29924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4"/>
                    </a:cubicBezTo>
                    <a:cubicBezTo>
                      <a:pt x="57755" y="44923"/>
                      <a:pt x="45450" y="57077"/>
                      <a:pt x="30281" y="57077"/>
                    </a:cubicBezTo>
                    <a:lnTo>
                      <a:pt x="3028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28" name="Grafik 21">
              <a:extLst>
                <a:ext uri="{FF2B5EF4-FFF2-40B4-BE49-F238E27FC236}">
                  <a16:creationId xmlns:a16="http://schemas.microsoft.com/office/drawing/2014/main" id="{4CC52630-1BAB-A702-7968-A20C26D45F9C}"/>
                </a:ext>
              </a:extLst>
            </p:cNvPr>
            <p:cNvGrpSpPr/>
            <p:nvPr/>
          </p:nvGrpSpPr>
          <p:grpSpPr>
            <a:xfrm>
              <a:off x="4620778" y="2859431"/>
              <a:ext cx="59582" cy="58753"/>
              <a:chOff x="4620778" y="2859431"/>
              <a:chExt cx="59582" cy="58753"/>
            </a:xfrm>
            <a:solidFill>
              <a:srgbClr val="000000"/>
            </a:solidFill>
          </p:grpSpPr>
          <p:sp>
            <p:nvSpPr>
              <p:cNvPr id="3139" name="Freihandform: Form 3138">
                <a:extLst>
                  <a:ext uri="{FF2B5EF4-FFF2-40B4-BE49-F238E27FC236}">
                    <a16:creationId xmlns:a16="http://schemas.microsoft.com/office/drawing/2014/main" id="{592B1416-7AD6-0D1F-1306-1B795F800C6C}"/>
                  </a:ext>
                </a:extLst>
              </p:cNvPr>
              <p:cNvSpPr/>
              <p:nvPr/>
            </p:nvSpPr>
            <p:spPr>
              <a:xfrm>
                <a:off x="4627034" y="2880176"/>
                <a:ext cx="47089" cy="26362"/>
              </a:xfrm>
              <a:custGeom>
                <a:avLst/>
                <a:gdLst>
                  <a:gd name="connsiteX0" fmla="*/ 41098 w 47089"/>
                  <a:gd name="connsiteY0" fmla="*/ 22198 h 26362"/>
                  <a:gd name="connsiteX1" fmla="*/ 41098 w 47089"/>
                  <a:gd name="connsiteY1" fmla="*/ 26363 h 26362"/>
                  <a:gd name="connsiteX2" fmla="*/ 0 w 47089"/>
                  <a:gd name="connsiteY2" fmla="*/ 20 h 26362"/>
                  <a:gd name="connsiteX3" fmla="*/ 14264 w 47089"/>
                  <a:gd name="connsiteY3" fmla="*/ 20 h 26362"/>
                  <a:gd name="connsiteX4" fmla="*/ 14264 w 47089"/>
                  <a:gd name="connsiteY4" fmla="*/ 2470 h 26362"/>
                  <a:gd name="connsiteX5" fmla="*/ 11457 w 47089"/>
                  <a:gd name="connsiteY5" fmla="*/ 3204 h 26362"/>
                  <a:gd name="connsiteX6" fmla="*/ 20671 w 47089"/>
                  <a:gd name="connsiteY6" fmla="*/ 9102 h 26362"/>
                  <a:gd name="connsiteX7" fmla="*/ 17317 w 47089"/>
                  <a:gd name="connsiteY7" fmla="*/ 1621 h 26362"/>
                  <a:gd name="connsiteX8" fmla="*/ 20897 w 47089"/>
                  <a:gd name="connsiteY8" fmla="*/ 1 h 26362"/>
                  <a:gd name="connsiteX9" fmla="*/ 47090 w 47089"/>
                  <a:gd name="connsiteY9" fmla="*/ 1 h 26362"/>
                  <a:gd name="connsiteX10" fmla="*/ 31412 w 47089"/>
                  <a:gd name="connsiteY10" fmla="*/ 12136 h 26362"/>
                  <a:gd name="connsiteX11" fmla="*/ 29622 w 47089"/>
                  <a:gd name="connsiteY11" fmla="*/ 10440 h 26362"/>
                  <a:gd name="connsiteX12" fmla="*/ 37291 w 47089"/>
                  <a:gd name="connsiteY12" fmla="*/ 3280 h 26362"/>
                  <a:gd name="connsiteX13" fmla="*/ 22725 w 47089"/>
                  <a:gd name="connsiteY13" fmla="*/ 3280 h 26362"/>
                  <a:gd name="connsiteX14" fmla="*/ 21670 w 47089"/>
                  <a:gd name="connsiteY14" fmla="*/ 3770 h 26362"/>
                  <a:gd name="connsiteX15" fmla="*/ 37498 w 47089"/>
                  <a:gd name="connsiteY15" fmla="*/ 19824 h 26362"/>
                  <a:gd name="connsiteX16" fmla="*/ 41116 w 47089"/>
                  <a:gd name="connsiteY16" fmla="*/ 22198 h 26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362">
                    <a:moveTo>
                      <a:pt x="41098" y="22198"/>
                    </a:moveTo>
                    <a:lnTo>
                      <a:pt x="41098" y="26363"/>
                    </a:lnTo>
                    <a:lnTo>
                      <a:pt x="0" y="20"/>
                    </a:lnTo>
                    <a:lnTo>
                      <a:pt x="14264" y="20"/>
                    </a:lnTo>
                    <a:lnTo>
                      <a:pt x="14264" y="2470"/>
                    </a:lnTo>
                    <a:lnTo>
                      <a:pt x="11457" y="3204"/>
                    </a:lnTo>
                    <a:lnTo>
                      <a:pt x="20671" y="9102"/>
                    </a:lnTo>
                    <a:cubicBezTo>
                      <a:pt x="20671" y="9102"/>
                      <a:pt x="15734" y="4806"/>
                      <a:pt x="17317" y="1621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136"/>
                    </a:lnTo>
                    <a:lnTo>
                      <a:pt x="29622" y="10440"/>
                    </a:lnTo>
                    <a:lnTo>
                      <a:pt x="37291" y="3280"/>
                    </a:lnTo>
                    <a:lnTo>
                      <a:pt x="22725" y="3280"/>
                    </a:lnTo>
                    <a:cubicBezTo>
                      <a:pt x="22574" y="3280"/>
                      <a:pt x="21896" y="3242"/>
                      <a:pt x="21670" y="3770"/>
                    </a:cubicBezTo>
                    <a:cubicBezTo>
                      <a:pt x="20671" y="6012"/>
                      <a:pt x="29188" y="14378"/>
                      <a:pt x="37498" y="19824"/>
                    </a:cubicBezTo>
                    <a:lnTo>
                      <a:pt x="41116" y="2219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40" name="Freihandform: Form 3139">
                <a:extLst>
                  <a:ext uri="{FF2B5EF4-FFF2-40B4-BE49-F238E27FC236}">
                    <a16:creationId xmlns:a16="http://schemas.microsoft.com/office/drawing/2014/main" id="{0D9BF8B2-A55C-3A5C-768B-37A2387CE7AB}"/>
                  </a:ext>
                </a:extLst>
              </p:cNvPr>
              <p:cNvSpPr/>
              <p:nvPr/>
            </p:nvSpPr>
            <p:spPr>
              <a:xfrm>
                <a:off x="4620778" y="2859431"/>
                <a:ext cx="59582" cy="58753"/>
              </a:xfrm>
              <a:custGeom>
                <a:avLst/>
                <a:gdLst>
                  <a:gd name="connsiteX0" fmla="*/ 29791 w 59582"/>
                  <a:gd name="connsiteY0" fmla="*/ 0 h 58753"/>
                  <a:gd name="connsiteX1" fmla="*/ 0 w 59582"/>
                  <a:gd name="connsiteY1" fmla="*/ 29377 h 58753"/>
                  <a:gd name="connsiteX2" fmla="*/ 29791 w 59582"/>
                  <a:gd name="connsiteY2" fmla="*/ 58754 h 58753"/>
                  <a:gd name="connsiteX3" fmla="*/ 59583 w 59582"/>
                  <a:gd name="connsiteY3" fmla="*/ 29377 h 58753"/>
                  <a:gd name="connsiteX4" fmla="*/ 29791 w 59582"/>
                  <a:gd name="connsiteY4" fmla="*/ 0 h 58753"/>
                  <a:gd name="connsiteX5" fmla="*/ 29791 w 59582"/>
                  <a:gd name="connsiteY5" fmla="*/ 56022 h 58753"/>
                  <a:gd name="connsiteX6" fmla="*/ 2770 w 59582"/>
                  <a:gd name="connsiteY6" fmla="*/ 29377 h 58753"/>
                  <a:gd name="connsiteX7" fmla="*/ 29791 w 59582"/>
                  <a:gd name="connsiteY7" fmla="*/ 2732 h 58753"/>
                  <a:gd name="connsiteX8" fmla="*/ 56813 w 59582"/>
                  <a:gd name="connsiteY8" fmla="*/ 29377 h 58753"/>
                  <a:gd name="connsiteX9" fmla="*/ 29791 w 59582"/>
                  <a:gd name="connsiteY9" fmla="*/ 56022 h 58753"/>
                  <a:gd name="connsiteX10" fmla="*/ 29791 w 59582"/>
                  <a:gd name="connsiteY10" fmla="*/ 56022 h 58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8753">
                    <a:moveTo>
                      <a:pt x="29791" y="0"/>
                    </a:moveTo>
                    <a:cubicBezTo>
                      <a:pt x="13341" y="0"/>
                      <a:pt x="0" y="13153"/>
                      <a:pt x="0" y="29377"/>
                    </a:cubicBezTo>
                    <a:cubicBezTo>
                      <a:pt x="0" y="45601"/>
                      <a:pt x="13341" y="58754"/>
                      <a:pt x="29791" y="58754"/>
                    </a:cubicBezTo>
                    <a:cubicBezTo>
                      <a:pt x="46241" y="58754"/>
                      <a:pt x="59583" y="45601"/>
                      <a:pt x="59583" y="29377"/>
                    </a:cubicBezTo>
                    <a:cubicBezTo>
                      <a:pt x="59583" y="13153"/>
                      <a:pt x="46241" y="0"/>
                      <a:pt x="29791" y="0"/>
                    </a:cubicBezTo>
                    <a:close/>
                    <a:moveTo>
                      <a:pt x="29791" y="56022"/>
                    </a:moveTo>
                    <a:cubicBezTo>
                      <a:pt x="14867" y="56022"/>
                      <a:pt x="2770" y="44094"/>
                      <a:pt x="2770" y="29377"/>
                    </a:cubicBezTo>
                    <a:cubicBezTo>
                      <a:pt x="2770" y="14660"/>
                      <a:pt x="14867" y="2732"/>
                      <a:pt x="29791" y="2732"/>
                    </a:cubicBezTo>
                    <a:cubicBezTo>
                      <a:pt x="44715" y="2732"/>
                      <a:pt x="56813" y="14660"/>
                      <a:pt x="56813" y="29377"/>
                    </a:cubicBezTo>
                    <a:cubicBezTo>
                      <a:pt x="56813" y="44094"/>
                      <a:pt x="44715" y="56022"/>
                      <a:pt x="29791" y="56022"/>
                    </a:cubicBezTo>
                    <a:lnTo>
                      <a:pt x="29791" y="5602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29" name="Grafik 21">
              <a:extLst>
                <a:ext uri="{FF2B5EF4-FFF2-40B4-BE49-F238E27FC236}">
                  <a16:creationId xmlns:a16="http://schemas.microsoft.com/office/drawing/2014/main" id="{BCCE39D4-FA05-F24A-F496-0900821741C2}"/>
                </a:ext>
              </a:extLst>
            </p:cNvPr>
            <p:cNvGrpSpPr/>
            <p:nvPr/>
          </p:nvGrpSpPr>
          <p:grpSpPr>
            <a:xfrm>
              <a:off x="4677760" y="2818371"/>
              <a:ext cx="60562" cy="59846"/>
              <a:chOff x="4677760" y="2818371"/>
              <a:chExt cx="60562" cy="59846"/>
            </a:xfrm>
            <a:solidFill>
              <a:srgbClr val="000000"/>
            </a:solidFill>
          </p:grpSpPr>
          <p:sp>
            <p:nvSpPr>
              <p:cNvPr id="3137" name="Freihandform: Form 3136">
                <a:extLst>
                  <a:ext uri="{FF2B5EF4-FFF2-40B4-BE49-F238E27FC236}">
                    <a16:creationId xmlns:a16="http://schemas.microsoft.com/office/drawing/2014/main" id="{F4749954-B3D7-5BAB-0031-B15C043A339B}"/>
                  </a:ext>
                </a:extLst>
              </p:cNvPr>
              <p:cNvSpPr/>
              <p:nvPr/>
            </p:nvSpPr>
            <p:spPr>
              <a:xfrm>
                <a:off x="4684129" y="2839494"/>
                <a:ext cx="47880" cy="26852"/>
              </a:xfrm>
              <a:custGeom>
                <a:avLst/>
                <a:gdLst>
                  <a:gd name="connsiteX0" fmla="*/ 41776 w 47880"/>
                  <a:gd name="connsiteY0" fmla="*/ 22613 h 26852"/>
                  <a:gd name="connsiteX1" fmla="*/ 41776 w 47880"/>
                  <a:gd name="connsiteY1" fmla="*/ 26853 h 26852"/>
                  <a:gd name="connsiteX2" fmla="*/ 0 w 47880"/>
                  <a:gd name="connsiteY2" fmla="*/ 1 h 26852"/>
                  <a:gd name="connsiteX3" fmla="*/ 14509 w 47880"/>
                  <a:gd name="connsiteY3" fmla="*/ 1 h 26852"/>
                  <a:gd name="connsiteX4" fmla="*/ 14509 w 47880"/>
                  <a:gd name="connsiteY4" fmla="*/ 2507 h 26852"/>
                  <a:gd name="connsiteX5" fmla="*/ 11664 w 47880"/>
                  <a:gd name="connsiteY5" fmla="*/ 3261 h 26852"/>
                  <a:gd name="connsiteX6" fmla="*/ 21029 w 47880"/>
                  <a:gd name="connsiteY6" fmla="*/ 9272 h 26852"/>
                  <a:gd name="connsiteX7" fmla="*/ 17619 w 47880"/>
                  <a:gd name="connsiteY7" fmla="*/ 1659 h 26852"/>
                  <a:gd name="connsiteX8" fmla="*/ 21255 w 47880"/>
                  <a:gd name="connsiteY8" fmla="*/ 1 h 26852"/>
                  <a:gd name="connsiteX9" fmla="*/ 47881 w 47880"/>
                  <a:gd name="connsiteY9" fmla="*/ 1 h 26852"/>
                  <a:gd name="connsiteX10" fmla="*/ 31939 w 47880"/>
                  <a:gd name="connsiteY10" fmla="*/ 12362 h 26852"/>
                  <a:gd name="connsiteX11" fmla="*/ 30112 w 47880"/>
                  <a:gd name="connsiteY11" fmla="*/ 10647 h 26852"/>
                  <a:gd name="connsiteX12" fmla="*/ 37894 w 47880"/>
                  <a:gd name="connsiteY12" fmla="*/ 3355 h 26852"/>
                  <a:gd name="connsiteX13" fmla="*/ 23083 w 47880"/>
                  <a:gd name="connsiteY13" fmla="*/ 3355 h 26852"/>
                  <a:gd name="connsiteX14" fmla="*/ 22009 w 47880"/>
                  <a:gd name="connsiteY14" fmla="*/ 3845 h 26852"/>
                  <a:gd name="connsiteX15" fmla="*/ 38101 w 47880"/>
                  <a:gd name="connsiteY15" fmla="*/ 20201 h 26852"/>
                  <a:gd name="connsiteX16" fmla="*/ 41776 w 47880"/>
                  <a:gd name="connsiteY16" fmla="*/ 22613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0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9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39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1" y="6125"/>
                      <a:pt x="29641" y="14661"/>
                      <a:pt x="38101" y="20201"/>
                    </a:cubicBezTo>
                    <a:lnTo>
                      <a:pt x="41776" y="2261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38" name="Freihandform: Form 3137">
                <a:extLst>
                  <a:ext uri="{FF2B5EF4-FFF2-40B4-BE49-F238E27FC236}">
                    <a16:creationId xmlns:a16="http://schemas.microsoft.com/office/drawing/2014/main" id="{BB9987B1-A255-F9B8-F851-3026C63B37B9}"/>
                  </a:ext>
                </a:extLst>
              </p:cNvPr>
              <p:cNvSpPr/>
              <p:nvPr/>
            </p:nvSpPr>
            <p:spPr>
              <a:xfrm>
                <a:off x="4677760" y="2818371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6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6 h 59846"/>
                  <a:gd name="connsiteX10" fmla="*/ 30281 w 6056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7" y="0"/>
                      <a:pt x="0" y="13398"/>
                      <a:pt x="0" y="29923"/>
                    </a:cubicBezTo>
                    <a:cubicBezTo>
                      <a:pt x="0" y="46449"/>
                      <a:pt x="13548" y="59847"/>
                      <a:pt x="30281" y="59847"/>
                    </a:cubicBezTo>
                    <a:cubicBezTo>
                      <a:pt x="47014" y="59847"/>
                      <a:pt x="60563" y="46449"/>
                      <a:pt x="60563" y="29923"/>
                    </a:cubicBezTo>
                    <a:cubicBezTo>
                      <a:pt x="60563" y="13398"/>
                      <a:pt x="47014" y="0"/>
                      <a:pt x="30281" y="0"/>
                    </a:cubicBezTo>
                    <a:close/>
                    <a:moveTo>
                      <a:pt x="30281" y="57076"/>
                    </a:moveTo>
                    <a:cubicBezTo>
                      <a:pt x="15112" y="57076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6"/>
                      <a:pt x="30281" y="57076"/>
                    </a:cubicBezTo>
                    <a:lnTo>
                      <a:pt x="3028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30" name="Grafik 21">
              <a:extLst>
                <a:ext uri="{FF2B5EF4-FFF2-40B4-BE49-F238E27FC236}">
                  <a16:creationId xmlns:a16="http://schemas.microsoft.com/office/drawing/2014/main" id="{11AF89F2-3DD0-27B0-EBAF-BACEF5375755}"/>
                </a:ext>
              </a:extLst>
            </p:cNvPr>
            <p:cNvGrpSpPr/>
            <p:nvPr/>
          </p:nvGrpSpPr>
          <p:grpSpPr>
            <a:xfrm>
              <a:off x="4611356" y="2786337"/>
              <a:ext cx="59582" cy="59846"/>
              <a:chOff x="4611356" y="2786337"/>
              <a:chExt cx="59582" cy="59846"/>
            </a:xfrm>
            <a:solidFill>
              <a:srgbClr val="000000"/>
            </a:solidFill>
          </p:grpSpPr>
          <p:sp>
            <p:nvSpPr>
              <p:cNvPr id="3135" name="Freihandform: Form 3134">
                <a:extLst>
                  <a:ext uri="{FF2B5EF4-FFF2-40B4-BE49-F238E27FC236}">
                    <a16:creationId xmlns:a16="http://schemas.microsoft.com/office/drawing/2014/main" id="{20348D15-585F-DA80-1395-7B197689EF37}"/>
                  </a:ext>
                </a:extLst>
              </p:cNvPr>
              <p:cNvSpPr/>
              <p:nvPr/>
            </p:nvSpPr>
            <p:spPr>
              <a:xfrm>
                <a:off x="4617612" y="2807460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36" name="Freihandform: Form 3135">
                <a:extLst>
                  <a:ext uri="{FF2B5EF4-FFF2-40B4-BE49-F238E27FC236}">
                    <a16:creationId xmlns:a16="http://schemas.microsoft.com/office/drawing/2014/main" id="{AE12F004-4BD1-32BD-B7A0-7420DE5ED263}"/>
                  </a:ext>
                </a:extLst>
              </p:cNvPr>
              <p:cNvSpPr/>
              <p:nvPr/>
            </p:nvSpPr>
            <p:spPr>
              <a:xfrm>
                <a:off x="4611356" y="2786337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1" y="59847"/>
                      <a:pt x="59583" y="46449"/>
                      <a:pt x="59583" y="29923"/>
                    </a:cubicBezTo>
                    <a:cubicBezTo>
                      <a:pt x="59583" y="13398"/>
                      <a:pt x="46241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7" y="57076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31" name="Grafik 21">
              <a:extLst>
                <a:ext uri="{FF2B5EF4-FFF2-40B4-BE49-F238E27FC236}">
                  <a16:creationId xmlns:a16="http://schemas.microsoft.com/office/drawing/2014/main" id="{FF9C63E3-D249-7224-3C50-39AB7496639B}"/>
                </a:ext>
              </a:extLst>
            </p:cNvPr>
            <p:cNvGrpSpPr/>
            <p:nvPr/>
          </p:nvGrpSpPr>
          <p:grpSpPr>
            <a:xfrm>
              <a:off x="4381467" y="2857942"/>
              <a:ext cx="59582" cy="59846"/>
              <a:chOff x="4381467" y="2857942"/>
              <a:chExt cx="59582" cy="59846"/>
            </a:xfrm>
            <a:solidFill>
              <a:srgbClr val="000000"/>
            </a:solidFill>
          </p:grpSpPr>
          <p:sp>
            <p:nvSpPr>
              <p:cNvPr id="3133" name="Freihandform: Form 3132">
                <a:extLst>
                  <a:ext uri="{FF2B5EF4-FFF2-40B4-BE49-F238E27FC236}">
                    <a16:creationId xmlns:a16="http://schemas.microsoft.com/office/drawing/2014/main" id="{84B57AF3-EF05-DD39-3A4C-8229D68C3E7B}"/>
                  </a:ext>
                </a:extLst>
              </p:cNvPr>
              <p:cNvSpPr/>
              <p:nvPr/>
            </p:nvSpPr>
            <p:spPr>
              <a:xfrm>
                <a:off x="4387723" y="2879065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34" name="Freihandform: Form 3133">
                <a:extLst>
                  <a:ext uri="{FF2B5EF4-FFF2-40B4-BE49-F238E27FC236}">
                    <a16:creationId xmlns:a16="http://schemas.microsoft.com/office/drawing/2014/main" id="{CF4F69E9-0488-E9D1-A0EB-5E3B462D3312}"/>
                  </a:ext>
                </a:extLst>
              </p:cNvPr>
              <p:cNvSpPr/>
              <p:nvPr/>
            </p:nvSpPr>
            <p:spPr>
              <a:xfrm>
                <a:off x="4381467" y="2857942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1" y="59847"/>
                      <a:pt x="59583" y="46449"/>
                      <a:pt x="59583" y="29923"/>
                    </a:cubicBezTo>
                    <a:cubicBezTo>
                      <a:pt x="59583" y="13398"/>
                      <a:pt x="46241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7" y="57076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32" name="Grafik 21">
              <a:extLst>
                <a:ext uri="{FF2B5EF4-FFF2-40B4-BE49-F238E27FC236}">
                  <a16:creationId xmlns:a16="http://schemas.microsoft.com/office/drawing/2014/main" id="{C5F49D4C-1D9A-59A7-B808-204647D8DA6B}"/>
                </a:ext>
              </a:extLst>
            </p:cNvPr>
            <p:cNvGrpSpPr/>
            <p:nvPr/>
          </p:nvGrpSpPr>
          <p:grpSpPr>
            <a:xfrm>
              <a:off x="4453072" y="2767494"/>
              <a:ext cx="59582" cy="59846"/>
              <a:chOff x="4453072" y="2767494"/>
              <a:chExt cx="59582" cy="59846"/>
            </a:xfrm>
            <a:solidFill>
              <a:srgbClr val="000000"/>
            </a:solidFill>
          </p:grpSpPr>
          <p:sp>
            <p:nvSpPr>
              <p:cNvPr id="3131" name="Freihandform: Form 3130">
                <a:extLst>
                  <a:ext uri="{FF2B5EF4-FFF2-40B4-BE49-F238E27FC236}">
                    <a16:creationId xmlns:a16="http://schemas.microsoft.com/office/drawing/2014/main" id="{0C40D6F8-B1A3-00D0-147C-643D977C8351}"/>
                  </a:ext>
                </a:extLst>
              </p:cNvPr>
              <p:cNvSpPr/>
              <p:nvPr/>
            </p:nvSpPr>
            <p:spPr>
              <a:xfrm>
                <a:off x="4459328" y="2788617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32" name="Freihandform: Form 3131">
                <a:extLst>
                  <a:ext uri="{FF2B5EF4-FFF2-40B4-BE49-F238E27FC236}">
                    <a16:creationId xmlns:a16="http://schemas.microsoft.com/office/drawing/2014/main" id="{7E61E244-6D87-67CD-2078-ABD8629C2798}"/>
                  </a:ext>
                </a:extLst>
              </p:cNvPr>
              <p:cNvSpPr/>
              <p:nvPr/>
            </p:nvSpPr>
            <p:spPr>
              <a:xfrm>
                <a:off x="4453072" y="2767494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1" y="59847"/>
                      <a:pt x="59583" y="46449"/>
                      <a:pt x="59583" y="29923"/>
                    </a:cubicBezTo>
                    <a:cubicBezTo>
                      <a:pt x="59583" y="13398"/>
                      <a:pt x="46241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7" y="57076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33" name="Grafik 21">
              <a:extLst>
                <a:ext uri="{FF2B5EF4-FFF2-40B4-BE49-F238E27FC236}">
                  <a16:creationId xmlns:a16="http://schemas.microsoft.com/office/drawing/2014/main" id="{450B4FE4-6222-D639-46E5-4C9015AA5FDF}"/>
                </a:ext>
              </a:extLst>
            </p:cNvPr>
            <p:cNvGrpSpPr/>
            <p:nvPr/>
          </p:nvGrpSpPr>
          <p:grpSpPr>
            <a:xfrm>
              <a:off x="4313631" y="2665740"/>
              <a:ext cx="59582" cy="59846"/>
              <a:chOff x="4313631" y="2665740"/>
              <a:chExt cx="59582" cy="59846"/>
            </a:xfrm>
            <a:solidFill>
              <a:srgbClr val="000000"/>
            </a:solidFill>
          </p:grpSpPr>
          <p:sp>
            <p:nvSpPr>
              <p:cNvPr id="3129" name="Freihandform: Form 3128">
                <a:extLst>
                  <a:ext uri="{FF2B5EF4-FFF2-40B4-BE49-F238E27FC236}">
                    <a16:creationId xmlns:a16="http://schemas.microsoft.com/office/drawing/2014/main" id="{159CD528-E0C6-BB39-3106-3CD1A46AD378}"/>
                  </a:ext>
                </a:extLst>
              </p:cNvPr>
              <p:cNvSpPr/>
              <p:nvPr/>
            </p:nvSpPr>
            <p:spPr>
              <a:xfrm>
                <a:off x="4319887" y="2686862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30" name="Freihandform: Form 3129">
                <a:extLst>
                  <a:ext uri="{FF2B5EF4-FFF2-40B4-BE49-F238E27FC236}">
                    <a16:creationId xmlns:a16="http://schemas.microsoft.com/office/drawing/2014/main" id="{A951C514-9F8B-37FB-57DC-A3C28C8D9E7D}"/>
                  </a:ext>
                </a:extLst>
              </p:cNvPr>
              <p:cNvSpPr/>
              <p:nvPr/>
            </p:nvSpPr>
            <p:spPr>
              <a:xfrm>
                <a:off x="4313631" y="2665740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1" y="59847"/>
                      <a:pt x="59583" y="46449"/>
                      <a:pt x="59583" y="29923"/>
                    </a:cubicBezTo>
                    <a:cubicBezTo>
                      <a:pt x="59583" y="13398"/>
                      <a:pt x="46241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7" y="57076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34" name="Grafik 21">
              <a:extLst>
                <a:ext uri="{FF2B5EF4-FFF2-40B4-BE49-F238E27FC236}">
                  <a16:creationId xmlns:a16="http://schemas.microsoft.com/office/drawing/2014/main" id="{087C5E89-2ECF-F60D-AD0F-FFD44E05EB76}"/>
                </a:ext>
              </a:extLst>
            </p:cNvPr>
            <p:cNvGrpSpPr/>
            <p:nvPr/>
          </p:nvGrpSpPr>
          <p:grpSpPr>
            <a:xfrm>
              <a:off x="4250016" y="2665740"/>
              <a:ext cx="60562" cy="59846"/>
              <a:chOff x="4250016" y="2665740"/>
              <a:chExt cx="60562" cy="59846"/>
            </a:xfrm>
            <a:solidFill>
              <a:srgbClr val="000000"/>
            </a:solidFill>
          </p:grpSpPr>
          <p:sp>
            <p:nvSpPr>
              <p:cNvPr id="3127" name="Freihandform: Form 3126">
                <a:extLst>
                  <a:ext uri="{FF2B5EF4-FFF2-40B4-BE49-F238E27FC236}">
                    <a16:creationId xmlns:a16="http://schemas.microsoft.com/office/drawing/2014/main" id="{DF7093F0-045F-8946-7A9C-632196ABEFF0}"/>
                  </a:ext>
                </a:extLst>
              </p:cNvPr>
              <p:cNvSpPr/>
              <p:nvPr/>
            </p:nvSpPr>
            <p:spPr>
              <a:xfrm>
                <a:off x="4256385" y="2686862"/>
                <a:ext cx="47880" cy="26852"/>
              </a:xfrm>
              <a:custGeom>
                <a:avLst/>
                <a:gdLst>
                  <a:gd name="connsiteX0" fmla="*/ 41776 w 47880"/>
                  <a:gd name="connsiteY0" fmla="*/ 22613 h 26852"/>
                  <a:gd name="connsiteX1" fmla="*/ 41776 w 47880"/>
                  <a:gd name="connsiteY1" fmla="*/ 26853 h 26852"/>
                  <a:gd name="connsiteX2" fmla="*/ 0 w 47880"/>
                  <a:gd name="connsiteY2" fmla="*/ 1 h 26852"/>
                  <a:gd name="connsiteX3" fmla="*/ 14509 w 47880"/>
                  <a:gd name="connsiteY3" fmla="*/ 1 h 26852"/>
                  <a:gd name="connsiteX4" fmla="*/ 14509 w 47880"/>
                  <a:gd name="connsiteY4" fmla="*/ 2507 h 26852"/>
                  <a:gd name="connsiteX5" fmla="*/ 11664 w 47880"/>
                  <a:gd name="connsiteY5" fmla="*/ 3261 h 26852"/>
                  <a:gd name="connsiteX6" fmla="*/ 21029 w 47880"/>
                  <a:gd name="connsiteY6" fmla="*/ 9272 h 26852"/>
                  <a:gd name="connsiteX7" fmla="*/ 17619 w 47880"/>
                  <a:gd name="connsiteY7" fmla="*/ 1659 h 26852"/>
                  <a:gd name="connsiteX8" fmla="*/ 21255 w 47880"/>
                  <a:gd name="connsiteY8" fmla="*/ 1 h 26852"/>
                  <a:gd name="connsiteX9" fmla="*/ 47881 w 47880"/>
                  <a:gd name="connsiteY9" fmla="*/ 1 h 26852"/>
                  <a:gd name="connsiteX10" fmla="*/ 31939 w 47880"/>
                  <a:gd name="connsiteY10" fmla="*/ 12362 h 26852"/>
                  <a:gd name="connsiteX11" fmla="*/ 30112 w 47880"/>
                  <a:gd name="connsiteY11" fmla="*/ 10647 h 26852"/>
                  <a:gd name="connsiteX12" fmla="*/ 37894 w 47880"/>
                  <a:gd name="connsiteY12" fmla="*/ 3355 h 26852"/>
                  <a:gd name="connsiteX13" fmla="*/ 23083 w 47880"/>
                  <a:gd name="connsiteY13" fmla="*/ 3355 h 26852"/>
                  <a:gd name="connsiteX14" fmla="*/ 22009 w 47880"/>
                  <a:gd name="connsiteY14" fmla="*/ 3845 h 26852"/>
                  <a:gd name="connsiteX15" fmla="*/ 38101 w 47880"/>
                  <a:gd name="connsiteY15" fmla="*/ 20220 h 26852"/>
                  <a:gd name="connsiteX16" fmla="*/ 41776 w 47880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0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9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39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1" y="6125"/>
                      <a:pt x="29641" y="14661"/>
                      <a:pt x="38101" y="20220"/>
                    </a:cubicBezTo>
                    <a:lnTo>
                      <a:pt x="4177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28" name="Freihandform: Form 3127">
                <a:extLst>
                  <a:ext uri="{FF2B5EF4-FFF2-40B4-BE49-F238E27FC236}">
                    <a16:creationId xmlns:a16="http://schemas.microsoft.com/office/drawing/2014/main" id="{32BB512A-5380-716C-C765-3CECA7DFB3FD}"/>
                  </a:ext>
                </a:extLst>
              </p:cNvPr>
              <p:cNvSpPr/>
              <p:nvPr/>
            </p:nvSpPr>
            <p:spPr>
              <a:xfrm>
                <a:off x="4250016" y="2665740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6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6 h 59846"/>
                  <a:gd name="connsiteX10" fmla="*/ 30281 w 6056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7" y="0"/>
                      <a:pt x="0" y="13398"/>
                      <a:pt x="0" y="29923"/>
                    </a:cubicBezTo>
                    <a:cubicBezTo>
                      <a:pt x="0" y="46449"/>
                      <a:pt x="13548" y="59847"/>
                      <a:pt x="30281" y="59847"/>
                    </a:cubicBezTo>
                    <a:cubicBezTo>
                      <a:pt x="47014" y="59847"/>
                      <a:pt x="60563" y="46449"/>
                      <a:pt x="60563" y="29923"/>
                    </a:cubicBezTo>
                    <a:cubicBezTo>
                      <a:pt x="60563" y="13398"/>
                      <a:pt x="47014" y="0"/>
                      <a:pt x="30281" y="0"/>
                    </a:cubicBezTo>
                    <a:close/>
                    <a:moveTo>
                      <a:pt x="30281" y="57076"/>
                    </a:moveTo>
                    <a:cubicBezTo>
                      <a:pt x="15112" y="57076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6"/>
                      <a:pt x="30281" y="57076"/>
                    </a:cubicBezTo>
                    <a:lnTo>
                      <a:pt x="3028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35" name="Grafik 21">
              <a:extLst>
                <a:ext uri="{FF2B5EF4-FFF2-40B4-BE49-F238E27FC236}">
                  <a16:creationId xmlns:a16="http://schemas.microsoft.com/office/drawing/2014/main" id="{C323D288-B6D2-DB52-F093-2216CC0391CC}"/>
                </a:ext>
              </a:extLst>
            </p:cNvPr>
            <p:cNvGrpSpPr/>
            <p:nvPr/>
          </p:nvGrpSpPr>
          <p:grpSpPr>
            <a:xfrm>
              <a:off x="4104469" y="2750535"/>
              <a:ext cx="59582" cy="59846"/>
              <a:chOff x="4104469" y="2750535"/>
              <a:chExt cx="59582" cy="59846"/>
            </a:xfrm>
            <a:solidFill>
              <a:srgbClr val="000000"/>
            </a:solidFill>
          </p:grpSpPr>
          <p:sp>
            <p:nvSpPr>
              <p:cNvPr id="3125" name="Freihandform: Form 3124">
                <a:extLst>
                  <a:ext uri="{FF2B5EF4-FFF2-40B4-BE49-F238E27FC236}">
                    <a16:creationId xmlns:a16="http://schemas.microsoft.com/office/drawing/2014/main" id="{4AA90DF7-F463-C5CA-495F-3591F520A750}"/>
                  </a:ext>
                </a:extLst>
              </p:cNvPr>
              <p:cNvSpPr/>
              <p:nvPr/>
            </p:nvSpPr>
            <p:spPr>
              <a:xfrm>
                <a:off x="4110725" y="2771658"/>
                <a:ext cx="47089" cy="26852"/>
              </a:xfrm>
              <a:custGeom>
                <a:avLst/>
                <a:gdLst>
                  <a:gd name="connsiteX0" fmla="*/ 41097 w 47089"/>
                  <a:gd name="connsiteY0" fmla="*/ 22613 h 26852"/>
                  <a:gd name="connsiteX1" fmla="*/ 41097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7" y="22613"/>
                    </a:moveTo>
                    <a:lnTo>
                      <a:pt x="41097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26" name="Freihandform: Form 3125">
                <a:extLst>
                  <a:ext uri="{FF2B5EF4-FFF2-40B4-BE49-F238E27FC236}">
                    <a16:creationId xmlns:a16="http://schemas.microsoft.com/office/drawing/2014/main" id="{ED3E6497-6012-7158-24D8-26F17EAE6886}"/>
                  </a:ext>
                </a:extLst>
              </p:cNvPr>
              <p:cNvSpPr/>
              <p:nvPr/>
            </p:nvSpPr>
            <p:spPr>
              <a:xfrm>
                <a:off x="4104469" y="2750535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7" y="57076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36" name="Grafik 21">
              <a:extLst>
                <a:ext uri="{FF2B5EF4-FFF2-40B4-BE49-F238E27FC236}">
                  <a16:creationId xmlns:a16="http://schemas.microsoft.com/office/drawing/2014/main" id="{0904BD2D-7F8E-DF4F-7547-AF9E8DABC1A4}"/>
                </a:ext>
              </a:extLst>
            </p:cNvPr>
            <p:cNvGrpSpPr/>
            <p:nvPr/>
          </p:nvGrpSpPr>
          <p:grpSpPr>
            <a:xfrm>
              <a:off x="4430460" y="2021296"/>
              <a:ext cx="59582" cy="59846"/>
              <a:chOff x="4430460" y="2021296"/>
              <a:chExt cx="59582" cy="59846"/>
            </a:xfrm>
            <a:solidFill>
              <a:srgbClr val="000000"/>
            </a:solidFill>
          </p:grpSpPr>
          <p:sp>
            <p:nvSpPr>
              <p:cNvPr id="3123" name="Freihandform: Form 3122">
                <a:extLst>
                  <a:ext uri="{FF2B5EF4-FFF2-40B4-BE49-F238E27FC236}">
                    <a16:creationId xmlns:a16="http://schemas.microsoft.com/office/drawing/2014/main" id="{4349982B-FCA3-9068-489A-F06C08FFD5D7}"/>
                  </a:ext>
                </a:extLst>
              </p:cNvPr>
              <p:cNvSpPr/>
              <p:nvPr/>
            </p:nvSpPr>
            <p:spPr>
              <a:xfrm>
                <a:off x="4436716" y="2042419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24" name="Freihandform: Form 3123">
                <a:extLst>
                  <a:ext uri="{FF2B5EF4-FFF2-40B4-BE49-F238E27FC236}">
                    <a16:creationId xmlns:a16="http://schemas.microsoft.com/office/drawing/2014/main" id="{1CCFD2EC-C472-0530-722F-4E57582BE262}"/>
                  </a:ext>
                </a:extLst>
              </p:cNvPr>
              <p:cNvSpPr/>
              <p:nvPr/>
            </p:nvSpPr>
            <p:spPr>
              <a:xfrm>
                <a:off x="4430460" y="2021296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1" y="59847"/>
                      <a:pt x="59583" y="46449"/>
                      <a:pt x="59583" y="29923"/>
                    </a:cubicBezTo>
                    <a:cubicBezTo>
                      <a:pt x="59583" y="13398"/>
                      <a:pt x="46241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7" y="57077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37" name="Grafik 21">
              <a:extLst>
                <a:ext uri="{FF2B5EF4-FFF2-40B4-BE49-F238E27FC236}">
                  <a16:creationId xmlns:a16="http://schemas.microsoft.com/office/drawing/2014/main" id="{EF2EA029-190B-B87F-B36F-BA1E5AE998DD}"/>
                </a:ext>
              </a:extLst>
            </p:cNvPr>
            <p:cNvGrpSpPr/>
            <p:nvPr/>
          </p:nvGrpSpPr>
          <p:grpSpPr>
            <a:xfrm>
              <a:off x="4532214" y="1957229"/>
              <a:ext cx="59582" cy="59846"/>
              <a:chOff x="4532214" y="1957229"/>
              <a:chExt cx="59582" cy="59846"/>
            </a:xfrm>
            <a:solidFill>
              <a:srgbClr val="000000"/>
            </a:solidFill>
          </p:grpSpPr>
          <p:sp>
            <p:nvSpPr>
              <p:cNvPr id="3121" name="Freihandform: Form 3120">
                <a:extLst>
                  <a:ext uri="{FF2B5EF4-FFF2-40B4-BE49-F238E27FC236}">
                    <a16:creationId xmlns:a16="http://schemas.microsoft.com/office/drawing/2014/main" id="{E96D7191-0B03-3959-932C-7D970A7208F5}"/>
                  </a:ext>
                </a:extLst>
              </p:cNvPr>
              <p:cNvSpPr/>
              <p:nvPr/>
            </p:nvSpPr>
            <p:spPr>
              <a:xfrm>
                <a:off x="4538470" y="1978352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22" name="Freihandform: Form 3121">
                <a:extLst>
                  <a:ext uri="{FF2B5EF4-FFF2-40B4-BE49-F238E27FC236}">
                    <a16:creationId xmlns:a16="http://schemas.microsoft.com/office/drawing/2014/main" id="{94780D0B-03A8-D833-D62B-CAA329705959}"/>
                  </a:ext>
                </a:extLst>
              </p:cNvPr>
              <p:cNvSpPr/>
              <p:nvPr/>
            </p:nvSpPr>
            <p:spPr>
              <a:xfrm>
                <a:off x="4532214" y="1957229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1" y="59847"/>
                      <a:pt x="59583" y="46449"/>
                      <a:pt x="59583" y="29923"/>
                    </a:cubicBezTo>
                    <a:cubicBezTo>
                      <a:pt x="59583" y="13398"/>
                      <a:pt x="46241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7" y="57077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38" name="Grafik 21">
              <a:extLst>
                <a:ext uri="{FF2B5EF4-FFF2-40B4-BE49-F238E27FC236}">
                  <a16:creationId xmlns:a16="http://schemas.microsoft.com/office/drawing/2014/main" id="{4AC461F0-5BA5-7D52-AD6E-D83E368E31D6}"/>
                </a:ext>
              </a:extLst>
            </p:cNvPr>
            <p:cNvGrpSpPr/>
            <p:nvPr/>
          </p:nvGrpSpPr>
          <p:grpSpPr>
            <a:xfrm>
              <a:off x="4607587" y="1896930"/>
              <a:ext cx="59582" cy="59846"/>
              <a:chOff x="4607587" y="1896930"/>
              <a:chExt cx="59582" cy="59846"/>
            </a:xfrm>
            <a:solidFill>
              <a:srgbClr val="000000"/>
            </a:solidFill>
          </p:grpSpPr>
          <p:sp>
            <p:nvSpPr>
              <p:cNvPr id="3119" name="Freihandform: Form 3118">
                <a:extLst>
                  <a:ext uri="{FF2B5EF4-FFF2-40B4-BE49-F238E27FC236}">
                    <a16:creationId xmlns:a16="http://schemas.microsoft.com/office/drawing/2014/main" id="{34F43207-6315-76BB-E4DD-F05C734EB453}"/>
                  </a:ext>
                </a:extLst>
              </p:cNvPr>
              <p:cNvSpPr/>
              <p:nvPr/>
            </p:nvSpPr>
            <p:spPr>
              <a:xfrm>
                <a:off x="4613843" y="1918053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20" name="Freihandform: Form 3119">
                <a:extLst>
                  <a:ext uri="{FF2B5EF4-FFF2-40B4-BE49-F238E27FC236}">
                    <a16:creationId xmlns:a16="http://schemas.microsoft.com/office/drawing/2014/main" id="{B7B4B7E5-F7AD-EAE7-EB6E-752C67C34DB0}"/>
                  </a:ext>
                </a:extLst>
              </p:cNvPr>
              <p:cNvSpPr/>
              <p:nvPr/>
            </p:nvSpPr>
            <p:spPr>
              <a:xfrm>
                <a:off x="4607587" y="1896930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1" y="59847"/>
                      <a:pt x="59583" y="46449"/>
                      <a:pt x="59583" y="29923"/>
                    </a:cubicBezTo>
                    <a:cubicBezTo>
                      <a:pt x="59583" y="13398"/>
                      <a:pt x="46241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7" y="57077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39" name="Grafik 21">
              <a:extLst>
                <a:ext uri="{FF2B5EF4-FFF2-40B4-BE49-F238E27FC236}">
                  <a16:creationId xmlns:a16="http://schemas.microsoft.com/office/drawing/2014/main" id="{4AC1EC83-E40B-0B56-D1B3-581C61E39BCF}"/>
                </a:ext>
              </a:extLst>
            </p:cNvPr>
            <p:cNvGrpSpPr/>
            <p:nvPr/>
          </p:nvGrpSpPr>
          <p:grpSpPr>
            <a:xfrm>
              <a:off x="4818633" y="1806482"/>
              <a:ext cx="59582" cy="59846"/>
              <a:chOff x="4818633" y="1806482"/>
              <a:chExt cx="59582" cy="59846"/>
            </a:xfrm>
            <a:solidFill>
              <a:srgbClr val="000000"/>
            </a:solidFill>
          </p:grpSpPr>
          <p:sp>
            <p:nvSpPr>
              <p:cNvPr id="3117" name="Freihandform: Form 3116">
                <a:extLst>
                  <a:ext uri="{FF2B5EF4-FFF2-40B4-BE49-F238E27FC236}">
                    <a16:creationId xmlns:a16="http://schemas.microsoft.com/office/drawing/2014/main" id="{61DA0B05-5D97-BBB3-1665-F6FDC4DFCAB6}"/>
                  </a:ext>
                </a:extLst>
              </p:cNvPr>
              <p:cNvSpPr/>
              <p:nvPr/>
            </p:nvSpPr>
            <p:spPr>
              <a:xfrm>
                <a:off x="4824889" y="1827605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18" name="Freihandform: Form 3117">
                <a:extLst>
                  <a:ext uri="{FF2B5EF4-FFF2-40B4-BE49-F238E27FC236}">
                    <a16:creationId xmlns:a16="http://schemas.microsoft.com/office/drawing/2014/main" id="{2A094751-5B2A-1E57-1A3D-E3D5C1E9B98A}"/>
                  </a:ext>
                </a:extLst>
              </p:cNvPr>
              <p:cNvSpPr/>
              <p:nvPr/>
            </p:nvSpPr>
            <p:spPr>
              <a:xfrm>
                <a:off x="4818633" y="1806482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1" y="59847"/>
                      <a:pt x="59583" y="46449"/>
                      <a:pt x="59583" y="29923"/>
                    </a:cubicBezTo>
                    <a:cubicBezTo>
                      <a:pt x="59583" y="13398"/>
                      <a:pt x="46241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7" y="57077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40" name="Grafik 21">
              <a:extLst>
                <a:ext uri="{FF2B5EF4-FFF2-40B4-BE49-F238E27FC236}">
                  <a16:creationId xmlns:a16="http://schemas.microsoft.com/office/drawing/2014/main" id="{AAE384B6-1937-4FFF-4153-6E5AA4B04B77}"/>
                </a:ext>
              </a:extLst>
            </p:cNvPr>
            <p:cNvGrpSpPr/>
            <p:nvPr/>
          </p:nvGrpSpPr>
          <p:grpSpPr>
            <a:xfrm>
              <a:off x="4351318" y="1825325"/>
              <a:ext cx="59582" cy="59846"/>
              <a:chOff x="4351318" y="1825325"/>
              <a:chExt cx="59582" cy="59846"/>
            </a:xfrm>
            <a:solidFill>
              <a:srgbClr val="000000"/>
            </a:solidFill>
          </p:grpSpPr>
          <p:sp>
            <p:nvSpPr>
              <p:cNvPr id="3115" name="Freihandform: Form 3114">
                <a:extLst>
                  <a:ext uri="{FF2B5EF4-FFF2-40B4-BE49-F238E27FC236}">
                    <a16:creationId xmlns:a16="http://schemas.microsoft.com/office/drawing/2014/main" id="{EC2AFDE3-BC66-95F7-7330-11204D58E181}"/>
                  </a:ext>
                </a:extLst>
              </p:cNvPr>
              <p:cNvSpPr/>
              <p:nvPr/>
            </p:nvSpPr>
            <p:spPr>
              <a:xfrm>
                <a:off x="4357573" y="1846448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16" name="Freihandform: Form 3115">
                <a:extLst>
                  <a:ext uri="{FF2B5EF4-FFF2-40B4-BE49-F238E27FC236}">
                    <a16:creationId xmlns:a16="http://schemas.microsoft.com/office/drawing/2014/main" id="{C77CD05C-5DFB-0C04-F270-1943E3A4C410}"/>
                  </a:ext>
                </a:extLst>
              </p:cNvPr>
              <p:cNvSpPr/>
              <p:nvPr/>
            </p:nvSpPr>
            <p:spPr>
              <a:xfrm>
                <a:off x="4351318" y="1825325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1" y="59847"/>
                      <a:pt x="59583" y="46449"/>
                      <a:pt x="59583" y="29923"/>
                    </a:cubicBezTo>
                    <a:cubicBezTo>
                      <a:pt x="59583" y="13398"/>
                      <a:pt x="46241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7" y="57077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41" name="Grafik 21">
              <a:extLst>
                <a:ext uri="{FF2B5EF4-FFF2-40B4-BE49-F238E27FC236}">
                  <a16:creationId xmlns:a16="http://schemas.microsoft.com/office/drawing/2014/main" id="{0D41C42B-C1C5-4053-52BF-2F79B7F7727E}"/>
                </a:ext>
              </a:extLst>
            </p:cNvPr>
            <p:cNvGrpSpPr/>
            <p:nvPr/>
          </p:nvGrpSpPr>
          <p:grpSpPr>
            <a:xfrm>
              <a:off x="3949954" y="1749952"/>
              <a:ext cx="59582" cy="59846"/>
              <a:chOff x="3949954" y="1749952"/>
              <a:chExt cx="59582" cy="59846"/>
            </a:xfrm>
            <a:solidFill>
              <a:srgbClr val="000000"/>
            </a:solidFill>
          </p:grpSpPr>
          <p:sp>
            <p:nvSpPr>
              <p:cNvPr id="3113" name="Freihandform: Form 3112">
                <a:extLst>
                  <a:ext uri="{FF2B5EF4-FFF2-40B4-BE49-F238E27FC236}">
                    <a16:creationId xmlns:a16="http://schemas.microsoft.com/office/drawing/2014/main" id="{2DB63ACF-B4E1-16F8-7696-5ED4361447BD}"/>
                  </a:ext>
                </a:extLst>
              </p:cNvPr>
              <p:cNvSpPr/>
              <p:nvPr/>
            </p:nvSpPr>
            <p:spPr>
              <a:xfrm>
                <a:off x="3956210" y="1771075"/>
                <a:ext cx="47089" cy="26852"/>
              </a:xfrm>
              <a:custGeom>
                <a:avLst/>
                <a:gdLst>
                  <a:gd name="connsiteX0" fmla="*/ 41097 w 47089"/>
                  <a:gd name="connsiteY0" fmla="*/ 22613 h 26852"/>
                  <a:gd name="connsiteX1" fmla="*/ 41097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7" y="22613"/>
                    </a:moveTo>
                    <a:lnTo>
                      <a:pt x="41097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14" name="Freihandform: Form 3113">
                <a:extLst>
                  <a:ext uri="{FF2B5EF4-FFF2-40B4-BE49-F238E27FC236}">
                    <a16:creationId xmlns:a16="http://schemas.microsoft.com/office/drawing/2014/main" id="{404DAFB4-3503-13D8-21DA-DCE55B4193C4}"/>
                  </a:ext>
                </a:extLst>
              </p:cNvPr>
              <p:cNvSpPr/>
              <p:nvPr/>
            </p:nvSpPr>
            <p:spPr>
              <a:xfrm>
                <a:off x="3949954" y="1749952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7" y="57077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42" name="Grafik 21">
              <a:extLst>
                <a:ext uri="{FF2B5EF4-FFF2-40B4-BE49-F238E27FC236}">
                  <a16:creationId xmlns:a16="http://schemas.microsoft.com/office/drawing/2014/main" id="{EE520556-F843-9DB6-4769-FBC948436D1F}"/>
                </a:ext>
              </a:extLst>
            </p:cNvPr>
            <p:cNvGrpSpPr/>
            <p:nvPr/>
          </p:nvGrpSpPr>
          <p:grpSpPr>
            <a:xfrm>
              <a:off x="3394093" y="2251186"/>
              <a:ext cx="59582" cy="59846"/>
              <a:chOff x="3394093" y="2251186"/>
              <a:chExt cx="59582" cy="59846"/>
            </a:xfrm>
            <a:solidFill>
              <a:srgbClr val="000000"/>
            </a:solidFill>
          </p:grpSpPr>
          <p:sp>
            <p:nvSpPr>
              <p:cNvPr id="3111" name="Freihandform: Form 3110">
                <a:extLst>
                  <a:ext uri="{FF2B5EF4-FFF2-40B4-BE49-F238E27FC236}">
                    <a16:creationId xmlns:a16="http://schemas.microsoft.com/office/drawing/2014/main" id="{9D27C559-BDC4-534E-66F5-BA1A004BAB0F}"/>
                  </a:ext>
                </a:extLst>
              </p:cNvPr>
              <p:cNvSpPr/>
              <p:nvPr/>
            </p:nvSpPr>
            <p:spPr>
              <a:xfrm>
                <a:off x="3400349" y="2272308"/>
                <a:ext cx="47089" cy="26852"/>
              </a:xfrm>
              <a:custGeom>
                <a:avLst/>
                <a:gdLst>
                  <a:gd name="connsiteX0" fmla="*/ 41097 w 47089"/>
                  <a:gd name="connsiteY0" fmla="*/ 22613 h 26852"/>
                  <a:gd name="connsiteX1" fmla="*/ 41097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7" y="22613"/>
                    </a:moveTo>
                    <a:lnTo>
                      <a:pt x="41097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12" name="Freihandform: Form 3111">
                <a:extLst>
                  <a:ext uri="{FF2B5EF4-FFF2-40B4-BE49-F238E27FC236}">
                    <a16:creationId xmlns:a16="http://schemas.microsoft.com/office/drawing/2014/main" id="{82ACBAE7-FD5A-8CF7-BFC5-05E9D2B2B9F5}"/>
                  </a:ext>
                </a:extLst>
              </p:cNvPr>
              <p:cNvSpPr/>
              <p:nvPr/>
            </p:nvSpPr>
            <p:spPr>
              <a:xfrm>
                <a:off x="3394093" y="2251186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7" y="57077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43" name="Grafik 21">
              <a:extLst>
                <a:ext uri="{FF2B5EF4-FFF2-40B4-BE49-F238E27FC236}">
                  <a16:creationId xmlns:a16="http://schemas.microsoft.com/office/drawing/2014/main" id="{6773C3D3-1DE8-72E0-CCB1-A4B55E467A65}"/>
                </a:ext>
              </a:extLst>
            </p:cNvPr>
            <p:cNvGrpSpPr/>
            <p:nvPr/>
          </p:nvGrpSpPr>
          <p:grpSpPr>
            <a:xfrm>
              <a:off x="3201890" y="2239484"/>
              <a:ext cx="59582" cy="58753"/>
              <a:chOff x="3201890" y="2239484"/>
              <a:chExt cx="59582" cy="58753"/>
            </a:xfrm>
            <a:solidFill>
              <a:srgbClr val="000000"/>
            </a:solidFill>
          </p:grpSpPr>
          <p:sp>
            <p:nvSpPr>
              <p:cNvPr id="3109" name="Freihandform: Form 3108">
                <a:extLst>
                  <a:ext uri="{FF2B5EF4-FFF2-40B4-BE49-F238E27FC236}">
                    <a16:creationId xmlns:a16="http://schemas.microsoft.com/office/drawing/2014/main" id="{257B8A28-DB73-9A8E-5460-14BE6F44939C}"/>
                  </a:ext>
                </a:extLst>
              </p:cNvPr>
              <p:cNvSpPr/>
              <p:nvPr/>
            </p:nvSpPr>
            <p:spPr>
              <a:xfrm>
                <a:off x="3208146" y="2260230"/>
                <a:ext cx="47089" cy="26362"/>
              </a:xfrm>
              <a:custGeom>
                <a:avLst/>
                <a:gdLst>
                  <a:gd name="connsiteX0" fmla="*/ 41097 w 47089"/>
                  <a:gd name="connsiteY0" fmla="*/ 22198 h 26362"/>
                  <a:gd name="connsiteX1" fmla="*/ 41097 w 47089"/>
                  <a:gd name="connsiteY1" fmla="*/ 26363 h 26362"/>
                  <a:gd name="connsiteX2" fmla="*/ 0 w 47089"/>
                  <a:gd name="connsiteY2" fmla="*/ 20 h 26362"/>
                  <a:gd name="connsiteX3" fmla="*/ 14264 w 47089"/>
                  <a:gd name="connsiteY3" fmla="*/ 20 h 26362"/>
                  <a:gd name="connsiteX4" fmla="*/ 14264 w 47089"/>
                  <a:gd name="connsiteY4" fmla="*/ 2469 h 26362"/>
                  <a:gd name="connsiteX5" fmla="*/ 11457 w 47089"/>
                  <a:gd name="connsiteY5" fmla="*/ 3204 h 26362"/>
                  <a:gd name="connsiteX6" fmla="*/ 20671 w 47089"/>
                  <a:gd name="connsiteY6" fmla="*/ 9102 h 26362"/>
                  <a:gd name="connsiteX7" fmla="*/ 17317 w 47089"/>
                  <a:gd name="connsiteY7" fmla="*/ 1621 h 26362"/>
                  <a:gd name="connsiteX8" fmla="*/ 20897 w 47089"/>
                  <a:gd name="connsiteY8" fmla="*/ 1 h 26362"/>
                  <a:gd name="connsiteX9" fmla="*/ 47090 w 47089"/>
                  <a:gd name="connsiteY9" fmla="*/ 1 h 26362"/>
                  <a:gd name="connsiteX10" fmla="*/ 31412 w 47089"/>
                  <a:gd name="connsiteY10" fmla="*/ 12136 h 26362"/>
                  <a:gd name="connsiteX11" fmla="*/ 29622 w 47089"/>
                  <a:gd name="connsiteY11" fmla="*/ 10440 h 26362"/>
                  <a:gd name="connsiteX12" fmla="*/ 37291 w 47089"/>
                  <a:gd name="connsiteY12" fmla="*/ 3280 h 26362"/>
                  <a:gd name="connsiteX13" fmla="*/ 22725 w 47089"/>
                  <a:gd name="connsiteY13" fmla="*/ 3280 h 26362"/>
                  <a:gd name="connsiteX14" fmla="*/ 21670 w 47089"/>
                  <a:gd name="connsiteY14" fmla="*/ 3770 h 26362"/>
                  <a:gd name="connsiteX15" fmla="*/ 37498 w 47089"/>
                  <a:gd name="connsiteY15" fmla="*/ 19824 h 26362"/>
                  <a:gd name="connsiteX16" fmla="*/ 41116 w 47089"/>
                  <a:gd name="connsiteY16" fmla="*/ 22198 h 26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362">
                    <a:moveTo>
                      <a:pt x="41097" y="22198"/>
                    </a:moveTo>
                    <a:lnTo>
                      <a:pt x="41097" y="26363"/>
                    </a:lnTo>
                    <a:lnTo>
                      <a:pt x="0" y="20"/>
                    </a:lnTo>
                    <a:lnTo>
                      <a:pt x="14264" y="20"/>
                    </a:lnTo>
                    <a:lnTo>
                      <a:pt x="14264" y="2469"/>
                    </a:lnTo>
                    <a:lnTo>
                      <a:pt x="11457" y="3204"/>
                    </a:lnTo>
                    <a:lnTo>
                      <a:pt x="20671" y="9102"/>
                    </a:lnTo>
                    <a:cubicBezTo>
                      <a:pt x="20671" y="9102"/>
                      <a:pt x="15734" y="4806"/>
                      <a:pt x="17317" y="1621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136"/>
                    </a:lnTo>
                    <a:lnTo>
                      <a:pt x="29622" y="10440"/>
                    </a:lnTo>
                    <a:lnTo>
                      <a:pt x="37291" y="3280"/>
                    </a:lnTo>
                    <a:lnTo>
                      <a:pt x="22725" y="3280"/>
                    </a:lnTo>
                    <a:cubicBezTo>
                      <a:pt x="22574" y="3280"/>
                      <a:pt x="21896" y="3242"/>
                      <a:pt x="21670" y="3770"/>
                    </a:cubicBezTo>
                    <a:cubicBezTo>
                      <a:pt x="20671" y="6012"/>
                      <a:pt x="29188" y="14378"/>
                      <a:pt x="37498" y="19824"/>
                    </a:cubicBezTo>
                    <a:lnTo>
                      <a:pt x="41116" y="2219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10" name="Freihandform: Form 3109">
                <a:extLst>
                  <a:ext uri="{FF2B5EF4-FFF2-40B4-BE49-F238E27FC236}">
                    <a16:creationId xmlns:a16="http://schemas.microsoft.com/office/drawing/2014/main" id="{9C107A79-7DD1-DD3B-9CB6-36AFAB3C8E53}"/>
                  </a:ext>
                </a:extLst>
              </p:cNvPr>
              <p:cNvSpPr/>
              <p:nvPr/>
            </p:nvSpPr>
            <p:spPr>
              <a:xfrm>
                <a:off x="3201890" y="2239484"/>
                <a:ext cx="59582" cy="58753"/>
              </a:xfrm>
              <a:custGeom>
                <a:avLst/>
                <a:gdLst>
                  <a:gd name="connsiteX0" fmla="*/ 29791 w 59582"/>
                  <a:gd name="connsiteY0" fmla="*/ 0 h 58753"/>
                  <a:gd name="connsiteX1" fmla="*/ 0 w 59582"/>
                  <a:gd name="connsiteY1" fmla="*/ 29377 h 58753"/>
                  <a:gd name="connsiteX2" fmla="*/ 29791 w 59582"/>
                  <a:gd name="connsiteY2" fmla="*/ 58754 h 58753"/>
                  <a:gd name="connsiteX3" fmla="*/ 59583 w 59582"/>
                  <a:gd name="connsiteY3" fmla="*/ 29377 h 58753"/>
                  <a:gd name="connsiteX4" fmla="*/ 29791 w 59582"/>
                  <a:gd name="connsiteY4" fmla="*/ 0 h 58753"/>
                  <a:gd name="connsiteX5" fmla="*/ 29791 w 59582"/>
                  <a:gd name="connsiteY5" fmla="*/ 56021 h 58753"/>
                  <a:gd name="connsiteX6" fmla="*/ 2770 w 59582"/>
                  <a:gd name="connsiteY6" fmla="*/ 29377 h 58753"/>
                  <a:gd name="connsiteX7" fmla="*/ 29791 w 59582"/>
                  <a:gd name="connsiteY7" fmla="*/ 2732 h 58753"/>
                  <a:gd name="connsiteX8" fmla="*/ 56813 w 59582"/>
                  <a:gd name="connsiteY8" fmla="*/ 29377 h 58753"/>
                  <a:gd name="connsiteX9" fmla="*/ 29791 w 59582"/>
                  <a:gd name="connsiteY9" fmla="*/ 56021 h 58753"/>
                  <a:gd name="connsiteX10" fmla="*/ 29791 w 59582"/>
                  <a:gd name="connsiteY10" fmla="*/ 56021 h 58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8753">
                    <a:moveTo>
                      <a:pt x="29791" y="0"/>
                    </a:moveTo>
                    <a:cubicBezTo>
                      <a:pt x="13341" y="0"/>
                      <a:pt x="0" y="13153"/>
                      <a:pt x="0" y="29377"/>
                    </a:cubicBezTo>
                    <a:cubicBezTo>
                      <a:pt x="0" y="45601"/>
                      <a:pt x="13341" y="58754"/>
                      <a:pt x="29791" y="58754"/>
                    </a:cubicBezTo>
                    <a:cubicBezTo>
                      <a:pt x="46242" y="58754"/>
                      <a:pt x="59583" y="45601"/>
                      <a:pt x="59583" y="29377"/>
                    </a:cubicBezTo>
                    <a:cubicBezTo>
                      <a:pt x="59583" y="13153"/>
                      <a:pt x="46242" y="0"/>
                      <a:pt x="29791" y="0"/>
                    </a:cubicBezTo>
                    <a:close/>
                    <a:moveTo>
                      <a:pt x="29791" y="56021"/>
                    </a:moveTo>
                    <a:cubicBezTo>
                      <a:pt x="14867" y="56021"/>
                      <a:pt x="2770" y="44093"/>
                      <a:pt x="2770" y="29377"/>
                    </a:cubicBezTo>
                    <a:cubicBezTo>
                      <a:pt x="2770" y="14660"/>
                      <a:pt x="14867" y="2732"/>
                      <a:pt x="29791" y="2732"/>
                    </a:cubicBezTo>
                    <a:cubicBezTo>
                      <a:pt x="44715" y="2732"/>
                      <a:pt x="56813" y="14660"/>
                      <a:pt x="56813" y="29377"/>
                    </a:cubicBezTo>
                    <a:cubicBezTo>
                      <a:pt x="56813" y="44093"/>
                      <a:pt x="44715" y="56021"/>
                      <a:pt x="29791" y="56021"/>
                    </a:cubicBezTo>
                    <a:lnTo>
                      <a:pt x="29791" y="5602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44" name="Grafik 21">
              <a:extLst>
                <a:ext uri="{FF2B5EF4-FFF2-40B4-BE49-F238E27FC236}">
                  <a16:creationId xmlns:a16="http://schemas.microsoft.com/office/drawing/2014/main" id="{E2CF2829-B0F2-530E-022E-B4C8612D5617}"/>
                </a:ext>
              </a:extLst>
            </p:cNvPr>
            <p:cNvGrpSpPr/>
            <p:nvPr/>
          </p:nvGrpSpPr>
          <p:grpSpPr>
            <a:xfrm>
              <a:off x="3279601" y="2156969"/>
              <a:ext cx="60562" cy="59846"/>
              <a:chOff x="3279601" y="2156969"/>
              <a:chExt cx="60562" cy="59846"/>
            </a:xfrm>
            <a:solidFill>
              <a:srgbClr val="000000"/>
            </a:solidFill>
          </p:grpSpPr>
          <p:sp>
            <p:nvSpPr>
              <p:cNvPr id="3107" name="Freihandform: Form 3106">
                <a:extLst>
                  <a:ext uri="{FF2B5EF4-FFF2-40B4-BE49-F238E27FC236}">
                    <a16:creationId xmlns:a16="http://schemas.microsoft.com/office/drawing/2014/main" id="{979EBDE5-59BF-5C86-E65D-B88DA08F1082}"/>
                  </a:ext>
                </a:extLst>
              </p:cNvPr>
              <p:cNvSpPr/>
              <p:nvPr/>
            </p:nvSpPr>
            <p:spPr>
              <a:xfrm>
                <a:off x="3285951" y="2178091"/>
                <a:ext cx="47881" cy="26852"/>
              </a:xfrm>
              <a:custGeom>
                <a:avLst/>
                <a:gdLst>
                  <a:gd name="connsiteX0" fmla="*/ 41776 w 47881"/>
                  <a:gd name="connsiteY0" fmla="*/ 22613 h 26852"/>
                  <a:gd name="connsiteX1" fmla="*/ 41776 w 47881"/>
                  <a:gd name="connsiteY1" fmla="*/ 26853 h 26852"/>
                  <a:gd name="connsiteX2" fmla="*/ 0 w 47881"/>
                  <a:gd name="connsiteY2" fmla="*/ 1 h 26852"/>
                  <a:gd name="connsiteX3" fmla="*/ 14509 w 47881"/>
                  <a:gd name="connsiteY3" fmla="*/ 1 h 26852"/>
                  <a:gd name="connsiteX4" fmla="*/ 14509 w 47881"/>
                  <a:gd name="connsiteY4" fmla="*/ 2507 h 26852"/>
                  <a:gd name="connsiteX5" fmla="*/ 11664 w 47881"/>
                  <a:gd name="connsiteY5" fmla="*/ 3261 h 26852"/>
                  <a:gd name="connsiteX6" fmla="*/ 21029 w 47881"/>
                  <a:gd name="connsiteY6" fmla="*/ 9272 h 26852"/>
                  <a:gd name="connsiteX7" fmla="*/ 17619 w 47881"/>
                  <a:gd name="connsiteY7" fmla="*/ 1659 h 26852"/>
                  <a:gd name="connsiteX8" fmla="*/ 21255 w 47881"/>
                  <a:gd name="connsiteY8" fmla="*/ 1 h 26852"/>
                  <a:gd name="connsiteX9" fmla="*/ 47881 w 47881"/>
                  <a:gd name="connsiteY9" fmla="*/ 1 h 26852"/>
                  <a:gd name="connsiteX10" fmla="*/ 31940 w 47881"/>
                  <a:gd name="connsiteY10" fmla="*/ 12362 h 26852"/>
                  <a:gd name="connsiteX11" fmla="*/ 30112 w 47881"/>
                  <a:gd name="connsiteY11" fmla="*/ 10647 h 26852"/>
                  <a:gd name="connsiteX12" fmla="*/ 37894 w 47881"/>
                  <a:gd name="connsiteY12" fmla="*/ 3355 h 26852"/>
                  <a:gd name="connsiteX13" fmla="*/ 23083 w 47881"/>
                  <a:gd name="connsiteY13" fmla="*/ 3355 h 26852"/>
                  <a:gd name="connsiteX14" fmla="*/ 22009 w 47881"/>
                  <a:gd name="connsiteY14" fmla="*/ 3845 h 26852"/>
                  <a:gd name="connsiteX15" fmla="*/ 38101 w 47881"/>
                  <a:gd name="connsiteY15" fmla="*/ 20201 h 26852"/>
                  <a:gd name="connsiteX16" fmla="*/ 41776 w 47881"/>
                  <a:gd name="connsiteY16" fmla="*/ 22613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1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9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40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2" y="6125"/>
                      <a:pt x="29641" y="14661"/>
                      <a:pt x="38101" y="20201"/>
                    </a:cubicBezTo>
                    <a:lnTo>
                      <a:pt x="41776" y="2261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08" name="Freihandform: Form 3107">
                <a:extLst>
                  <a:ext uri="{FF2B5EF4-FFF2-40B4-BE49-F238E27FC236}">
                    <a16:creationId xmlns:a16="http://schemas.microsoft.com/office/drawing/2014/main" id="{6FB648F8-282B-57E7-4C6A-B5D7B2534D4E}"/>
                  </a:ext>
                </a:extLst>
              </p:cNvPr>
              <p:cNvSpPr/>
              <p:nvPr/>
            </p:nvSpPr>
            <p:spPr>
              <a:xfrm>
                <a:off x="3279601" y="2156969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7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7 h 59846"/>
                  <a:gd name="connsiteX10" fmla="*/ 30281 w 6056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7" y="0"/>
                      <a:pt x="0" y="13398"/>
                      <a:pt x="0" y="29923"/>
                    </a:cubicBezTo>
                    <a:cubicBezTo>
                      <a:pt x="0" y="46449"/>
                      <a:pt x="13548" y="59847"/>
                      <a:pt x="30281" y="59847"/>
                    </a:cubicBezTo>
                    <a:cubicBezTo>
                      <a:pt x="47014" y="59847"/>
                      <a:pt x="60563" y="46449"/>
                      <a:pt x="60563" y="29923"/>
                    </a:cubicBezTo>
                    <a:cubicBezTo>
                      <a:pt x="60563" y="13398"/>
                      <a:pt x="47014" y="0"/>
                      <a:pt x="30281" y="0"/>
                    </a:cubicBezTo>
                    <a:close/>
                    <a:moveTo>
                      <a:pt x="30281" y="57077"/>
                    </a:moveTo>
                    <a:cubicBezTo>
                      <a:pt x="15112" y="57077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7"/>
                      <a:pt x="30281" y="57077"/>
                    </a:cubicBezTo>
                    <a:lnTo>
                      <a:pt x="3028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45" name="Grafik 21">
              <a:extLst>
                <a:ext uri="{FF2B5EF4-FFF2-40B4-BE49-F238E27FC236}">
                  <a16:creationId xmlns:a16="http://schemas.microsoft.com/office/drawing/2014/main" id="{7C1C0137-8A21-745E-0A39-A72B418BCDD1}"/>
                </a:ext>
              </a:extLst>
            </p:cNvPr>
            <p:cNvGrpSpPr/>
            <p:nvPr/>
          </p:nvGrpSpPr>
          <p:grpSpPr>
            <a:xfrm>
              <a:off x="3090715" y="2098554"/>
              <a:ext cx="59582" cy="59846"/>
              <a:chOff x="3090715" y="2098554"/>
              <a:chExt cx="59582" cy="59846"/>
            </a:xfrm>
            <a:solidFill>
              <a:srgbClr val="000000"/>
            </a:solidFill>
          </p:grpSpPr>
          <p:sp>
            <p:nvSpPr>
              <p:cNvPr id="3105" name="Freihandform: Form 3104">
                <a:extLst>
                  <a:ext uri="{FF2B5EF4-FFF2-40B4-BE49-F238E27FC236}">
                    <a16:creationId xmlns:a16="http://schemas.microsoft.com/office/drawing/2014/main" id="{6FBAED46-E99A-A547-C897-1ABC1B05CE62}"/>
                  </a:ext>
                </a:extLst>
              </p:cNvPr>
              <p:cNvSpPr/>
              <p:nvPr/>
            </p:nvSpPr>
            <p:spPr>
              <a:xfrm>
                <a:off x="3096971" y="2119677"/>
                <a:ext cx="47089" cy="26852"/>
              </a:xfrm>
              <a:custGeom>
                <a:avLst/>
                <a:gdLst>
                  <a:gd name="connsiteX0" fmla="*/ 41097 w 47089"/>
                  <a:gd name="connsiteY0" fmla="*/ 22613 h 26852"/>
                  <a:gd name="connsiteX1" fmla="*/ 41097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7" y="22613"/>
                    </a:moveTo>
                    <a:lnTo>
                      <a:pt x="41097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06" name="Freihandform: Form 3105">
                <a:extLst>
                  <a:ext uri="{FF2B5EF4-FFF2-40B4-BE49-F238E27FC236}">
                    <a16:creationId xmlns:a16="http://schemas.microsoft.com/office/drawing/2014/main" id="{527BAFCF-6F9C-6697-2C2E-DF6E735407ED}"/>
                  </a:ext>
                </a:extLst>
              </p:cNvPr>
              <p:cNvSpPr/>
              <p:nvPr/>
            </p:nvSpPr>
            <p:spPr>
              <a:xfrm>
                <a:off x="3090715" y="2098554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7" y="57077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46" name="Grafik 21">
              <a:extLst>
                <a:ext uri="{FF2B5EF4-FFF2-40B4-BE49-F238E27FC236}">
                  <a16:creationId xmlns:a16="http://schemas.microsoft.com/office/drawing/2014/main" id="{07015A8E-9059-F45A-78E4-77EBE0F9801D}"/>
                </a:ext>
              </a:extLst>
            </p:cNvPr>
            <p:cNvGrpSpPr/>
            <p:nvPr/>
          </p:nvGrpSpPr>
          <p:grpSpPr>
            <a:xfrm>
              <a:off x="3083177" y="1759374"/>
              <a:ext cx="59582" cy="59846"/>
              <a:chOff x="3083177" y="1759374"/>
              <a:chExt cx="59582" cy="59846"/>
            </a:xfrm>
            <a:solidFill>
              <a:srgbClr val="000000"/>
            </a:solidFill>
          </p:grpSpPr>
          <p:sp>
            <p:nvSpPr>
              <p:cNvPr id="3103" name="Freihandform: Form 3102">
                <a:extLst>
                  <a:ext uri="{FF2B5EF4-FFF2-40B4-BE49-F238E27FC236}">
                    <a16:creationId xmlns:a16="http://schemas.microsoft.com/office/drawing/2014/main" id="{80FED05B-9499-03CD-B04A-C219B446EE8D}"/>
                  </a:ext>
                </a:extLst>
              </p:cNvPr>
              <p:cNvSpPr/>
              <p:nvPr/>
            </p:nvSpPr>
            <p:spPr>
              <a:xfrm>
                <a:off x="3089433" y="1780496"/>
                <a:ext cx="47089" cy="26852"/>
              </a:xfrm>
              <a:custGeom>
                <a:avLst/>
                <a:gdLst>
                  <a:gd name="connsiteX0" fmla="*/ 41097 w 47089"/>
                  <a:gd name="connsiteY0" fmla="*/ 22613 h 26852"/>
                  <a:gd name="connsiteX1" fmla="*/ 41097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7" y="22613"/>
                    </a:moveTo>
                    <a:lnTo>
                      <a:pt x="41097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04" name="Freihandform: Form 3103">
                <a:extLst>
                  <a:ext uri="{FF2B5EF4-FFF2-40B4-BE49-F238E27FC236}">
                    <a16:creationId xmlns:a16="http://schemas.microsoft.com/office/drawing/2014/main" id="{020946D3-A241-1674-F9D3-1F2E0297F7CC}"/>
                  </a:ext>
                </a:extLst>
              </p:cNvPr>
              <p:cNvSpPr/>
              <p:nvPr/>
            </p:nvSpPr>
            <p:spPr>
              <a:xfrm>
                <a:off x="3083177" y="1759374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7" y="57077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47" name="Grafik 21">
              <a:extLst>
                <a:ext uri="{FF2B5EF4-FFF2-40B4-BE49-F238E27FC236}">
                  <a16:creationId xmlns:a16="http://schemas.microsoft.com/office/drawing/2014/main" id="{F365706A-6903-D1D4-41E4-7374E2067119}"/>
                </a:ext>
              </a:extLst>
            </p:cNvPr>
            <p:cNvGrpSpPr/>
            <p:nvPr/>
          </p:nvGrpSpPr>
          <p:grpSpPr>
            <a:xfrm>
              <a:off x="3085062" y="1646313"/>
              <a:ext cx="59582" cy="59846"/>
              <a:chOff x="3085062" y="1646313"/>
              <a:chExt cx="59582" cy="59846"/>
            </a:xfrm>
            <a:solidFill>
              <a:srgbClr val="000000"/>
            </a:solidFill>
          </p:grpSpPr>
          <p:sp>
            <p:nvSpPr>
              <p:cNvPr id="3101" name="Freihandform: Form 3100">
                <a:extLst>
                  <a:ext uri="{FF2B5EF4-FFF2-40B4-BE49-F238E27FC236}">
                    <a16:creationId xmlns:a16="http://schemas.microsoft.com/office/drawing/2014/main" id="{9F63E70F-2367-F8F6-9175-B82FD47B630D}"/>
                  </a:ext>
                </a:extLst>
              </p:cNvPr>
              <p:cNvSpPr/>
              <p:nvPr/>
            </p:nvSpPr>
            <p:spPr>
              <a:xfrm>
                <a:off x="3091318" y="1667436"/>
                <a:ext cx="47089" cy="26852"/>
              </a:xfrm>
              <a:custGeom>
                <a:avLst/>
                <a:gdLst>
                  <a:gd name="connsiteX0" fmla="*/ 41097 w 47089"/>
                  <a:gd name="connsiteY0" fmla="*/ 22613 h 26852"/>
                  <a:gd name="connsiteX1" fmla="*/ 41097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7" y="22613"/>
                    </a:moveTo>
                    <a:lnTo>
                      <a:pt x="41097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02" name="Freihandform: Form 3101">
                <a:extLst>
                  <a:ext uri="{FF2B5EF4-FFF2-40B4-BE49-F238E27FC236}">
                    <a16:creationId xmlns:a16="http://schemas.microsoft.com/office/drawing/2014/main" id="{053FDCCB-E7A4-8B5F-D273-C473D91269AD}"/>
                  </a:ext>
                </a:extLst>
              </p:cNvPr>
              <p:cNvSpPr/>
              <p:nvPr/>
            </p:nvSpPr>
            <p:spPr>
              <a:xfrm>
                <a:off x="3085062" y="1646313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7" y="57077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48" name="Grafik 21">
              <a:extLst>
                <a:ext uri="{FF2B5EF4-FFF2-40B4-BE49-F238E27FC236}">
                  <a16:creationId xmlns:a16="http://schemas.microsoft.com/office/drawing/2014/main" id="{09EE9BE1-E90C-725B-2EF3-C5358A4B67AD}"/>
                </a:ext>
              </a:extLst>
            </p:cNvPr>
            <p:cNvGrpSpPr/>
            <p:nvPr/>
          </p:nvGrpSpPr>
          <p:grpSpPr>
            <a:xfrm>
              <a:off x="3081745" y="1584130"/>
              <a:ext cx="60562" cy="59846"/>
              <a:chOff x="3081745" y="1584130"/>
              <a:chExt cx="60562" cy="59846"/>
            </a:xfrm>
            <a:solidFill>
              <a:srgbClr val="000000"/>
            </a:solidFill>
          </p:grpSpPr>
          <p:sp>
            <p:nvSpPr>
              <p:cNvPr id="3099" name="Freihandform: Form 3098">
                <a:extLst>
                  <a:ext uri="{FF2B5EF4-FFF2-40B4-BE49-F238E27FC236}">
                    <a16:creationId xmlns:a16="http://schemas.microsoft.com/office/drawing/2014/main" id="{94593FAC-DF4D-ACA5-7A54-1ADE9ABED3C6}"/>
                  </a:ext>
                </a:extLst>
              </p:cNvPr>
              <p:cNvSpPr/>
              <p:nvPr/>
            </p:nvSpPr>
            <p:spPr>
              <a:xfrm>
                <a:off x="3088095" y="1605253"/>
                <a:ext cx="47881" cy="26852"/>
              </a:xfrm>
              <a:custGeom>
                <a:avLst/>
                <a:gdLst>
                  <a:gd name="connsiteX0" fmla="*/ 41776 w 47881"/>
                  <a:gd name="connsiteY0" fmla="*/ 22613 h 26852"/>
                  <a:gd name="connsiteX1" fmla="*/ 41776 w 47881"/>
                  <a:gd name="connsiteY1" fmla="*/ 26853 h 26852"/>
                  <a:gd name="connsiteX2" fmla="*/ 0 w 47881"/>
                  <a:gd name="connsiteY2" fmla="*/ 1 h 26852"/>
                  <a:gd name="connsiteX3" fmla="*/ 14509 w 47881"/>
                  <a:gd name="connsiteY3" fmla="*/ 1 h 26852"/>
                  <a:gd name="connsiteX4" fmla="*/ 14509 w 47881"/>
                  <a:gd name="connsiteY4" fmla="*/ 2507 h 26852"/>
                  <a:gd name="connsiteX5" fmla="*/ 11664 w 47881"/>
                  <a:gd name="connsiteY5" fmla="*/ 3261 h 26852"/>
                  <a:gd name="connsiteX6" fmla="*/ 21029 w 47881"/>
                  <a:gd name="connsiteY6" fmla="*/ 9272 h 26852"/>
                  <a:gd name="connsiteX7" fmla="*/ 17619 w 47881"/>
                  <a:gd name="connsiteY7" fmla="*/ 1659 h 26852"/>
                  <a:gd name="connsiteX8" fmla="*/ 21255 w 47881"/>
                  <a:gd name="connsiteY8" fmla="*/ 1 h 26852"/>
                  <a:gd name="connsiteX9" fmla="*/ 47881 w 47881"/>
                  <a:gd name="connsiteY9" fmla="*/ 1 h 26852"/>
                  <a:gd name="connsiteX10" fmla="*/ 31940 w 47881"/>
                  <a:gd name="connsiteY10" fmla="*/ 12362 h 26852"/>
                  <a:gd name="connsiteX11" fmla="*/ 30112 w 47881"/>
                  <a:gd name="connsiteY11" fmla="*/ 10647 h 26852"/>
                  <a:gd name="connsiteX12" fmla="*/ 37894 w 47881"/>
                  <a:gd name="connsiteY12" fmla="*/ 3355 h 26852"/>
                  <a:gd name="connsiteX13" fmla="*/ 23083 w 47881"/>
                  <a:gd name="connsiteY13" fmla="*/ 3355 h 26852"/>
                  <a:gd name="connsiteX14" fmla="*/ 22009 w 47881"/>
                  <a:gd name="connsiteY14" fmla="*/ 3845 h 26852"/>
                  <a:gd name="connsiteX15" fmla="*/ 38101 w 47881"/>
                  <a:gd name="connsiteY15" fmla="*/ 20201 h 26852"/>
                  <a:gd name="connsiteX16" fmla="*/ 41776 w 47881"/>
                  <a:gd name="connsiteY16" fmla="*/ 22613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1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9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40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2" y="6125"/>
                      <a:pt x="29641" y="14661"/>
                      <a:pt x="38101" y="20201"/>
                    </a:cubicBezTo>
                    <a:lnTo>
                      <a:pt x="41776" y="2261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00" name="Freihandform: Form 3099">
                <a:extLst>
                  <a:ext uri="{FF2B5EF4-FFF2-40B4-BE49-F238E27FC236}">
                    <a16:creationId xmlns:a16="http://schemas.microsoft.com/office/drawing/2014/main" id="{C007A4FE-999C-E41F-2C09-38A192526806}"/>
                  </a:ext>
                </a:extLst>
              </p:cNvPr>
              <p:cNvSpPr/>
              <p:nvPr/>
            </p:nvSpPr>
            <p:spPr>
              <a:xfrm>
                <a:off x="3081745" y="1584130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7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7 h 59846"/>
                  <a:gd name="connsiteX10" fmla="*/ 30281 w 6056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7" y="0"/>
                      <a:pt x="0" y="13398"/>
                      <a:pt x="0" y="29923"/>
                    </a:cubicBezTo>
                    <a:cubicBezTo>
                      <a:pt x="0" y="46449"/>
                      <a:pt x="13548" y="59847"/>
                      <a:pt x="30281" y="59847"/>
                    </a:cubicBezTo>
                    <a:cubicBezTo>
                      <a:pt x="47014" y="59847"/>
                      <a:pt x="60563" y="46449"/>
                      <a:pt x="60563" y="29923"/>
                    </a:cubicBezTo>
                    <a:cubicBezTo>
                      <a:pt x="60563" y="13398"/>
                      <a:pt x="47014" y="0"/>
                      <a:pt x="30281" y="0"/>
                    </a:cubicBezTo>
                    <a:close/>
                    <a:moveTo>
                      <a:pt x="30281" y="57077"/>
                    </a:moveTo>
                    <a:cubicBezTo>
                      <a:pt x="15112" y="57077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7"/>
                      <a:pt x="30281" y="57077"/>
                    </a:cubicBezTo>
                    <a:lnTo>
                      <a:pt x="3028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49" name="Grafik 21">
              <a:extLst>
                <a:ext uri="{FF2B5EF4-FFF2-40B4-BE49-F238E27FC236}">
                  <a16:creationId xmlns:a16="http://schemas.microsoft.com/office/drawing/2014/main" id="{952331D2-0091-0B80-7D9F-AD0B9A9D0BF2}"/>
                </a:ext>
              </a:extLst>
            </p:cNvPr>
            <p:cNvGrpSpPr/>
            <p:nvPr/>
          </p:nvGrpSpPr>
          <p:grpSpPr>
            <a:xfrm>
              <a:off x="3347437" y="1403234"/>
              <a:ext cx="60562" cy="59846"/>
              <a:chOff x="3347437" y="1403234"/>
              <a:chExt cx="60562" cy="59846"/>
            </a:xfrm>
            <a:solidFill>
              <a:srgbClr val="000000"/>
            </a:solidFill>
          </p:grpSpPr>
          <p:sp>
            <p:nvSpPr>
              <p:cNvPr id="3097" name="Freihandform: Form 3096">
                <a:extLst>
                  <a:ext uri="{FF2B5EF4-FFF2-40B4-BE49-F238E27FC236}">
                    <a16:creationId xmlns:a16="http://schemas.microsoft.com/office/drawing/2014/main" id="{8F93725E-E6BB-BEC0-00E1-96A1E5900E52}"/>
                  </a:ext>
                </a:extLst>
              </p:cNvPr>
              <p:cNvSpPr/>
              <p:nvPr/>
            </p:nvSpPr>
            <p:spPr>
              <a:xfrm>
                <a:off x="3353787" y="1424356"/>
                <a:ext cx="47881" cy="26852"/>
              </a:xfrm>
              <a:custGeom>
                <a:avLst/>
                <a:gdLst>
                  <a:gd name="connsiteX0" fmla="*/ 41776 w 47881"/>
                  <a:gd name="connsiteY0" fmla="*/ 22613 h 26852"/>
                  <a:gd name="connsiteX1" fmla="*/ 41776 w 47881"/>
                  <a:gd name="connsiteY1" fmla="*/ 26853 h 26852"/>
                  <a:gd name="connsiteX2" fmla="*/ 0 w 47881"/>
                  <a:gd name="connsiteY2" fmla="*/ 1 h 26852"/>
                  <a:gd name="connsiteX3" fmla="*/ 14509 w 47881"/>
                  <a:gd name="connsiteY3" fmla="*/ 1 h 26852"/>
                  <a:gd name="connsiteX4" fmla="*/ 14509 w 47881"/>
                  <a:gd name="connsiteY4" fmla="*/ 2507 h 26852"/>
                  <a:gd name="connsiteX5" fmla="*/ 11664 w 47881"/>
                  <a:gd name="connsiteY5" fmla="*/ 3261 h 26852"/>
                  <a:gd name="connsiteX6" fmla="*/ 21029 w 47881"/>
                  <a:gd name="connsiteY6" fmla="*/ 9272 h 26852"/>
                  <a:gd name="connsiteX7" fmla="*/ 17619 w 47881"/>
                  <a:gd name="connsiteY7" fmla="*/ 1659 h 26852"/>
                  <a:gd name="connsiteX8" fmla="*/ 21255 w 47881"/>
                  <a:gd name="connsiteY8" fmla="*/ 1 h 26852"/>
                  <a:gd name="connsiteX9" fmla="*/ 47881 w 47881"/>
                  <a:gd name="connsiteY9" fmla="*/ 1 h 26852"/>
                  <a:gd name="connsiteX10" fmla="*/ 31940 w 47881"/>
                  <a:gd name="connsiteY10" fmla="*/ 12362 h 26852"/>
                  <a:gd name="connsiteX11" fmla="*/ 30112 w 47881"/>
                  <a:gd name="connsiteY11" fmla="*/ 10647 h 26852"/>
                  <a:gd name="connsiteX12" fmla="*/ 37894 w 47881"/>
                  <a:gd name="connsiteY12" fmla="*/ 3355 h 26852"/>
                  <a:gd name="connsiteX13" fmla="*/ 23083 w 47881"/>
                  <a:gd name="connsiteY13" fmla="*/ 3355 h 26852"/>
                  <a:gd name="connsiteX14" fmla="*/ 22009 w 47881"/>
                  <a:gd name="connsiteY14" fmla="*/ 3845 h 26852"/>
                  <a:gd name="connsiteX15" fmla="*/ 38101 w 47881"/>
                  <a:gd name="connsiteY15" fmla="*/ 20201 h 26852"/>
                  <a:gd name="connsiteX16" fmla="*/ 41776 w 47881"/>
                  <a:gd name="connsiteY16" fmla="*/ 22613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1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9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40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2" y="6125"/>
                      <a:pt x="29641" y="14661"/>
                      <a:pt x="38101" y="20201"/>
                    </a:cubicBezTo>
                    <a:lnTo>
                      <a:pt x="41776" y="2261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98" name="Freihandform: Form 3097">
                <a:extLst>
                  <a:ext uri="{FF2B5EF4-FFF2-40B4-BE49-F238E27FC236}">
                    <a16:creationId xmlns:a16="http://schemas.microsoft.com/office/drawing/2014/main" id="{390E429F-E1D3-B252-E9D8-D93766A4B544}"/>
                  </a:ext>
                </a:extLst>
              </p:cNvPr>
              <p:cNvSpPr/>
              <p:nvPr/>
            </p:nvSpPr>
            <p:spPr>
              <a:xfrm>
                <a:off x="3347437" y="1403234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7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7 h 59846"/>
                  <a:gd name="connsiteX10" fmla="*/ 30281 w 6056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7" y="0"/>
                      <a:pt x="0" y="13398"/>
                      <a:pt x="0" y="29923"/>
                    </a:cubicBezTo>
                    <a:cubicBezTo>
                      <a:pt x="0" y="46449"/>
                      <a:pt x="13548" y="59847"/>
                      <a:pt x="30281" y="59847"/>
                    </a:cubicBezTo>
                    <a:cubicBezTo>
                      <a:pt x="47014" y="59847"/>
                      <a:pt x="60563" y="46449"/>
                      <a:pt x="60563" y="29923"/>
                    </a:cubicBezTo>
                    <a:cubicBezTo>
                      <a:pt x="60563" y="13398"/>
                      <a:pt x="47014" y="0"/>
                      <a:pt x="30281" y="0"/>
                    </a:cubicBezTo>
                    <a:close/>
                    <a:moveTo>
                      <a:pt x="30281" y="57077"/>
                    </a:moveTo>
                    <a:cubicBezTo>
                      <a:pt x="15112" y="57077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7"/>
                      <a:pt x="30281" y="57077"/>
                    </a:cubicBezTo>
                    <a:lnTo>
                      <a:pt x="3028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50" name="Grafik 21">
              <a:extLst>
                <a:ext uri="{FF2B5EF4-FFF2-40B4-BE49-F238E27FC236}">
                  <a16:creationId xmlns:a16="http://schemas.microsoft.com/office/drawing/2014/main" id="{7F158750-C96A-DDBE-B452-22421665BB5F}"/>
                </a:ext>
              </a:extLst>
            </p:cNvPr>
            <p:cNvGrpSpPr/>
            <p:nvPr/>
          </p:nvGrpSpPr>
          <p:grpSpPr>
            <a:xfrm>
              <a:off x="2706310" y="1029740"/>
              <a:ext cx="59582" cy="58753"/>
              <a:chOff x="2706310" y="1029740"/>
              <a:chExt cx="59582" cy="58753"/>
            </a:xfrm>
            <a:solidFill>
              <a:srgbClr val="000000"/>
            </a:solidFill>
          </p:grpSpPr>
          <p:sp>
            <p:nvSpPr>
              <p:cNvPr id="3095" name="Freihandform: Form 3094">
                <a:extLst>
                  <a:ext uri="{FF2B5EF4-FFF2-40B4-BE49-F238E27FC236}">
                    <a16:creationId xmlns:a16="http://schemas.microsoft.com/office/drawing/2014/main" id="{BAAAE086-BBAF-1D63-116D-832DC4B520A9}"/>
                  </a:ext>
                </a:extLst>
              </p:cNvPr>
              <p:cNvSpPr/>
              <p:nvPr/>
            </p:nvSpPr>
            <p:spPr>
              <a:xfrm>
                <a:off x="2712566" y="1050485"/>
                <a:ext cx="47089" cy="26362"/>
              </a:xfrm>
              <a:custGeom>
                <a:avLst/>
                <a:gdLst>
                  <a:gd name="connsiteX0" fmla="*/ 41097 w 47089"/>
                  <a:gd name="connsiteY0" fmla="*/ 22198 h 26362"/>
                  <a:gd name="connsiteX1" fmla="*/ 41097 w 47089"/>
                  <a:gd name="connsiteY1" fmla="*/ 26363 h 26362"/>
                  <a:gd name="connsiteX2" fmla="*/ 0 w 47089"/>
                  <a:gd name="connsiteY2" fmla="*/ 20 h 26362"/>
                  <a:gd name="connsiteX3" fmla="*/ 14264 w 47089"/>
                  <a:gd name="connsiteY3" fmla="*/ 20 h 26362"/>
                  <a:gd name="connsiteX4" fmla="*/ 14264 w 47089"/>
                  <a:gd name="connsiteY4" fmla="*/ 2469 h 26362"/>
                  <a:gd name="connsiteX5" fmla="*/ 11457 w 47089"/>
                  <a:gd name="connsiteY5" fmla="*/ 3204 h 26362"/>
                  <a:gd name="connsiteX6" fmla="*/ 20671 w 47089"/>
                  <a:gd name="connsiteY6" fmla="*/ 9102 h 26362"/>
                  <a:gd name="connsiteX7" fmla="*/ 17317 w 47089"/>
                  <a:gd name="connsiteY7" fmla="*/ 1621 h 26362"/>
                  <a:gd name="connsiteX8" fmla="*/ 20897 w 47089"/>
                  <a:gd name="connsiteY8" fmla="*/ 1 h 26362"/>
                  <a:gd name="connsiteX9" fmla="*/ 47090 w 47089"/>
                  <a:gd name="connsiteY9" fmla="*/ 1 h 26362"/>
                  <a:gd name="connsiteX10" fmla="*/ 31412 w 47089"/>
                  <a:gd name="connsiteY10" fmla="*/ 12136 h 26362"/>
                  <a:gd name="connsiteX11" fmla="*/ 29622 w 47089"/>
                  <a:gd name="connsiteY11" fmla="*/ 10440 h 26362"/>
                  <a:gd name="connsiteX12" fmla="*/ 37291 w 47089"/>
                  <a:gd name="connsiteY12" fmla="*/ 3280 h 26362"/>
                  <a:gd name="connsiteX13" fmla="*/ 22725 w 47089"/>
                  <a:gd name="connsiteY13" fmla="*/ 3280 h 26362"/>
                  <a:gd name="connsiteX14" fmla="*/ 21670 w 47089"/>
                  <a:gd name="connsiteY14" fmla="*/ 3770 h 26362"/>
                  <a:gd name="connsiteX15" fmla="*/ 37498 w 47089"/>
                  <a:gd name="connsiteY15" fmla="*/ 19824 h 26362"/>
                  <a:gd name="connsiteX16" fmla="*/ 41116 w 47089"/>
                  <a:gd name="connsiteY16" fmla="*/ 22198 h 26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362">
                    <a:moveTo>
                      <a:pt x="41097" y="22198"/>
                    </a:moveTo>
                    <a:lnTo>
                      <a:pt x="41097" y="26363"/>
                    </a:lnTo>
                    <a:lnTo>
                      <a:pt x="0" y="20"/>
                    </a:lnTo>
                    <a:lnTo>
                      <a:pt x="14264" y="20"/>
                    </a:lnTo>
                    <a:lnTo>
                      <a:pt x="14264" y="2469"/>
                    </a:lnTo>
                    <a:lnTo>
                      <a:pt x="11457" y="3204"/>
                    </a:lnTo>
                    <a:lnTo>
                      <a:pt x="20671" y="9102"/>
                    </a:lnTo>
                    <a:cubicBezTo>
                      <a:pt x="20671" y="9102"/>
                      <a:pt x="15734" y="4806"/>
                      <a:pt x="17317" y="1621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136"/>
                    </a:lnTo>
                    <a:lnTo>
                      <a:pt x="29622" y="10440"/>
                    </a:lnTo>
                    <a:lnTo>
                      <a:pt x="37291" y="3280"/>
                    </a:lnTo>
                    <a:lnTo>
                      <a:pt x="22725" y="3280"/>
                    </a:lnTo>
                    <a:cubicBezTo>
                      <a:pt x="22574" y="3280"/>
                      <a:pt x="21896" y="3242"/>
                      <a:pt x="21670" y="3770"/>
                    </a:cubicBezTo>
                    <a:cubicBezTo>
                      <a:pt x="20671" y="6012"/>
                      <a:pt x="29188" y="14378"/>
                      <a:pt x="37498" y="19824"/>
                    </a:cubicBezTo>
                    <a:lnTo>
                      <a:pt x="41116" y="2219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96" name="Freihandform: Form 3095">
                <a:extLst>
                  <a:ext uri="{FF2B5EF4-FFF2-40B4-BE49-F238E27FC236}">
                    <a16:creationId xmlns:a16="http://schemas.microsoft.com/office/drawing/2014/main" id="{F1A9E99A-445B-93E6-40E6-95E60C1E2AE6}"/>
                  </a:ext>
                </a:extLst>
              </p:cNvPr>
              <p:cNvSpPr/>
              <p:nvPr/>
            </p:nvSpPr>
            <p:spPr>
              <a:xfrm>
                <a:off x="2706310" y="1029740"/>
                <a:ext cx="59582" cy="58753"/>
              </a:xfrm>
              <a:custGeom>
                <a:avLst/>
                <a:gdLst>
                  <a:gd name="connsiteX0" fmla="*/ 29791 w 59582"/>
                  <a:gd name="connsiteY0" fmla="*/ 0 h 58753"/>
                  <a:gd name="connsiteX1" fmla="*/ 0 w 59582"/>
                  <a:gd name="connsiteY1" fmla="*/ 29377 h 58753"/>
                  <a:gd name="connsiteX2" fmla="*/ 29791 w 59582"/>
                  <a:gd name="connsiteY2" fmla="*/ 58754 h 58753"/>
                  <a:gd name="connsiteX3" fmla="*/ 59583 w 59582"/>
                  <a:gd name="connsiteY3" fmla="*/ 29377 h 58753"/>
                  <a:gd name="connsiteX4" fmla="*/ 29791 w 59582"/>
                  <a:gd name="connsiteY4" fmla="*/ 0 h 58753"/>
                  <a:gd name="connsiteX5" fmla="*/ 29791 w 59582"/>
                  <a:gd name="connsiteY5" fmla="*/ 56021 h 58753"/>
                  <a:gd name="connsiteX6" fmla="*/ 2770 w 59582"/>
                  <a:gd name="connsiteY6" fmla="*/ 29377 h 58753"/>
                  <a:gd name="connsiteX7" fmla="*/ 29791 w 59582"/>
                  <a:gd name="connsiteY7" fmla="*/ 2732 h 58753"/>
                  <a:gd name="connsiteX8" fmla="*/ 56813 w 59582"/>
                  <a:gd name="connsiteY8" fmla="*/ 29377 h 58753"/>
                  <a:gd name="connsiteX9" fmla="*/ 29791 w 59582"/>
                  <a:gd name="connsiteY9" fmla="*/ 56021 h 58753"/>
                  <a:gd name="connsiteX10" fmla="*/ 29791 w 59582"/>
                  <a:gd name="connsiteY10" fmla="*/ 56021 h 58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8753">
                    <a:moveTo>
                      <a:pt x="29791" y="0"/>
                    </a:moveTo>
                    <a:cubicBezTo>
                      <a:pt x="13341" y="0"/>
                      <a:pt x="0" y="13153"/>
                      <a:pt x="0" y="29377"/>
                    </a:cubicBezTo>
                    <a:cubicBezTo>
                      <a:pt x="0" y="45601"/>
                      <a:pt x="13341" y="58754"/>
                      <a:pt x="29791" y="58754"/>
                    </a:cubicBezTo>
                    <a:cubicBezTo>
                      <a:pt x="46242" y="58754"/>
                      <a:pt x="59583" y="45601"/>
                      <a:pt x="59583" y="29377"/>
                    </a:cubicBezTo>
                    <a:cubicBezTo>
                      <a:pt x="59583" y="13153"/>
                      <a:pt x="46242" y="0"/>
                      <a:pt x="29791" y="0"/>
                    </a:cubicBezTo>
                    <a:close/>
                    <a:moveTo>
                      <a:pt x="29791" y="56021"/>
                    </a:moveTo>
                    <a:cubicBezTo>
                      <a:pt x="14867" y="56021"/>
                      <a:pt x="2770" y="44093"/>
                      <a:pt x="2770" y="29377"/>
                    </a:cubicBezTo>
                    <a:cubicBezTo>
                      <a:pt x="2770" y="14660"/>
                      <a:pt x="14867" y="2732"/>
                      <a:pt x="29791" y="2732"/>
                    </a:cubicBezTo>
                    <a:cubicBezTo>
                      <a:pt x="44715" y="2732"/>
                      <a:pt x="56813" y="14660"/>
                      <a:pt x="56813" y="29377"/>
                    </a:cubicBezTo>
                    <a:cubicBezTo>
                      <a:pt x="56813" y="44093"/>
                      <a:pt x="44715" y="56021"/>
                      <a:pt x="29791" y="56021"/>
                    </a:cubicBezTo>
                    <a:lnTo>
                      <a:pt x="29791" y="5602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51" name="Grafik 21">
              <a:extLst>
                <a:ext uri="{FF2B5EF4-FFF2-40B4-BE49-F238E27FC236}">
                  <a16:creationId xmlns:a16="http://schemas.microsoft.com/office/drawing/2014/main" id="{3DAD2B77-8501-CB7D-EBA0-A2887A403673}"/>
                </a:ext>
              </a:extLst>
            </p:cNvPr>
            <p:cNvGrpSpPr/>
            <p:nvPr/>
          </p:nvGrpSpPr>
          <p:grpSpPr>
            <a:xfrm>
              <a:off x="2271028" y="1016945"/>
              <a:ext cx="59582" cy="59846"/>
              <a:chOff x="2271028" y="1016945"/>
              <a:chExt cx="59582" cy="59846"/>
            </a:xfrm>
            <a:solidFill>
              <a:srgbClr val="000000"/>
            </a:solidFill>
          </p:grpSpPr>
          <p:sp>
            <p:nvSpPr>
              <p:cNvPr id="3093" name="Freihandform: Form 3092">
                <a:extLst>
                  <a:ext uri="{FF2B5EF4-FFF2-40B4-BE49-F238E27FC236}">
                    <a16:creationId xmlns:a16="http://schemas.microsoft.com/office/drawing/2014/main" id="{8BB61A1E-9CE6-48F5-840A-0B935FB541B6}"/>
                  </a:ext>
                </a:extLst>
              </p:cNvPr>
              <p:cNvSpPr/>
              <p:nvPr/>
            </p:nvSpPr>
            <p:spPr>
              <a:xfrm>
                <a:off x="2277284" y="1038067"/>
                <a:ext cx="47089" cy="26852"/>
              </a:xfrm>
              <a:custGeom>
                <a:avLst/>
                <a:gdLst>
                  <a:gd name="connsiteX0" fmla="*/ 41097 w 47089"/>
                  <a:gd name="connsiteY0" fmla="*/ 22613 h 26852"/>
                  <a:gd name="connsiteX1" fmla="*/ 41097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7" y="22613"/>
                    </a:moveTo>
                    <a:lnTo>
                      <a:pt x="41097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94" name="Freihandform: Form 3093">
                <a:extLst>
                  <a:ext uri="{FF2B5EF4-FFF2-40B4-BE49-F238E27FC236}">
                    <a16:creationId xmlns:a16="http://schemas.microsoft.com/office/drawing/2014/main" id="{380D5937-12A2-29E6-6F88-CCED589D2E08}"/>
                  </a:ext>
                </a:extLst>
              </p:cNvPr>
              <p:cNvSpPr/>
              <p:nvPr/>
            </p:nvSpPr>
            <p:spPr>
              <a:xfrm>
                <a:off x="2271028" y="1016945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7" y="57077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52" name="Grafik 21">
              <a:extLst>
                <a:ext uri="{FF2B5EF4-FFF2-40B4-BE49-F238E27FC236}">
                  <a16:creationId xmlns:a16="http://schemas.microsoft.com/office/drawing/2014/main" id="{A707BF2B-6187-2ED7-D6E9-51012002BD0C}"/>
                </a:ext>
              </a:extLst>
            </p:cNvPr>
            <p:cNvGrpSpPr/>
            <p:nvPr/>
          </p:nvGrpSpPr>
          <p:grpSpPr>
            <a:xfrm>
              <a:off x="2287987" y="819089"/>
              <a:ext cx="59582" cy="59846"/>
              <a:chOff x="2287987" y="819089"/>
              <a:chExt cx="59582" cy="59846"/>
            </a:xfrm>
            <a:solidFill>
              <a:srgbClr val="000000"/>
            </a:solidFill>
          </p:grpSpPr>
          <p:sp>
            <p:nvSpPr>
              <p:cNvPr id="3091" name="Freihandform: Form 3090">
                <a:extLst>
                  <a:ext uri="{FF2B5EF4-FFF2-40B4-BE49-F238E27FC236}">
                    <a16:creationId xmlns:a16="http://schemas.microsoft.com/office/drawing/2014/main" id="{33D50FBA-05F5-C391-9982-466AC538DE07}"/>
                  </a:ext>
                </a:extLst>
              </p:cNvPr>
              <p:cNvSpPr/>
              <p:nvPr/>
            </p:nvSpPr>
            <p:spPr>
              <a:xfrm>
                <a:off x="2294243" y="840212"/>
                <a:ext cx="47089" cy="26852"/>
              </a:xfrm>
              <a:custGeom>
                <a:avLst/>
                <a:gdLst>
                  <a:gd name="connsiteX0" fmla="*/ 41097 w 47089"/>
                  <a:gd name="connsiteY0" fmla="*/ 22613 h 26852"/>
                  <a:gd name="connsiteX1" fmla="*/ 41097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7" y="22613"/>
                    </a:moveTo>
                    <a:lnTo>
                      <a:pt x="41097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92" name="Freihandform: Form 3091">
                <a:extLst>
                  <a:ext uri="{FF2B5EF4-FFF2-40B4-BE49-F238E27FC236}">
                    <a16:creationId xmlns:a16="http://schemas.microsoft.com/office/drawing/2014/main" id="{83A79013-0637-0E5D-A6B8-96EDE3B7C8E0}"/>
                  </a:ext>
                </a:extLst>
              </p:cNvPr>
              <p:cNvSpPr/>
              <p:nvPr/>
            </p:nvSpPr>
            <p:spPr>
              <a:xfrm>
                <a:off x="2287987" y="819089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7" y="57077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53" name="Grafik 21">
              <a:extLst>
                <a:ext uri="{FF2B5EF4-FFF2-40B4-BE49-F238E27FC236}">
                  <a16:creationId xmlns:a16="http://schemas.microsoft.com/office/drawing/2014/main" id="{AB317E79-EC13-0D4B-5E26-0FD8AFFD19AD}"/>
                </a:ext>
              </a:extLst>
            </p:cNvPr>
            <p:cNvGrpSpPr/>
            <p:nvPr/>
          </p:nvGrpSpPr>
          <p:grpSpPr>
            <a:xfrm>
              <a:off x="6823568" y="2006222"/>
              <a:ext cx="59582" cy="59846"/>
              <a:chOff x="6823568" y="2006222"/>
              <a:chExt cx="59582" cy="59846"/>
            </a:xfrm>
            <a:solidFill>
              <a:srgbClr val="000000"/>
            </a:solidFill>
          </p:grpSpPr>
          <p:sp>
            <p:nvSpPr>
              <p:cNvPr id="3089" name="Freihandform: Form 3088">
                <a:extLst>
                  <a:ext uri="{FF2B5EF4-FFF2-40B4-BE49-F238E27FC236}">
                    <a16:creationId xmlns:a16="http://schemas.microsoft.com/office/drawing/2014/main" id="{07A096A4-B775-E13E-0C77-8F3AB6D38F99}"/>
                  </a:ext>
                </a:extLst>
              </p:cNvPr>
              <p:cNvSpPr/>
              <p:nvPr/>
            </p:nvSpPr>
            <p:spPr>
              <a:xfrm>
                <a:off x="6829824" y="2027344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90" name="Freihandform: Form 3089">
                <a:extLst>
                  <a:ext uri="{FF2B5EF4-FFF2-40B4-BE49-F238E27FC236}">
                    <a16:creationId xmlns:a16="http://schemas.microsoft.com/office/drawing/2014/main" id="{B85692D9-2439-1A63-5793-F0F007A9492F}"/>
                  </a:ext>
                </a:extLst>
              </p:cNvPr>
              <p:cNvSpPr/>
              <p:nvPr/>
            </p:nvSpPr>
            <p:spPr>
              <a:xfrm>
                <a:off x="6823568" y="2006222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54" name="Grafik 21">
              <a:extLst>
                <a:ext uri="{FF2B5EF4-FFF2-40B4-BE49-F238E27FC236}">
                  <a16:creationId xmlns:a16="http://schemas.microsoft.com/office/drawing/2014/main" id="{965F7B41-C226-0EF0-6F78-4007290B6426}"/>
                </a:ext>
              </a:extLst>
            </p:cNvPr>
            <p:cNvGrpSpPr/>
            <p:nvPr/>
          </p:nvGrpSpPr>
          <p:grpSpPr>
            <a:xfrm>
              <a:off x="6757616" y="2032603"/>
              <a:ext cx="59582" cy="59846"/>
              <a:chOff x="6757616" y="2032603"/>
              <a:chExt cx="59582" cy="59846"/>
            </a:xfrm>
            <a:solidFill>
              <a:srgbClr val="000000"/>
            </a:solidFill>
          </p:grpSpPr>
          <p:sp>
            <p:nvSpPr>
              <p:cNvPr id="3087" name="Freihandform: Form 3086">
                <a:extLst>
                  <a:ext uri="{FF2B5EF4-FFF2-40B4-BE49-F238E27FC236}">
                    <a16:creationId xmlns:a16="http://schemas.microsoft.com/office/drawing/2014/main" id="{2A240CCD-FE3D-A81C-1E2A-2B1C9F7E45EB}"/>
                  </a:ext>
                </a:extLst>
              </p:cNvPr>
              <p:cNvSpPr/>
              <p:nvPr/>
            </p:nvSpPr>
            <p:spPr>
              <a:xfrm>
                <a:off x="6763872" y="2053725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88" name="Freihandform: Form 3087">
                <a:extLst>
                  <a:ext uri="{FF2B5EF4-FFF2-40B4-BE49-F238E27FC236}">
                    <a16:creationId xmlns:a16="http://schemas.microsoft.com/office/drawing/2014/main" id="{D177C456-1985-AFFA-703C-E410BC8D3080}"/>
                  </a:ext>
                </a:extLst>
              </p:cNvPr>
              <p:cNvSpPr/>
              <p:nvPr/>
            </p:nvSpPr>
            <p:spPr>
              <a:xfrm>
                <a:off x="6757616" y="2032603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55" name="Grafik 21">
              <a:extLst>
                <a:ext uri="{FF2B5EF4-FFF2-40B4-BE49-F238E27FC236}">
                  <a16:creationId xmlns:a16="http://schemas.microsoft.com/office/drawing/2014/main" id="{A45A7A7F-F133-02FA-9BAF-63FA5AE2ED37}"/>
                </a:ext>
              </a:extLst>
            </p:cNvPr>
            <p:cNvGrpSpPr/>
            <p:nvPr/>
          </p:nvGrpSpPr>
          <p:grpSpPr>
            <a:xfrm>
              <a:off x="6691664" y="2051446"/>
              <a:ext cx="59582" cy="59846"/>
              <a:chOff x="6691664" y="2051446"/>
              <a:chExt cx="59582" cy="59846"/>
            </a:xfrm>
            <a:solidFill>
              <a:srgbClr val="000000"/>
            </a:solidFill>
          </p:grpSpPr>
          <p:sp>
            <p:nvSpPr>
              <p:cNvPr id="3085" name="Freihandform: Form 3084">
                <a:extLst>
                  <a:ext uri="{FF2B5EF4-FFF2-40B4-BE49-F238E27FC236}">
                    <a16:creationId xmlns:a16="http://schemas.microsoft.com/office/drawing/2014/main" id="{8AFF484C-4620-8C24-6FAA-18D08F2ED4DE}"/>
                  </a:ext>
                </a:extLst>
              </p:cNvPr>
              <p:cNvSpPr/>
              <p:nvPr/>
            </p:nvSpPr>
            <p:spPr>
              <a:xfrm>
                <a:off x="6697921" y="2072568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86" name="Freihandform: Form 3085">
                <a:extLst>
                  <a:ext uri="{FF2B5EF4-FFF2-40B4-BE49-F238E27FC236}">
                    <a16:creationId xmlns:a16="http://schemas.microsoft.com/office/drawing/2014/main" id="{2E334467-2430-6156-CB35-982916778EA6}"/>
                  </a:ext>
                </a:extLst>
              </p:cNvPr>
              <p:cNvSpPr/>
              <p:nvPr/>
            </p:nvSpPr>
            <p:spPr>
              <a:xfrm>
                <a:off x="6691664" y="2051446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56" name="Grafik 21">
              <a:extLst>
                <a:ext uri="{FF2B5EF4-FFF2-40B4-BE49-F238E27FC236}">
                  <a16:creationId xmlns:a16="http://schemas.microsoft.com/office/drawing/2014/main" id="{9A6D5E2E-16FF-594E-7619-5F311AC806B8}"/>
                </a:ext>
              </a:extLst>
            </p:cNvPr>
            <p:cNvGrpSpPr/>
            <p:nvPr/>
          </p:nvGrpSpPr>
          <p:grpSpPr>
            <a:xfrm>
              <a:off x="6595563" y="2130588"/>
              <a:ext cx="59582" cy="59846"/>
              <a:chOff x="6595563" y="2130588"/>
              <a:chExt cx="59582" cy="59846"/>
            </a:xfrm>
            <a:solidFill>
              <a:srgbClr val="000000"/>
            </a:solidFill>
          </p:grpSpPr>
          <p:sp>
            <p:nvSpPr>
              <p:cNvPr id="3083" name="Freihandform: Form 3082">
                <a:extLst>
                  <a:ext uri="{FF2B5EF4-FFF2-40B4-BE49-F238E27FC236}">
                    <a16:creationId xmlns:a16="http://schemas.microsoft.com/office/drawing/2014/main" id="{00721A0E-7DA6-936C-993A-E0AE1D66A7EC}"/>
                  </a:ext>
                </a:extLst>
              </p:cNvPr>
              <p:cNvSpPr/>
              <p:nvPr/>
            </p:nvSpPr>
            <p:spPr>
              <a:xfrm>
                <a:off x="6601819" y="2151711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84" name="Freihandform: Form 3083">
                <a:extLst>
                  <a:ext uri="{FF2B5EF4-FFF2-40B4-BE49-F238E27FC236}">
                    <a16:creationId xmlns:a16="http://schemas.microsoft.com/office/drawing/2014/main" id="{AB380F2D-4DF8-8F54-0648-D82D48C4F4FE}"/>
                  </a:ext>
                </a:extLst>
              </p:cNvPr>
              <p:cNvSpPr/>
              <p:nvPr/>
            </p:nvSpPr>
            <p:spPr>
              <a:xfrm>
                <a:off x="6595563" y="2130588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57" name="Grafik 21">
              <a:extLst>
                <a:ext uri="{FF2B5EF4-FFF2-40B4-BE49-F238E27FC236}">
                  <a16:creationId xmlns:a16="http://schemas.microsoft.com/office/drawing/2014/main" id="{EBD85F04-13FA-86D0-472D-CEB9C5B1C622}"/>
                </a:ext>
              </a:extLst>
            </p:cNvPr>
            <p:cNvGrpSpPr/>
            <p:nvPr/>
          </p:nvGrpSpPr>
          <p:grpSpPr>
            <a:xfrm>
              <a:off x="6529611" y="2115513"/>
              <a:ext cx="59582" cy="59846"/>
              <a:chOff x="6529611" y="2115513"/>
              <a:chExt cx="59582" cy="59846"/>
            </a:xfrm>
            <a:solidFill>
              <a:srgbClr val="000000"/>
            </a:solidFill>
          </p:grpSpPr>
          <p:sp>
            <p:nvSpPr>
              <p:cNvPr id="3081" name="Freihandform: Form 3080">
                <a:extLst>
                  <a:ext uri="{FF2B5EF4-FFF2-40B4-BE49-F238E27FC236}">
                    <a16:creationId xmlns:a16="http://schemas.microsoft.com/office/drawing/2014/main" id="{FD5CB150-1D8A-D981-1E98-46169B95E573}"/>
                  </a:ext>
                </a:extLst>
              </p:cNvPr>
              <p:cNvSpPr/>
              <p:nvPr/>
            </p:nvSpPr>
            <p:spPr>
              <a:xfrm>
                <a:off x="6535868" y="2136636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82" name="Freihandform: Form 3081">
                <a:extLst>
                  <a:ext uri="{FF2B5EF4-FFF2-40B4-BE49-F238E27FC236}">
                    <a16:creationId xmlns:a16="http://schemas.microsoft.com/office/drawing/2014/main" id="{B3A0C522-4D00-1FE6-2CBD-78DB8BF089CD}"/>
                  </a:ext>
                </a:extLst>
              </p:cNvPr>
              <p:cNvSpPr/>
              <p:nvPr/>
            </p:nvSpPr>
            <p:spPr>
              <a:xfrm>
                <a:off x="6529611" y="2115513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58" name="Grafik 21">
              <a:extLst>
                <a:ext uri="{FF2B5EF4-FFF2-40B4-BE49-F238E27FC236}">
                  <a16:creationId xmlns:a16="http://schemas.microsoft.com/office/drawing/2014/main" id="{5497EAB0-A300-0A82-7439-8F00389B7B2C}"/>
                </a:ext>
              </a:extLst>
            </p:cNvPr>
            <p:cNvGrpSpPr/>
            <p:nvPr/>
          </p:nvGrpSpPr>
          <p:grpSpPr>
            <a:xfrm>
              <a:off x="6482503" y="2109860"/>
              <a:ext cx="59582" cy="59846"/>
              <a:chOff x="6482503" y="2109860"/>
              <a:chExt cx="59582" cy="59846"/>
            </a:xfrm>
            <a:solidFill>
              <a:srgbClr val="000000"/>
            </a:solidFill>
          </p:grpSpPr>
          <p:sp>
            <p:nvSpPr>
              <p:cNvPr id="3079" name="Freihandform: Form 3078">
                <a:extLst>
                  <a:ext uri="{FF2B5EF4-FFF2-40B4-BE49-F238E27FC236}">
                    <a16:creationId xmlns:a16="http://schemas.microsoft.com/office/drawing/2014/main" id="{D187E969-F777-2854-0A71-A5B64313BA15}"/>
                  </a:ext>
                </a:extLst>
              </p:cNvPr>
              <p:cNvSpPr/>
              <p:nvPr/>
            </p:nvSpPr>
            <p:spPr>
              <a:xfrm>
                <a:off x="6488759" y="2130983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80" name="Freihandform: Form 3079">
                <a:extLst>
                  <a:ext uri="{FF2B5EF4-FFF2-40B4-BE49-F238E27FC236}">
                    <a16:creationId xmlns:a16="http://schemas.microsoft.com/office/drawing/2014/main" id="{519E95C7-433B-D227-3E1C-766EE84537E3}"/>
                  </a:ext>
                </a:extLst>
              </p:cNvPr>
              <p:cNvSpPr/>
              <p:nvPr/>
            </p:nvSpPr>
            <p:spPr>
              <a:xfrm>
                <a:off x="6482503" y="2109860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59" name="Grafik 21">
              <a:extLst>
                <a:ext uri="{FF2B5EF4-FFF2-40B4-BE49-F238E27FC236}">
                  <a16:creationId xmlns:a16="http://schemas.microsoft.com/office/drawing/2014/main" id="{30079713-5EB5-9A1E-A736-D7B2CE063D24}"/>
                </a:ext>
              </a:extLst>
            </p:cNvPr>
            <p:cNvGrpSpPr/>
            <p:nvPr/>
          </p:nvGrpSpPr>
          <p:grpSpPr>
            <a:xfrm>
              <a:off x="6267688" y="2369899"/>
              <a:ext cx="59582" cy="59846"/>
              <a:chOff x="6267688" y="2369899"/>
              <a:chExt cx="59582" cy="59846"/>
            </a:xfrm>
            <a:solidFill>
              <a:srgbClr val="000000"/>
            </a:solidFill>
          </p:grpSpPr>
          <p:sp>
            <p:nvSpPr>
              <p:cNvPr id="3077" name="Freihandform: Form 3076">
                <a:extLst>
                  <a:ext uri="{FF2B5EF4-FFF2-40B4-BE49-F238E27FC236}">
                    <a16:creationId xmlns:a16="http://schemas.microsoft.com/office/drawing/2014/main" id="{0D0187F4-E14A-A46F-2FC2-CF7DFB800CF6}"/>
                  </a:ext>
                </a:extLst>
              </p:cNvPr>
              <p:cNvSpPr/>
              <p:nvPr/>
            </p:nvSpPr>
            <p:spPr>
              <a:xfrm>
                <a:off x="6273945" y="2391020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78" name="Freihandform: Form 3077">
                <a:extLst>
                  <a:ext uri="{FF2B5EF4-FFF2-40B4-BE49-F238E27FC236}">
                    <a16:creationId xmlns:a16="http://schemas.microsoft.com/office/drawing/2014/main" id="{CA9E07C6-957C-18D0-254E-9C12CB7ECF62}"/>
                  </a:ext>
                </a:extLst>
              </p:cNvPr>
              <p:cNvSpPr/>
              <p:nvPr/>
            </p:nvSpPr>
            <p:spPr>
              <a:xfrm>
                <a:off x="6267688" y="2369899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8" y="57076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60" name="Grafik 21">
              <a:extLst>
                <a:ext uri="{FF2B5EF4-FFF2-40B4-BE49-F238E27FC236}">
                  <a16:creationId xmlns:a16="http://schemas.microsoft.com/office/drawing/2014/main" id="{55406B79-81E8-7F90-58B4-AB6A210FB9EC}"/>
                </a:ext>
              </a:extLst>
            </p:cNvPr>
            <p:cNvGrpSpPr/>
            <p:nvPr/>
          </p:nvGrpSpPr>
          <p:grpSpPr>
            <a:xfrm>
              <a:off x="6335977" y="2432082"/>
              <a:ext cx="60562" cy="59846"/>
              <a:chOff x="6335977" y="2432082"/>
              <a:chExt cx="60562" cy="59846"/>
            </a:xfrm>
            <a:solidFill>
              <a:srgbClr val="000000"/>
            </a:solidFill>
          </p:grpSpPr>
          <p:sp>
            <p:nvSpPr>
              <p:cNvPr id="3075" name="Freihandform: Form 3074">
                <a:extLst>
                  <a:ext uri="{FF2B5EF4-FFF2-40B4-BE49-F238E27FC236}">
                    <a16:creationId xmlns:a16="http://schemas.microsoft.com/office/drawing/2014/main" id="{EC1D4BDC-BAF7-B3D6-E505-0BCC0F2027AD}"/>
                  </a:ext>
                </a:extLst>
              </p:cNvPr>
              <p:cNvSpPr/>
              <p:nvPr/>
            </p:nvSpPr>
            <p:spPr>
              <a:xfrm>
                <a:off x="6342346" y="2453205"/>
                <a:ext cx="47880" cy="26852"/>
              </a:xfrm>
              <a:custGeom>
                <a:avLst/>
                <a:gdLst>
                  <a:gd name="connsiteX0" fmla="*/ 41776 w 47880"/>
                  <a:gd name="connsiteY0" fmla="*/ 22613 h 26852"/>
                  <a:gd name="connsiteX1" fmla="*/ 41776 w 47880"/>
                  <a:gd name="connsiteY1" fmla="*/ 26853 h 26852"/>
                  <a:gd name="connsiteX2" fmla="*/ 0 w 47880"/>
                  <a:gd name="connsiteY2" fmla="*/ 1 h 26852"/>
                  <a:gd name="connsiteX3" fmla="*/ 14509 w 47880"/>
                  <a:gd name="connsiteY3" fmla="*/ 1 h 26852"/>
                  <a:gd name="connsiteX4" fmla="*/ 14509 w 47880"/>
                  <a:gd name="connsiteY4" fmla="*/ 2507 h 26852"/>
                  <a:gd name="connsiteX5" fmla="*/ 11664 w 47880"/>
                  <a:gd name="connsiteY5" fmla="*/ 3261 h 26852"/>
                  <a:gd name="connsiteX6" fmla="*/ 21029 w 47880"/>
                  <a:gd name="connsiteY6" fmla="*/ 9272 h 26852"/>
                  <a:gd name="connsiteX7" fmla="*/ 17618 w 47880"/>
                  <a:gd name="connsiteY7" fmla="*/ 1659 h 26852"/>
                  <a:gd name="connsiteX8" fmla="*/ 21255 w 47880"/>
                  <a:gd name="connsiteY8" fmla="*/ 1 h 26852"/>
                  <a:gd name="connsiteX9" fmla="*/ 47881 w 47880"/>
                  <a:gd name="connsiteY9" fmla="*/ 1 h 26852"/>
                  <a:gd name="connsiteX10" fmla="*/ 31939 w 47880"/>
                  <a:gd name="connsiteY10" fmla="*/ 12362 h 26852"/>
                  <a:gd name="connsiteX11" fmla="*/ 30112 w 47880"/>
                  <a:gd name="connsiteY11" fmla="*/ 10647 h 26852"/>
                  <a:gd name="connsiteX12" fmla="*/ 37894 w 47880"/>
                  <a:gd name="connsiteY12" fmla="*/ 3355 h 26852"/>
                  <a:gd name="connsiteX13" fmla="*/ 23083 w 47880"/>
                  <a:gd name="connsiteY13" fmla="*/ 3355 h 26852"/>
                  <a:gd name="connsiteX14" fmla="*/ 22009 w 47880"/>
                  <a:gd name="connsiteY14" fmla="*/ 3845 h 26852"/>
                  <a:gd name="connsiteX15" fmla="*/ 38101 w 47880"/>
                  <a:gd name="connsiteY15" fmla="*/ 20201 h 26852"/>
                  <a:gd name="connsiteX16" fmla="*/ 41776 w 47880"/>
                  <a:gd name="connsiteY16" fmla="*/ 22613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0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8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39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1" y="6125"/>
                      <a:pt x="29641" y="14661"/>
                      <a:pt x="38101" y="20201"/>
                    </a:cubicBezTo>
                    <a:lnTo>
                      <a:pt x="41776" y="2261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76" name="Freihandform: Form 3075">
                <a:extLst>
                  <a:ext uri="{FF2B5EF4-FFF2-40B4-BE49-F238E27FC236}">
                    <a16:creationId xmlns:a16="http://schemas.microsoft.com/office/drawing/2014/main" id="{6A69EE3E-EED1-3AF8-A40B-3E930992679A}"/>
                  </a:ext>
                </a:extLst>
              </p:cNvPr>
              <p:cNvSpPr/>
              <p:nvPr/>
            </p:nvSpPr>
            <p:spPr>
              <a:xfrm>
                <a:off x="6335977" y="2432082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6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6 h 59846"/>
                  <a:gd name="connsiteX10" fmla="*/ 30281 w 6056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8" y="0"/>
                      <a:pt x="0" y="13398"/>
                      <a:pt x="0" y="29923"/>
                    </a:cubicBezTo>
                    <a:cubicBezTo>
                      <a:pt x="0" y="46449"/>
                      <a:pt x="13549" y="59847"/>
                      <a:pt x="30281" y="59847"/>
                    </a:cubicBezTo>
                    <a:cubicBezTo>
                      <a:pt x="47015" y="59847"/>
                      <a:pt x="60563" y="46449"/>
                      <a:pt x="60563" y="29923"/>
                    </a:cubicBezTo>
                    <a:cubicBezTo>
                      <a:pt x="60563" y="13398"/>
                      <a:pt x="47015" y="0"/>
                      <a:pt x="30281" y="0"/>
                    </a:cubicBezTo>
                    <a:close/>
                    <a:moveTo>
                      <a:pt x="30281" y="57076"/>
                    </a:moveTo>
                    <a:cubicBezTo>
                      <a:pt x="15112" y="57076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6"/>
                      <a:pt x="30281" y="57076"/>
                    </a:cubicBezTo>
                    <a:lnTo>
                      <a:pt x="3028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61" name="Grafik 21">
              <a:extLst>
                <a:ext uri="{FF2B5EF4-FFF2-40B4-BE49-F238E27FC236}">
                  <a16:creationId xmlns:a16="http://schemas.microsoft.com/office/drawing/2014/main" id="{ED2ABF23-71CF-3DE1-976E-889524301E3C}"/>
                </a:ext>
              </a:extLst>
            </p:cNvPr>
            <p:cNvGrpSpPr/>
            <p:nvPr/>
          </p:nvGrpSpPr>
          <p:grpSpPr>
            <a:xfrm>
              <a:off x="6302059" y="2479191"/>
              <a:ext cx="60562" cy="59846"/>
              <a:chOff x="6302059" y="2479191"/>
              <a:chExt cx="60562" cy="59846"/>
            </a:xfrm>
            <a:solidFill>
              <a:srgbClr val="000000"/>
            </a:solidFill>
          </p:grpSpPr>
          <p:sp>
            <p:nvSpPr>
              <p:cNvPr id="3073" name="Freihandform: Form 3072">
                <a:extLst>
                  <a:ext uri="{FF2B5EF4-FFF2-40B4-BE49-F238E27FC236}">
                    <a16:creationId xmlns:a16="http://schemas.microsoft.com/office/drawing/2014/main" id="{88EB77AB-EE6B-3649-D73D-2873E4181BED}"/>
                  </a:ext>
                </a:extLst>
              </p:cNvPr>
              <p:cNvSpPr/>
              <p:nvPr/>
            </p:nvSpPr>
            <p:spPr>
              <a:xfrm>
                <a:off x="6308428" y="2500313"/>
                <a:ext cx="47880" cy="26852"/>
              </a:xfrm>
              <a:custGeom>
                <a:avLst/>
                <a:gdLst>
                  <a:gd name="connsiteX0" fmla="*/ 41776 w 47880"/>
                  <a:gd name="connsiteY0" fmla="*/ 22613 h 26852"/>
                  <a:gd name="connsiteX1" fmla="*/ 41776 w 47880"/>
                  <a:gd name="connsiteY1" fmla="*/ 26853 h 26852"/>
                  <a:gd name="connsiteX2" fmla="*/ 0 w 47880"/>
                  <a:gd name="connsiteY2" fmla="*/ 1 h 26852"/>
                  <a:gd name="connsiteX3" fmla="*/ 14509 w 47880"/>
                  <a:gd name="connsiteY3" fmla="*/ 1 h 26852"/>
                  <a:gd name="connsiteX4" fmla="*/ 14509 w 47880"/>
                  <a:gd name="connsiteY4" fmla="*/ 2507 h 26852"/>
                  <a:gd name="connsiteX5" fmla="*/ 11664 w 47880"/>
                  <a:gd name="connsiteY5" fmla="*/ 3261 h 26852"/>
                  <a:gd name="connsiteX6" fmla="*/ 21029 w 47880"/>
                  <a:gd name="connsiteY6" fmla="*/ 9272 h 26852"/>
                  <a:gd name="connsiteX7" fmla="*/ 17618 w 47880"/>
                  <a:gd name="connsiteY7" fmla="*/ 1659 h 26852"/>
                  <a:gd name="connsiteX8" fmla="*/ 21255 w 47880"/>
                  <a:gd name="connsiteY8" fmla="*/ 1 h 26852"/>
                  <a:gd name="connsiteX9" fmla="*/ 47881 w 47880"/>
                  <a:gd name="connsiteY9" fmla="*/ 1 h 26852"/>
                  <a:gd name="connsiteX10" fmla="*/ 31939 w 47880"/>
                  <a:gd name="connsiteY10" fmla="*/ 12362 h 26852"/>
                  <a:gd name="connsiteX11" fmla="*/ 30112 w 47880"/>
                  <a:gd name="connsiteY11" fmla="*/ 10647 h 26852"/>
                  <a:gd name="connsiteX12" fmla="*/ 37894 w 47880"/>
                  <a:gd name="connsiteY12" fmla="*/ 3355 h 26852"/>
                  <a:gd name="connsiteX13" fmla="*/ 23083 w 47880"/>
                  <a:gd name="connsiteY13" fmla="*/ 3355 h 26852"/>
                  <a:gd name="connsiteX14" fmla="*/ 22009 w 47880"/>
                  <a:gd name="connsiteY14" fmla="*/ 3845 h 26852"/>
                  <a:gd name="connsiteX15" fmla="*/ 38101 w 47880"/>
                  <a:gd name="connsiteY15" fmla="*/ 20220 h 26852"/>
                  <a:gd name="connsiteX16" fmla="*/ 41776 w 47880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0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8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39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1" y="6125"/>
                      <a:pt x="29641" y="14661"/>
                      <a:pt x="38101" y="20220"/>
                    </a:cubicBezTo>
                    <a:lnTo>
                      <a:pt x="4177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74" name="Freihandform: Form 3073">
                <a:extLst>
                  <a:ext uri="{FF2B5EF4-FFF2-40B4-BE49-F238E27FC236}">
                    <a16:creationId xmlns:a16="http://schemas.microsoft.com/office/drawing/2014/main" id="{E068616F-CE6B-BEF5-3446-AEAE0B0CB815}"/>
                  </a:ext>
                </a:extLst>
              </p:cNvPr>
              <p:cNvSpPr/>
              <p:nvPr/>
            </p:nvSpPr>
            <p:spPr>
              <a:xfrm>
                <a:off x="6302059" y="2479191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6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6 h 59846"/>
                  <a:gd name="connsiteX10" fmla="*/ 30281 w 6056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8" y="0"/>
                      <a:pt x="0" y="13398"/>
                      <a:pt x="0" y="29923"/>
                    </a:cubicBezTo>
                    <a:cubicBezTo>
                      <a:pt x="0" y="46449"/>
                      <a:pt x="13549" y="59847"/>
                      <a:pt x="30281" y="59847"/>
                    </a:cubicBezTo>
                    <a:cubicBezTo>
                      <a:pt x="47015" y="59847"/>
                      <a:pt x="60563" y="46449"/>
                      <a:pt x="60563" y="29923"/>
                    </a:cubicBezTo>
                    <a:cubicBezTo>
                      <a:pt x="60563" y="13398"/>
                      <a:pt x="47015" y="0"/>
                      <a:pt x="30281" y="0"/>
                    </a:cubicBezTo>
                    <a:close/>
                    <a:moveTo>
                      <a:pt x="30281" y="57076"/>
                    </a:moveTo>
                    <a:cubicBezTo>
                      <a:pt x="15112" y="57076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6"/>
                      <a:pt x="30281" y="57076"/>
                    </a:cubicBezTo>
                    <a:lnTo>
                      <a:pt x="3028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62" name="Grafik 21">
              <a:extLst>
                <a:ext uri="{FF2B5EF4-FFF2-40B4-BE49-F238E27FC236}">
                  <a16:creationId xmlns:a16="http://schemas.microsoft.com/office/drawing/2014/main" id="{3A551CE3-866C-A4BB-BE1F-8BA2FFFF5349}"/>
                </a:ext>
              </a:extLst>
            </p:cNvPr>
            <p:cNvGrpSpPr/>
            <p:nvPr/>
          </p:nvGrpSpPr>
          <p:grpSpPr>
            <a:xfrm>
              <a:off x="6286984" y="2516877"/>
              <a:ext cx="60562" cy="59846"/>
              <a:chOff x="6286984" y="2516877"/>
              <a:chExt cx="60562" cy="59846"/>
            </a:xfrm>
            <a:solidFill>
              <a:srgbClr val="000000"/>
            </a:solidFill>
          </p:grpSpPr>
          <p:sp>
            <p:nvSpPr>
              <p:cNvPr id="3071" name="Freihandform: Form 3070">
                <a:extLst>
                  <a:ext uri="{FF2B5EF4-FFF2-40B4-BE49-F238E27FC236}">
                    <a16:creationId xmlns:a16="http://schemas.microsoft.com/office/drawing/2014/main" id="{9E726522-8F13-20DF-9D9D-7A83129C9CC6}"/>
                  </a:ext>
                </a:extLst>
              </p:cNvPr>
              <p:cNvSpPr/>
              <p:nvPr/>
            </p:nvSpPr>
            <p:spPr>
              <a:xfrm>
                <a:off x="6293353" y="2538000"/>
                <a:ext cx="47880" cy="26852"/>
              </a:xfrm>
              <a:custGeom>
                <a:avLst/>
                <a:gdLst>
                  <a:gd name="connsiteX0" fmla="*/ 41776 w 47880"/>
                  <a:gd name="connsiteY0" fmla="*/ 22613 h 26852"/>
                  <a:gd name="connsiteX1" fmla="*/ 41776 w 47880"/>
                  <a:gd name="connsiteY1" fmla="*/ 26853 h 26852"/>
                  <a:gd name="connsiteX2" fmla="*/ 0 w 47880"/>
                  <a:gd name="connsiteY2" fmla="*/ 1 h 26852"/>
                  <a:gd name="connsiteX3" fmla="*/ 14509 w 47880"/>
                  <a:gd name="connsiteY3" fmla="*/ 1 h 26852"/>
                  <a:gd name="connsiteX4" fmla="*/ 14509 w 47880"/>
                  <a:gd name="connsiteY4" fmla="*/ 2507 h 26852"/>
                  <a:gd name="connsiteX5" fmla="*/ 11664 w 47880"/>
                  <a:gd name="connsiteY5" fmla="*/ 3261 h 26852"/>
                  <a:gd name="connsiteX6" fmla="*/ 21029 w 47880"/>
                  <a:gd name="connsiteY6" fmla="*/ 9272 h 26852"/>
                  <a:gd name="connsiteX7" fmla="*/ 17618 w 47880"/>
                  <a:gd name="connsiteY7" fmla="*/ 1659 h 26852"/>
                  <a:gd name="connsiteX8" fmla="*/ 21255 w 47880"/>
                  <a:gd name="connsiteY8" fmla="*/ 1 h 26852"/>
                  <a:gd name="connsiteX9" fmla="*/ 47881 w 47880"/>
                  <a:gd name="connsiteY9" fmla="*/ 1 h 26852"/>
                  <a:gd name="connsiteX10" fmla="*/ 31939 w 47880"/>
                  <a:gd name="connsiteY10" fmla="*/ 12362 h 26852"/>
                  <a:gd name="connsiteX11" fmla="*/ 30112 w 47880"/>
                  <a:gd name="connsiteY11" fmla="*/ 10647 h 26852"/>
                  <a:gd name="connsiteX12" fmla="*/ 37894 w 47880"/>
                  <a:gd name="connsiteY12" fmla="*/ 3355 h 26852"/>
                  <a:gd name="connsiteX13" fmla="*/ 23083 w 47880"/>
                  <a:gd name="connsiteY13" fmla="*/ 3355 h 26852"/>
                  <a:gd name="connsiteX14" fmla="*/ 22009 w 47880"/>
                  <a:gd name="connsiteY14" fmla="*/ 3845 h 26852"/>
                  <a:gd name="connsiteX15" fmla="*/ 38101 w 47880"/>
                  <a:gd name="connsiteY15" fmla="*/ 20201 h 26852"/>
                  <a:gd name="connsiteX16" fmla="*/ 41776 w 47880"/>
                  <a:gd name="connsiteY16" fmla="*/ 22613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0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8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39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1" y="6125"/>
                      <a:pt x="29641" y="14661"/>
                      <a:pt x="38101" y="20201"/>
                    </a:cubicBezTo>
                    <a:lnTo>
                      <a:pt x="41776" y="2261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72" name="Freihandform: Form 3071">
                <a:extLst>
                  <a:ext uri="{FF2B5EF4-FFF2-40B4-BE49-F238E27FC236}">
                    <a16:creationId xmlns:a16="http://schemas.microsoft.com/office/drawing/2014/main" id="{9F6683F5-84B4-AA92-A26F-1FDB80E617BA}"/>
                  </a:ext>
                </a:extLst>
              </p:cNvPr>
              <p:cNvSpPr/>
              <p:nvPr/>
            </p:nvSpPr>
            <p:spPr>
              <a:xfrm>
                <a:off x="6286984" y="2516877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6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6 h 59846"/>
                  <a:gd name="connsiteX10" fmla="*/ 30281 w 6056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8" y="0"/>
                      <a:pt x="0" y="13398"/>
                      <a:pt x="0" y="29923"/>
                    </a:cubicBezTo>
                    <a:cubicBezTo>
                      <a:pt x="0" y="46449"/>
                      <a:pt x="13549" y="59847"/>
                      <a:pt x="30281" y="59847"/>
                    </a:cubicBezTo>
                    <a:cubicBezTo>
                      <a:pt x="47015" y="59847"/>
                      <a:pt x="60563" y="46449"/>
                      <a:pt x="60563" y="29923"/>
                    </a:cubicBezTo>
                    <a:cubicBezTo>
                      <a:pt x="60563" y="13398"/>
                      <a:pt x="47015" y="0"/>
                      <a:pt x="30281" y="0"/>
                    </a:cubicBezTo>
                    <a:close/>
                    <a:moveTo>
                      <a:pt x="30281" y="57076"/>
                    </a:moveTo>
                    <a:cubicBezTo>
                      <a:pt x="15112" y="57076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6"/>
                      <a:pt x="30281" y="57076"/>
                    </a:cubicBezTo>
                    <a:lnTo>
                      <a:pt x="3028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63" name="Grafik 21">
              <a:extLst>
                <a:ext uri="{FF2B5EF4-FFF2-40B4-BE49-F238E27FC236}">
                  <a16:creationId xmlns:a16="http://schemas.microsoft.com/office/drawing/2014/main" id="{8B7A07F1-2000-555D-C555-1177BF586C5F}"/>
                </a:ext>
              </a:extLst>
            </p:cNvPr>
            <p:cNvGrpSpPr/>
            <p:nvPr/>
          </p:nvGrpSpPr>
          <p:grpSpPr>
            <a:xfrm>
              <a:off x="6245076" y="2498034"/>
              <a:ext cx="59582" cy="59846"/>
              <a:chOff x="6245076" y="2498034"/>
              <a:chExt cx="59582" cy="59846"/>
            </a:xfrm>
            <a:solidFill>
              <a:srgbClr val="000000"/>
            </a:solidFill>
          </p:grpSpPr>
          <p:sp>
            <p:nvSpPr>
              <p:cNvPr id="3069" name="Freihandform: Form 3068">
                <a:extLst>
                  <a:ext uri="{FF2B5EF4-FFF2-40B4-BE49-F238E27FC236}">
                    <a16:creationId xmlns:a16="http://schemas.microsoft.com/office/drawing/2014/main" id="{55AD4CE5-8FF9-737B-05B1-56534275A9CF}"/>
                  </a:ext>
                </a:extLst>
              </p:cNvPr>
              <p:cNvSpPr/>
              <p:nvPr/>
            </p:nvSpPr>
            <p:spPr>
              <a:xfrm>
                <a:off x="6251333" y="2519156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70" name="Freihandform: Form 3069">
                <a:extLst>
                  <a:ext uri="{FF2B5EF4-FFF2-40B4-BE49-F238E27FC236}">
                    <a16:creationId xmlns:a16="http://schemas.microsoft.com/office/drawing/2014/main" id="{31409029-FDDA-DF88-8562-7573212920AD}"/>
                  </a:ext>
                </a:extLst>
              </p:cNvPr>
              <p:cNvSpPr/>
              <p:nvPr/>
            </p:nvSpPr>
            <p:spPr>
              <a:xfrm>
                <a:off x="6245076" y="2498034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8" y="57076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64" name="Grafik 21">
              <a:extLst>
                <a:ext uri="{FF2B5EF4-FFF2-40B4-BE49-F238E27FC236}">
                  <a16:creationId xmlns:a16="http://schemas.microsoft.com/office/drawing/2014/main" id="{989B7C95-1CC0-277A-AF41-8748CCF606C4}"/>
                </a:ext>
              </a:extLst>
            </p:cNvPr>
            <p:cNvGrpSpPr/>
            <p:nvPr/>
          </p:nvGrpSpPr>
          <p:grpSpPr>
            <a:xfrm>
              <a:off x="6209274" y="2467884"/>
              <a:ext cx="59582" cy="59846"/>
              <a:chOff x="6209274" y="2467884"/>
              <a:chExt cx="59582" cy="59846"/>
            </a:xfrm>
            <a:solidFill>
              <a:srgbClr val="000000"/>
            </a:solidFill>
          </p:grpSpPr>
          <p:sp>
            <p:nvSpPr>
              <p:cNvPr id="3067" name="Freihandform: Form 3066">
                <a:extLst>
                  <a:ext uri="{FF2B5EF4-FFF2-40B4-BE49-F238E27FC236}">
                    <a16:creationId xmlns:a16="http://schemas.microsoft.com/office/drawing/2014/main" id="{3D4A072C-EE93-E739-4775-5966C58B31B1}"/>
                  </a:ext>
                </a:extLst>
              </p:cNvPr>
              <p:cNvSpPr/>
              <p:nvPr/>
            </p:nvSpPr>
            <p:spPr>
              <a:xfrm>
                <a:off x="6215530" y="2489007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68" name="Freihandform: Form 3067">
                <a:extLst>
                  <a:ext uri="{FF2B5EF4-FFF2-40B4-BE49-F238E27FC236}">
                    <a16:creationId xmlns:a16="http://schemas.microsoft.com/office/drawing/2014/main" id="{5D84931D-6A0D-769E-A7EE-F8BE2979B585}"/>
                  </a:ext>
                </a:extLst>
              </p:cNvPr>
              <p:cNvSpPr/>
              <p:nvPr/>
            </p:nvSpPr>
            <p:spPr>
              <a:xfrm>
                <a:off x="6209274" y="2467884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8" y="57076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865" name="Freihandform: Form 2864">
              <a:extLst>
                <a:ext uri="{FF2B5EF4-FFF2-40B4-BE49-F238E27FC236}">
                  <a16:creationId xmlns:a16="http://schemas.microsoft.com/office/drawing/2014/main" id="{F613A03D-B694-C8BB-34FD-900D294AA412}"/>
                </a:ext>
              </a:extLst>
            </p:cNvPr>
            <p:cNvSpPr/>
            <p:nvPr/>
          </p:nvSpPr>
          <p:spPr>
            <a:xfrm>
              <a:off x="6175017" y="2557089"/>
              <a:ext cx="77728" cy="58942"/>
            </a:xfrm>
            <a:custGeom>
              <a:avLst/>
              <a:gdLst>
                <a:gd name="connsiteX0" fmla="*/ 0 w 77728"/>
                <a:gd name="connsiteY0" fmla="*/ 58942 h 58942"/>
                <a:gd name="connsiteX1" fmla="*/ 77729 w 77728"/>
                <a:gd name="connsiteY1" fmla="*/ 0 h 58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728" h="58942">
                  <a:moveTo>
                    <a:pt x="0" y="58942"/>
                  </a:moveTo>
                  <a:lnTo>
                    <a:pt x="77729" y="0"/>
                  </a:lnTo>
                </a:path>
              </a:pathLst>
            </a:custGeom>
            <a:noFill/>
            <a:ln w="6480" cap="flat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6" name="Freihandform: Form 2865">
              <a:extLst>
                <a:ext uri="{FF2B5EF4-FFF2-40B4-BE49-F238E27FC236}">
                  <a16:creationId xmlns:a16="http://schemas.microsoft.com/office/drawing/2014/main" id="{39D27355-3FB0-7306-A994-28E94A183822}"/>
                </a:ext>
              </a:extLst>
            </p:cNvPr>
            <p:cNvSpPr/>
            <p:nvPr/>
          </p:nvSpPr>
          <p:spPr>
            <a:xfrm>
              <a:off x="6291846" y="2581585"/>
              <a:ext cx="15979" cy="71548"/>
            </a:xfrm>
            <a:custGeom>
              <a:avLst/>
              <a:gdLst>
                <a:gd name="connsiteX0" fmla="*/ 0 w 15979"/>
                <a:gd name="connsiteY0" fmla="*/ 71548 h 71548"/>
                <a:gd name="connsiteX1" fmla="*/ 15979 w 15979"/>
                <a:gd name="connsiteY1" fmla="*/ 0 h 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979" h="71548">
                  <a:moveTo>
                    <a:pt x="0" y="71548"/>
                  </a:moveTo>
                  <a:lnTo>
                    <a:pt x="15979" y="0"/>
                  </a:lnTo>
                </a:path>
              </a:pathLst>
            </a:custGeom>
            <a:noFill/>
            <a:ln w="6480" cap="flat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7" name="Freihandform: Form 2866">
              <a:extLst>
                <a:ext uri="{FF2B5EF4-FFF2-40B4-BE49-F238E27FC236}">
                  <a16:creationId xmlns:a16="http://schemas.microsoft.com/office/drawing/2014/main" id="{AD6D5285-08BE-35C2-EA49-36E4F0EB36B6}"/>
                </a:ext>
              </a:extLst>
            </p:cNvPr>
            <p:cNvSpPr/>
            <p:nvPr/>
          </p:nvSpPr>
          <p:spPr>
            <a:xfrm>
              <a:off x="6367219" y="2534477"/>
              <a:ext cx="66837" cy="43829"/>
            </a:xfrm>
            <a:custGeom>
              <a:avLst/>
              <a:gdLst>
                <a:gd name="connsiteX0" fmla="*/ 66837 w 66837"/>
                <a:gd name="connsiteY0" fmla="*/ 43830 h 43829"/>
                <a:gd name="connsiteX1" fmla="*/ 0 w 66837"/>
                <a:gd name="connsiteY1" fmla="*/ 0 h 43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837" h="43829">
                  <a:moveTo>
                    <a:pt x="66837" y="43830"/>
                  </a:moveTo>
                  <a:lnTo>
                    <a:pt x="0" y="0"/>
                  </a:lnTo>
                </a:path>
              </a:pathLst>
            </a:custGeom>
            <a:noFill/>
            <a:ln w="6480" cap="flat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8" name="Freihandform: Form 2867">
              <a:extLst>
                <a:ext uri="{FF2B5EF4-FFF2-40B4-BE49-F238E27FC236}">
                  <a16:creationId xmlns:a16="http://schemas.microsoft.com/office/drawing/2014/main" id="{7DA0E452-ED8B-7E53-4623-9092F6C99132}"/>
                </a:ext>
              </a:extLst>
            </p:cNvPr>
            <p:cNvSpPr/>
            <p:nvPr/>
          </p:nvSpPr>
          <p:spPr>
            <a:xfrm>
              <a:off x="6408675" y="2479831"/>
              <a:ext cx="72377" cy="31110"/>
            </a:xfrm>
            <a:custGeom>
              <a:avLst/>
              <a:gdLst>
                <a:gd name="connsiteX0" fmla="*/ 0 w 72377"/>
                <a:gd name="connsiteY0" fmla="*/ 0 h 31110"/>
                <a:gd name="connsiteX1" fmla="*/ 72377 w 72377"/>
                <a:gd name="connsiteY1" fmla="*/ 31110 h 31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377" h="31110">
                  <a:moveTo>
                    <a:pt x="0" y="0"/>
                  </a:moveTo>
                  <a:lnTo>
                    <a:pt x="72377" y="31110"/>
                  </a:lnTo>
                </a:path>
              </a:pathLst>
            </a:custGeom>
            <a:noFill/>
            <a:ln w="6480" cap="flat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9" name="Freihandform: Form 2868">
              <a:extLst>
                <a:ext uri="{FF2B5EF4-FFF2-40B4-BE49-F238E27FC236}">
                  <a16:creationId xmlns:a16="http://schemas.microsoft.com/office/drawing/2014/main" id="{657EE992-22B7-B7CA-D2BE-1EB863D57C13}"/>
                </a:ext>
              </a:extLst>
            </p:cNvPr>
            <p:cNvSpPr/>
            <p:nvPr/>
          </p:nvSpPr>
          <p:spPr>
            <a:xfrm>
              <a:off x="6512313" y="2183990"/>
              <a:ext cx="30940" cy="50895"/>
            </a:xfrm>
            <a:custGeom>
              <a:avLst/>
              <a:gdLst>
                <a:gd name="connsiteX0" fmla="*/ 30941 w 30940"/>
                <a:gd name="connsiteY0" fmla="*/ 0 h 50895"/>
                <a:gd name="connsiteX1" fmla="*/ 0 w 30940"/>
                <a:gd name="connsiteY1" fmla="*/ 50896 h 50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940" h="50895">
                  <a:moveTo>
                    <a:pt x="30941" y="0"/>
                  </a:moveTo>
                  <a:lnTo>
                    <a:pt x="0" y="50896"/>
                  </a:lnTo>
                </a:path>
              </a:pathLst>
            </a:custGeom>
            <a:noFill/>
            <a:ln w="6480" cap="flat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0" name="Freihandform: Form 2869">
              <a:extLst>
                <a:ext uri="{FF2B5EF4-FFF2-40B4-BE49-F238E27FC236}">
                  <a16:creationId xmlns:a16="http://schemas.microsoft.com/office/drawing/2014/main" id="{0F251533-6DD8-72F0-6F41-8CDA521BBFE0}"/>
                </a:ext>
              </a:extLst>
            </p:cNvPr>
            <p:cNvSpPr/>
            <p:nvPr/>
          </p:nvSpPr>
          <p:spPr>
            <a:xfrm>
              <a:off x="6636680" y="2195296"/>
              <a:ext cx="15451" cy="38214"/>
            </a:xfrm>
            <a:custGeom>
              <a:avLst/>
              <a:gdLst>
                <a:gd name="connsiteX0" fmla="*/ 0 w 15451"/>
                <a:gd name="connsiteY0" fmla="*/ 0 h 38214"/>
                <a:gd name="connsiteX1" fmla="*/ 15451 w 15451"/>
                <a:gd name="connsiteY1" fmla="*/ 38214 h 3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51" h="38214">
                  <a:moveTo>
                    <a:pt x="0" y="0"/>
                  </a:moveTo>
                  <a:lnTo>
                    <a:pt x="15451" y="38214"/>
                  </a:lnTo>
                </a:path>
              </a:pathLst>
            </a:custGeom>
            <a:noFill/>
            <a:ln w="6480" cap="flat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71" name="Freihandform: Form 2870">
              <a:extLst>
                <a:ext uri="{FF2B5EF4-FFF2-40B4-BE49-F238E27FC236}">
                  <a16:creationId xmlns:a16="http://schemas.microsoft.com/office/drawing/2014/main" id="{DDC222F3-9114-4E74-4D23-AAD5DDE517DF}"/>
                </a:ext>
              </a:extLst>
            </p:cNvPr>
            <p:cNvSpPr/>
            <p:nvPr/>
          </p:nvSpPr>
          <p:spPr>
            <a:xfrm>
              <a:off x="6740318" y="2116154"/>
              <a:ext cx="19860" cy="51988"/>
            </a:xfrm>
            <a:custGeom>
              <a:avLst/>
              <a:gdLst>
                <a:gd name="connsiteX0" fmla="*/ 0 w 19860"/>
                <a:gd name="connsiteY0" fmla="*/ 0 h 51988"/>
                <a:gd name="connsiteX1" fmla="*/ 19861 w 19860"/>
                <a:gd name="connsiteY1" fmla="*/ 51989 h 51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860" h="51988">
                  <a:moveTo>
                    <a:pt x="0" y="0"/>
                  </a:moveTo>
                  <a:lnTo>
                    <a:pt x="19861" y="51989"/>
                  </a:lnTo>
                </a:path>
              </a:pathLst>
            </a:custGeom>
            <a:noFill/>
            <a:ln w="6480" cap="flat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872" name="Grafik 21">
              <a:extLst>
                <a:ext uri="{FF2B5EF4-FFF2-40B4-BE49-F238E27FC236}">
                  <a16:creationId xmlns:a16="http://schemas.microsoft.com/office/drawing/2014/main" id="{0B85E986-F7F0-92B1-5BD5-585F1836641F}"/>
                </a:ext>
              </a:extLst>
            </p:cNvPr>
            <p:cNvGrpSpPr/>
            <p:nvPr/>
          </p:nvGrpSpPr>
          <p:grpSpPr>
            <a:xfrm>
              <a:off x="8025775" y="2011875"/>
              <a:ext cx="59582" cy="59846"/>
              <a:chOff x="8025775" y="2011875"/>
              <a:chExt cx="59582" cy="59846"/>
            </a:xfrm>
            <a:solidFill>
              <a:srgbClr val="000000"/>
            </a:solidFill>
          </p:grpSpPr>
          <p:sp>
            <p:nvSpPr>
              <p:cNvPr id="3065" name="Freihandform: Form 3064">
                <a:extLst>
                  <a:ext uri="{FF2B5EF4-FFF2-40B4-BE49-F238E27FC236}">
                    <a16:creationId xmlns:a16="http://schemas.microsoft.com/office/drawing/2014/main" id="{9D228E94-2888-9C16-4217-EB8B4EC14FC4}"/>
                  </a:ext>
                </a:extLst>
              </p:cNvPr>
              <p:cNvSpPr/>
              <p:nvPr/>
            </p:nvSpPr>
            <p:spPr>
              <a:xfrm>
                <a:off x="8032031" y="2032997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5 w 47089"/>
                  <a:gd name="connsiteY3" fmla="*/ 1 h 26852"/>
                  <a:gd name="connsiteX4" fmla="*/ 14265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5" y="1"/>
                    </a:lnTo>
                    <a:lnTo>
                      <a:pt x="14265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66" name="Freihandform: Form 3065">
                <a:extLst>
                  <a:ext uri="{FF2B5EF4-FFF2-40B4-BE49-F238E27FC236}">
                    <a16:creationId xmlns:a16="http://schemas.microsoft.com/office/drawing/2014/main" id="{4F725B3C-3352-ED56-DDF0-259822E09DA1}"/>
                  </a:ext>
                </a:extLst>
              </p:cNvPr>
              <p:cNvSpPr/>
              <p:nvPr/>
            </p:nvSpPr>
            <p:spPr>
              <a:xfrm>
                <a:off x="8025775" y="2011875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7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7 h 59846"/>
                  <a:gd name="connsiteX10" fmla="*/ 29791 w 5958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2" y="59847"/>
                      <a:pt x="59583" y="46449"/>
                      <a:pt x="59583" y="29923"/>
                    </a:cubicBezTo>
                    <a:cubicBezTo>
                      <a:pt x="59583" y="13398"/>
                      <a:pt x="46242" y="0"/>
                      <a:pt x="29791" y="0"/>
                    </a:cubicBezTo>
                    <a:close/>
                    <a:moveTo>
                      <a:pt x="29791" y="57077"/>
                    </a:moveTo>
                    <a:cubicBezTo>
                      <a:pt x="14868" y="57077"/>
                      <a:pt x="2770" y="44923"/>
                      <a:pt x="2770" y="29923"/>
                    </a:cubicBezTo>
                    <a:cubicBezTo>
                      <a:pt x="2770" y="14924"/>
                      <a:pt x="14868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7"/>
                      <a:pt x="29791" y="57077"/>
                    </a:cubicBezTo>
                    <a:lnTo>
                      <a:pt x="2979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73" name="Grafik 21">
              <a:extLst>
                <a:ext uri="{FF2B5EF4-FFF2-40B4-BE49-F238E27FC236}">
                  <a16:creationId xmlns:a16="http://schemas.microsoft.com/office/drawing/2014/main" id="{18886325-DD28-A132-0998-A8D85E100CA7}"/>
                </a:ext>
              </a:extLst>
            </p:cNvPr>
            <p:cNvGrpSpPr/>
            <p:nvPr/>
          </p:nvGrpSpPr>
          <p:grpSpPr>
            <a:xfrm>
              <a:off x="4762838" y="2833069"/>
              <a:ext cx="56662" cy="38383"/>
              <a:chOff x="4762838" y="2833069"/>
              <a:chExt cx="56662" cy="38383"/>
            </a:xfrm>
            <a:solidFill>
              <a:srgbClr val="000000"/>
            </a:solidFill>
          </p:grpSpPr>
          <p:sp>
            <p:nvSpPr>
              <p:cNvPr id="3063" name="Freihandform: Form 3062">
                <a:extLst>
                  <a:ext uri="{FF2B5EF4-FFF2-40B4-BE49-F238E27FC236}">
                    <a16:creationId xmlns:a16="http://schemas.microsoft.com/office/drawing/2014/main" id="{91BC4617-DF30-F182-CE56-DB5153F856E1}"/>
                  </a:ext>
                </a:extLst>
              </p:cNvPr>
              <p:cNvSpPr/>
              <p:nvPr/>
            </p:nvSpPr>
            <p:spPr>
              <a:xfrm>
                <a:off x="4762838" y="2833069"/>
                <a:ext cx="28830" cy="37762"/>
              </a:xfrm>
              <a:custGeom>
                <a:avLst/>
                <a:gdLst>
                  <a:gd name="connsiteX0" fmla="*/ 0 w 28830"/>
                  <a:gd name="connsiteY0" fmla="*/ 37762 h 37762"/>
                  <a:gd name="connsiteX1" fmla="*/ 0 w 28830"/>
                  <a:gd name="connsiteY1" fmla="*/ 0 h 37762"/>
                  <a:gd name="connsiteX2" fmla="*/ 14246 w 28830"/>
                  <a:gd name="connsiteY2" fmla="*/ 0 h 37762"/>
                  <a:gd name="connsiteX3" fmla="*/ 19993 w 28830"/>
                  <a:gd name="connsiteY3" fmla="*/ 358 h 37762"/>
                  <a:gd name="connsiteX4" fmla="*/ 24647 w 28830"/>
                  <a:gd name="connsiteY4" fmla="*/ 2129 h 37762"/>
                  <a:gd name="connsiteX5" fmla="*/ 27681 w 28830"/>
                  <a:gd name="connsiteY5" fmla="*/ 5766 h 37762"/>
                  <a:gd name="connsiteX6" fmla="*/ 28830 w 28830"/>
                  <a:gd name="connsiteY6" fmla="*/ 10910 h 37762"/>
                  <a:gd name="connsiteX7" fmla="*/ 25759 w 28830"/>
                  <a:gd name="connsiteY7" fmla="*/ 19069 h 37762"/>
                  <a:gd name="connsiteX8" fmla="*/ 14679 w 28830"/>
                  <a:gd name="connsiteY8" fmla="*/ 22405 h 37762"/>
                  <a:gd name="connsiteX9" fmla="*/ 4994 w 28830"/>
                  <a:gd name="connsiteY9" fmla="*/ 22405 h 37762"/>
                  <a:gd name="connsiteX10" fmla="*/ 4994 w 28830"/>
                  <a:gd name="connsiteY10" fmla="*/ 37762 h 37762"/>
                  <a:gd name="connsiteX11" fmla="*/ 0 w 28830"/>
                  <a:gd name="connsiteY11" fmla="*/ 37762 h 37762"/>
                  <a:gd name="connsiteX12" fmla="*/ 4994 w 28830"/>
                  <a:gd name="connsiteY12" fmla="*/ 17958 h 37762"/>
                  <a:gd name="connsiteX13" fmla="*/ 14755 w 28830"/>
                  <a:gd name="connsiteY13" fmla="*/ 17958 h 37762"/>
                  <a:gd name="connsiteX14" fmla="*/ 21632 w 28830"/>
                  <a:gd name="connsiteY14" fmla="*/ 16149 h 37762"/>
                  <a:gd name="connsiteX15" fmla="*/ 23667 w 28830"/>
                  <a:gd name="connsiteY15" fmla="*/ 11080 h 37762"/>
                  <a:gd name="connsiteX16" fmla="*/ 22461 w 28830"/>
                  <a:gd name="connsiteY16" fmla="*/ 7029 h 37762"/>
                  <a:gd name="connsiteX17" fmla="*/ 19314 w 28830"/>
                  <a:gd name="connsiteY17" fmla="*/ 4805 h 37762"/>
                  <a:gd name="connsiteX18" fmla="*/ 14660 w 28830"/>
                  <a:gd name="connsiteY18" fmla="*/ 4466 h 37762"/>
                  <a:gd name="connsiteX19" fmla="*/ 4994 w 28830"/>
                  <a:gd name="connsiteY19" fmla="*/ 4466 h 37762"/>
                  <a:gd name="connsiteX20" fmla="*/ 4994 w 28830"/>
                  <a:gd name="connsiteY20" fmla="*/ 17958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8830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14246" y="0"/>
                    </a:lnTo>
                    <a:cubicBezTo>
                      <a:pt x="16752" y="0"/>
                      <a:pt x="18674" y="113"/>
                      <a:pt x="19993" y="358"/>
                    </a:cubicBezTo>
                    <a:cubicBezTo>
                      <a:pt x="21840" y="660"/>
                      <a:pt x="23404" y="1263"/>
                      <a:pt x="24647" y="2129"/>
                    </a:cubicBezTo>
                    <a:cubicBezTo>
                      <a:pt x="25910" y="2996"/>
                      <a:pt x="26908" y="4221"/>
                      <a:pt x="27681" y="5766"/>
                    </a:cubicBezTo>
                    <a:cubicBezTo>
                      <a:pt x="28454" y="7330"/>
                      <a:pt x="28830" y="9045"/>
                      <a:pt x="28830" y="10910"/>
                    </a:cubicBezTo>
                    <a:cubicBezTo>
                      <a:pt x="28830" y="14114"/>
                      <a:pt x="27813" y="16846"/>
                      <a:pt x="25759" y="19069"/>
                    </a:cubicBezTo>
                    <a:cubicBezTo>
                      <a:pt x="23724" y="21293"/>
                      <a:pt x="20031" y="22405"/>
                      <a:pt x="14679" y="22405"/>
                    </a:cubicBezTo>
                    <a:lnTo>
                      <a:pt x="4994" y="22405"/>
                    </a:lnTo>
                    <a:lnTo>
                      <a:pt x="4994" y="37762"/>
                    </a:lnTo>
                    <a:lnTo>
                      <a:pt x="0" y="37762"/>
                    </a:lnTo>
                    <a:close/>
                    <a:moveTo>
                      <a:pt x="4994" y="17958"/>
                    </a:moveTo>
                    <a:lnTo>
                      <a:pt x="14755" y="17958"/>
                    </a:lnTo>
                    <a:cubicBezTo>
                      <a:pt x="17977" y="17958"/>
                      <a:pt x="20275" y="17355"/>
                      <a:pt x="21632" y="16149"/>
                    </a:cubicBezTo>
                    <a:cubicBezTo>
                      <a:pt x="22989" y="14943"/>
                      <a:pt x="23667" y="13247"/>
                      <a:pt x="23667" y="11080"/>
                    </a:cubicBezTo>
                    <a:cubicBezTo>
                      <a:pt x="23667" y="9497"/>
                      <a:pt x="23272" y="8140"/>
                      <a:pt x="22461" y="7029"/>
                    </a:cubicBezTo>
                    <a:cubicBezTo>
                      <a:pt x="21651" y="5917"/>
                      <a:pt x="20615" y="5163"/>
                      <a:pt x="19314" y="4805"/>
                    </a:cubicBezTo>
                    <a:cubicBezTo>
                      <a:pt x="18467" y="4579"/>
                      <a:pt x="16922" y="4466"/>
                      <a:pt x="14660" y="4466"/>
                    </a:cubicBezTo>
                    <a:lnTo>
                      <a:pt x="4994" y="4466"/>
                    </a:lnTo>
                    <a:lnTo>
                      <a:pt x="4994" y="17958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64" name="Freihandform: Form 3063">
                <a:extLst>
                  <a:ext uri="{FF2B5EF4-FFF2-40B4-BE49-F238E27FC236}">
                    <a16:creationId xmlns:a16="http://schemas.microsoft.com/office/drawing/2014/main" id="{2F5095E8-5EB1-0975-9831-054504DC4041}"/>
                  </a:ext>
                </a:extLst>
              </p:cNvPr>
              <p:cNvSpPr/>
              <p:nvPr/>
            </p:nvSpPr>
            <p:spPr>
              <a:xfrm>
                <a:off x="4797340" y="2843433"/>
                <a:ext cx="22159" cy="28020"/>
              </a:xfrm>
              <a:custGeom>
                <a:avLst/>
                <a:gdLst>
                  <a:gd name="connsiteX0" fmla="*/ 18033 w 22159"/>
                  <a:gd name="connsiteY0" fmla="*/ 27398 h 28020"/>
                  <a:gd name="connsiteX1" fmla="*/ 18033 w 22159"/>
                  <a:gd name="connsiteY1" fmla="*/ 23385 h 28020"/>
                  <a:gd name="connsiteX2" fmla="*/ 9346 w 22159"/>
                  <a:gd name="connsiteY2" fmla="*/ 28020 h 28020"/>
                  <a:gd name="connsiteX3" fmla="*/ 4824 w 22159"/>
                  <a:gd name="connsiteY3" fmla="*/ 27097 h 28020"/>
                  <a:gd name="connsiteX4" fmla="*/ 1715 w 22159"/>
                  <a:gd name="connsiteY4" fmla="*/ 24760 h 28020"/>
                  <a:gd name="connsiteX5" fmla="*/ 283 w 22159"/>
                  <a:gd name="connsiteY5" fmla="*/ 21312 h 28020"/>
                  <a:gd name="connsiteX6" fmla="*/ 0 w 22159"/>
                  <a:gd name="connsiteY6" fmla="*/ 16978 h 28020"/>
                  <a:gd name="connsiteX7" fmla="*/ 0 w 22159"/>
                  <a:gd name="connsiteY7" fmla="*/ 19 h 28020"/>
                  <a:gd name="connsiteX8" fmla="*/ 4635 w 22159"/>
                  <a:gd name="connsiteY8" fmla="*/ 19 h 28020"/>
                  <a:gd name="connsiteX9" fmla="*/ 4635 w 22159"/>
                  <a:gd name="connsiteY9" fmla="*/ 15188 h 28020"/>
                  <a:gd name="connsiteX10" fmla="*/ 4918 w 22159"/>
                  <a:gd name="connsiteY10" fmla="*/ 20087 h 28020"/>
                  <a:gd name="connsiteX11" fmla="*/ 6765 w 22159"/>
                  <a:gd name="connsiteY11" fmla="*/ 22951 h 28020"/>
                  <a:gd name="connsiteX12" fmla="*/ 10270 w 22159"/>
                  <a:gd name="connsiteY12" fmla="*/ 23988 h 28020"/>
                  <a:gd name="connsiteX13" fmla="*/ 14189 w 22159"/>
                  <a:gd name="connsiteY13" fmla="*/ 22914 h 28020"/>
                  <a:gd name="connsiteX14" fmla="*/ 16771 w 22159"/>
                  <a:gd name="connsiteY14" fmla="*/ 20012 h 28020"/>
                  <a:gd name="connsiteX15" fmla="*/ 17524 w 22159"/>
                  <a:gd name="connsiteY15" fmla="*/ 14660 h 28020"/>
                  <a:gd name="connsiteX16" fmla="*/ 17524 w 22159"/>
                  <a:gd name="connsiteY16" fmla="*/ 0 h 28020"/>
                  <a:gd name="connsiteX17" fmla="*/ 22160 w 22159"/>
                  <a:gd name="connsiteY17" fmla="*/ 0 h 28020"/>
                  <a:gd name="connsiteX18" fmla="*/ 22160 w 22159"/>
                  <a:gd name="connsiteY18" fmla="*/ 27361 h 28020"/>
                  <a:gd name="connsiteX19" fmla="*/ 18014 w 22159"/>
                  <a:gd name="connsiteY19" fmla="*/ 27361 h 28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159" h="28020">
                    <a:moveTo>
                      <a:pt x="18033" y="27398"/>
                    </a:moveTo>
                    <a:lnTo>
                      <a:pt x="18033" y="23385"/>
                    </a:lnTo>
                    <a:cubicBezTo>
                      <a:pt x="15904" y="26475"/>
                      <a:pt x="13002" y="28020"/>
                      <a:pt x="9346" y="28020"/>
                    </a:cubicBezTo>
                    <a:cubicBezTo>
                      <a:pt x="7726" y="28020"/>
                      <a:pt x="6218" y="27719"/>
                      <a:pt x="4824" y="27097"/>
                    </a:cubicBezTo>
                    <a:cubicBezTo>
                      <a:pt x="3429" y="26475"/>
                      <a:pt x="2393" y="25702"/>
                      <a:pt x="1715" y="24760"/>
                    </a:cubicBezTo>
                    <a:cubicBezTo>
                      <a:pt x="1036" y="23818"/>
                      <a:pt x="565" y="22669"/>
                      <a:pt x="283" y="21312"/>
                    </a:cubicBezTo>
                    <a:cubicBezTo>
                      <a:pt x="94" y="20408"/>
                      <a:pt x="0" y="18957"/>
                      <a:pt x="0" y="16978"/>
                    </a:cubicBezTo>
                    <a:lnTo>
                      <a:pt x="0" y="19"/>
                    </a:lnTo>
                    <a:lnTo>
                      <a:pt x="4635" y="19"/>
                    </a:lnTo>
                    <a:lnTo>
                      <a:pt x="4635" y="15188"/>
                    </a:lnTo>
                    <a:cubicBezTo>
                      <a:pt x="4635" y="17619"/>
                      <a:pt x="4730" y="19239"/>
                      <a:pt x="4918" y="20087"/>
                    </a:cubicBezTo>
                    <a:cubicBezTo>
                      <a:pt x="5201" y="21312"/>
                      <a:pt x="5823" y="22273"/>
                      <a:pt x="6765" y="22951"/>
                    </a:cubicBezTo>
                    <a:cubicBezTo>
                      <a:pt x="7707" y="23649"/>
                      <a:pt x="8875" y="23988"/>
                      <a:pt x="10270" y="23988"/>
                    </a:cubicBezTo>
                    <a:cubicBezTo>
                      <a:pt x="11664" y="23988"/>
                      <a:pt x="12964" y="23630"/>
                      <a:pt x="14189" y="22914"/>
                    </a:cubicBezTo>
                    <a:cubicBezTo>
                      <a:pt x="15414" y="22198"/>
                      <a:pt x="16262" y="21237"/>
                      <a:pt x="16771" y="20012"/>
                    </a:cubicBezTo>
                    <a:cubicBezTo>
                      <a:pt x="17279" y="18787"/>
                      <a:pt x="17524" y="16997"/>
                      <a:pt x="17524" y="14660"/>
                    </a:cubicBezTo>
                    <a:lnTo>
                      <a:pt x="17524" y="0"/>
                    </a:lnTo>
                    <a:lnTo>
                      <a:pt x="22160" y="0"/>
                    </a:lnTo>
                    <a:lnTo>
                      <a:pt x="22160" y="27361"/>
                    </a:lnTo>
                    <a:lnTo>
                      <a:pt x="18014" y="2736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74" name="Grafik 21">
              <a:extLst>
                <a:ext uri="{FF2B5EF4-FFF2-40B4-BE49-F238E27FC236}">
                  <a16:creationId xmlns:a16="http://schemas.microsoft.com/office/drawing/2014/main" id="{CE4F9C92-41D6-97CC-BC5B-3C8D6823FFB3}"/>
                </a:ext>
              </a:extLst>
            </p:cNvPr>
            <p:cNvGrpSpPr/>
            <p:nvPr/>
          </p:nvGrpSpPr>
          <p:grpSpPr>
            <a:xfrm>
              <a:off x="4825944" y="2833917"/>
              <a:ext cx="67609" cy="37535"/>
              <a:chOff x="4825944" y="2833917"/>
              <a:chExt cx="67609" cy="37535"/>
            </a:xfrm>
            <a:solidFill>
              <a:srgbClr val="000000"/>
            </a:solidFill>
          </p:grpSpPr>
          <p:sp>
            <p:nvSpPr>
              <p:cNvPr id="3060" name="Freihandform: Form 3059">
                <a:extLst>
                  <a:ext uri="{FF2B5EF4-FFF2-40B4-BE49-F238E27FC236}">
                    <a16:creationId xmlns:a16="http://schemas.microsoft.com/office/drawing/2014/main" id="{1978E121-8C95-24F3-3416-BE5B71921B28}"/>
                  </a:ext>
                </a:extLst>
              </p:cNvPr>
              <p:cNvSpPr/>
              <p:nvPr/>
            </p:nvSpPr>
            <p:spPr>
              <a:xfrm>
                <a:off x="4825944" y="2842849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0" y="1507"/>
                      <a:pt x="9082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4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1" y="4033"/>
                      <a:pt x="8216" y="4654"/>
                      <a:pt x="6784" y="5917"/>
                    </a:cubicBezTo>
                    <a:cubicBezTo>
                      <a:pt x="5351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61" name="Freihandform: Form 3060">
                <a:extLst>
                  <a:ext uri="{FF2B5EF4-FFF2-40B4-BE49-F238E27FC236}">
                    <a16:creationId xmlns:a16="http://schemas.microsoft.com/office/drawing/2014/main" id="{F1FF1168-EFD8-79B1-A5C3-A405FAE148F0}"/>
                  </a:ext>
                </a:extLst>
              </p:cNvPr>
              <p:cNvSpPr/>
              <p:nvPr/>
            </p:nvSpPr>
            <p:spPr>
              <a:xfrm>
                <a:off x="4852740" y="2833917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1 h 37272"/>
                  <a:gd name="connsiteX7" fmla="*/ 0 w 13341"/>
                  <a:gd name="connsiteY7" fmla="*/ 13171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3 h 37272"/>
                  <a:gd name="connsiteX13" fmla="*/ 12663 w 13341"/>
                  <a:gd name="connsiteY13" fmla="*/ 9553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4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0" y="33522"/>
                      <a:pt x="3392" y="31694"/>
                      <a:pt x="3392" y="28906"/>
                    </a:cubicBezTo>
                    <a:lnTo>
                      <a:pt x="3392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3"/>
                    </a:lnTo>
                    <a:lnTo>
                      <a:pt x="12663" y="9553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4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62" name="Freihandform: Form 3061">
                <a:extLst>
                  <a:ext uri="{FF2B5EF4-FFF2-40B4-BE49-F238E27FC236}">
                    <a16:creationId xmlns:a16="http://schemas.microsoft.com/office/drawing/2014/main" id="{8B506514-EF08-2AF5-8C04-C53B15E966DA}"/>
                  </a:ext>
                </a:extLst>
              </p:cNvPr>
              <p:cNvSpPr/>
              <p:nvPr/>
            </p:nvSpPr>
            <p:spPr>
              <a:xfrm>
                <a:off x="4868361" y="2842830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4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9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1 w 25193"/>
                  <a:gd name="connsiteY11" fmla="*/ 5408 h 28622"/>
                  <a:gd name="connsiteX12" fmla="*/ 12474 w 25193"/>
                  <a:gd name="connsiteY12" fmla="*/ 3844 h 28622"/>
                  <a:gd name="connsiteX13" fmla="*/ 7651 w 25193"/>
                  <a:gd name="connsiteY13" fmla="*/ 4994 h 28622"/>
                  <a:gd name="connsiteX14" fmla="*/ 5352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6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6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4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9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1" y="4994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75" name="Grafik 21">
              <a:extLst>
                <a:ext uri="{FF2B5EF4-FFF2-40B4-BE49-F238E27FC236}">
                  <a16:creationId xmlns:a16="http://schemas.microsoft.com/office/drawing/2014/main" id="{92328F26-E0F7-C3B9-5698-F83C256A1477}"/>
                </a:ext>
              </a:extLst>
            </p:cNvPr>
            <p:cNvGrpSpPr/>
            <p:nvPr/>
          </p:nvGrpSpPr>
          <p:grpSpPr>
            <a:xfrm>
              <a:off x="4911455" y="2832428"/>
              <a:ext cx="121276" cy="39043"/>
              <a:chOff x="4911455" y="2832428"/>
              <a:chExt cx="121276" cy="39043"/>
            </a:xfrm>
            <a:solidFill>
              <a:srgbClr val="000000"/>
            </a:solidFill>
          </p:grpSpPr>
          <p:sp>
            <p:nvSpPr>
              <p:cNvPr id="3056" name="Freihandform: Form 3055">
                <a:extLst>
                  <a:ext uri="{FF2B5EF4-FFF2-40B4-BE49-F238E27FC236}">
                    <a16:creationId xmlns:a16="http://schemas.microsoft.com/office/drawing/2014/main" id="{081F1D58-592D-6339-6EB6-0FDB37C389EA}"/>
                  </a:ext>
                </a:extLst>
              </p:cNvPr>
              <p:cNvSpPr/>
              <p:nvPr/>
            </p:nvSpPr>
            <p:spPr>
              <a:xfrm>
                <a:off x="4911455" y="2832428"/>
                <a:ext cx="33390" cy="39043"/>
              </a:xfrm>
              <a:custGeom>
                <a:avLst/>
                <a:gdLst>
                  <a:gd name="connsiteX0" fmla="*/ 28397 w 33390"/>
                  <a:gd name="connsiteY0" fmla="*/ 25156 h 39043"/>
                  <a:gd name="connsiteX1" fmla="*/ 33391 w 33390"/>
                  <a:gd name="connsiteY1" fmla="*/ 26418 h 39043"/>
                  <a:gd name="connsiteX2" fmla="*/ 27738 w 33390"/>
                  <a:gd name="connsiteY2" fmla="*/ 35802 h 39043"/>
                  <a:gd name="connsiteX3" fmla="*/ 17751 w 33390"/>
                  <a:gd name="connsiteY3" fmla="*/ 39043 h 39043"/>
                  <a:gd name="connsiteX4" fmla="*/ 7820 w 33390"/>
                  <a:gd name="connsiteY4" fmla="*/ 36556 h 39043"/>
                  <a:gd name="connsiteX5" fmla="*/ 1998 w 33390"/>
                  <a:gd name="connsiteY5" fmla="*/ 29358 h 39043"/>
                  <a:gd name="connsiteX6" fmla="*/ 0 w 33390"/>
                  <a:gd name="connsiteY6" fmla="*/ 19239 h 39043"/>
                  <a:gd name="connsiteX7" fmla="*/ 2261 w 33390"/>
                  <a:gd name="connsiteY7" fmla="*/ 8951 h 39043"/>
                  <a:gd name="connsiteX8" fmla="*/ 8668 w 33390"/>
                  <a:gd name="connsiteY8" fmla="*/ 2280 h 39043"/>
                  <a:gd name="connsiteX9" fmla="*/ 17826 w 33390"/>
                  <a:gd name="connsiteY9" fmla="*/ 0 h 39043"/>
                  <a:gd name="connsiteX10" fmla="*/ 27361 w 33390"/>
                  <a:gd name="connsiteY10" fmla="*/ 2883 h 39043"/>
                  <a:gd name="connsiteX11" fmla="*/ 32750 w 33390"/>
                  <a:gd name="connsiteY11" fmla="*/ 11004 h 39043"/>
                  <a:gd name="connsiteX12" fmla="*/ 27832 w 33390"/>
                  <a:gd name="connsiteY12" fmla="*/ 12173 h 39043"/>
                  <a:gd name="connsiteX13" fmla="*/ 24025 w 33390"/>
                  <a:gd name="connsiteY13" fmla="*/ 6162 h 39043"/>
                  <a:gd name="connsiteX14" fmla="*/ 17732 w 33390"/>
                  <a:gd name="connsiteY14" fmla="*/ 4277 h 39043"/>
                  <a:gd name="connsiteX15" fmla="*/ 10458 w 33390"/>
                  <a:gd name="connsiteY15" fmla="*/ 6369 h 39043"/>
                  <a:gd name="connsiteX16" fmla="*/ 6350 w 33390"/>
                  <a:gd name="connsiteY16" fmla="*/ 11965 h 39043"/>
                  <a:gd name="connsiteX17" fmla="*/ 5163 w 33390"/>
                  <a:gd name="connsiteY17" fmla="*/ 19220 h 39043"/>
                  <a:gd name="connsiteX18" fmla="*/ 6577 w 33390"/>
                  <a:gd name="connsiteY18" fmla="*/ 27624 h 39043"/>
                  <a:gd name="connsiteX19" fmla="*/ 10948 w 33390"/>
                  <a:gd name="connsiteY19" fmla="*/ 32995 h 39043"/>
                  <a:gd name="connsiteX20" fmla="*/ 17355 w 33390"/>
                  <a:gd name="connsiteY20" fmla="*/ 34766 h 39043"/>
                  <a:gd name="connsiteX21" fmla="*/ 24459 w 33390"/>
                  <a:gd name="connsiteY21" fmla="*/ 32335 h 39043"/>
                  <a:gd name="connsiteX22" fmla="*/ 28397 w 33390"/>
                  <a:gd name="connsiteY22" fmla="*/ 25156 h 39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3390" h="39043">
                    <a:moveTo>
                      <a:pt x="28397" y="25156"/>
                    </a:moveTo>
                    <a:lnTo>
                      <a:pt x="33391" y="26418"/>
                    </a:lnTo>
                    <a:cubicBezTo>
                      <a:pt x="32335" y="30526"/>
                      <a:pt x="30451" y="33654"/>
                      <a:pt x="27738" y="35802"/>
                    </a:cubicBezTo>
                    <a:cubicBezTo>
                      <a:pt x="25024" y="37951"/>
                      <a:pt x="21689" y="39043"/>
                      <a:pt x="17751" y="39043"/>
                    </a:cubicBezTo>
                    <a:cubicBezTo>
                      <a:pt x="13812" y="39043"/>
                      <a:pt x="10364" y="38214"/>
                      <a:pt x="7820" y="36556"/>
                    </a:cubicBezTo>
                    <a:cubicBezTo>
                      <a:pt x="5276" y="34898"/>
                      <a:pt x="3335" y="32505"/>
                      <a:pt x="1998" y="29358"/>
                    </a:cubicBezTo>
                    <a:cubicBezTo>
                      <a:pt x="660" y="26211"/>
                      <a:pt x="0" y="22838"/>
                      <a:pt x="0" y="19239"/>
                    </a:cubicBezTo>
                    <a:cubicBezTo>
                      <a:pt x="0" y="15301"/>
                      <a:pt x="754" y="11871"/>
                      <a:pt x="2261" y="8951"/>
                    </a:cubicBezTo>
                    <a:cubicBezTo>
                      <a:pt x="3769" y="6030"/>
                      <a:pt x="5898" y="3806"/>
                      <a:pt x="8668" y="2280"/>
                    </a:cubicBezTo>
                    <a:cubicBezTo>
                      <a:pt x="11438" y="754"/>
                      <a:pt x="14491" y="0"/>
                      <a:pt x="17826" y="0"/>
                    </a:cubicBezTo>
                    <a:cubicBezTo>
                      <a:pt x="21595" y="0"/>
                      <a:pt x="24779" y="961"/>
                      <a:pt x="27361" y="2883"/>
                    </a:cubicBezTo>
                    <a:cubicBezTo>
                      <a:pt x="29942" y="4805"/>
                      <a:pt x="31732" y="7518"/>
                      <a:pt x="32750" y="11004"/>
                    </a:cubicBezTo>
                    <a:lnTo>
                      <a:pt x="27832" y="12173"/>
                    </a:lnTo>
                    <a:cubicBezTo>
                      <a:pt x="26965" y="9422"/>
                      <a:pt x="25684" y="7424"/>
                      <a:pt x="24025" y="6162"/>
                    </a:cubicBezTo>
                    <a:cubicBezTo>
                      <a:pt x="22367" y="4899"/>
                      <a:pt x="20257" y="4277"/>
                      <a:pt x="17732" y="4277"/>
                    </a:cubicBezTo>
                    <a:cubicBezTo>
                      <a:pt x="14830" y="4277"/>
                      <a:pt x="12399" y="4975"/>
                      <a:pt x="10458" y="6369"/>
                    </a:cubicBezTo>
                    <a:cubicBezTo>
                      <a:pt x="8517" y="7763"/>
                      <a:pt x="7142" y="9629"/>
                      <a:pt x="6350" y="11965"/>
                    </a:cubicBezTo>
                    <a:cubicBezTo>
                      <a:pt x="5559" y="14302"/>
                      <a:pt x="5163" y="16733"/>
                      <a:pt x="5163" y="19220"/>
                    </a:cubicBezTo>
                    <a:cubicBezTo>
                      <a:pt x="5163" y="22424"/>
                      <a:pt x="5634" y="25231"/>
                      <a:pt x="6577" y="27624"/>
                    </a:cubicBezTo>
                    <a:cubicBezTo>
                      <a:pt x="7519" y="30018"/>
                      <a:pt x="8969" y="31808"/>
                      <a:pt x="10948" y="32995"/>
                    </a:cubicBezTo>
                    <a:cubicBezTo>
                      <a:pt x="12927" y="34182"/>
                      <a:pt x="15056" y="34766"/>
                      <a:pt x="17355" y="34766"/>
                    </a:cubicBezTo>
                    <a:cubicBezTo>
                      <a:pt x="20163" y="34766"/>
                      <a:pt x="22518" y="33956"/>
                      <a:pt x="24459" y="32335"/>
                    </a:cubicBezTo>
                    <a:cubicBezTo>
                      <a:pt x="26400" y="30715"/>
                      <a:pt x="27719" y="28322"/>
                      <a:pt x="28397" y="251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57" name="Freihandform: Form 3056">
                <a:extLst>
                  <a:ext uri="{FF2B5EF4-FFF2-40B4-BE49-F238E27FC236}">
                    <a16:creationId xmlns:a16="http://schemas.microsoft.com/office/drawing/2014/main" id="{0CCDD13E-88C2-D2DC-7AB0-BBC1214C9C3B}"/>
                  </a:ext>
                </a:extLst>
              </p:cNvPr>
              <p:cNvSpPr/>
              <p:nvPr/>
            </p:nvSpPr>
            <p:spPr>
              <a:xfrm>
                <a:off x="4948841" y="2842830"/>
                <a:ext cx="25193" cy="28622"/>
              </a:xfrm>
              <a:custGeom>
                <a:avLst/>
                <a:gdLst>
                  <a:gd name="connsiteX0" fmla="*/ 19427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7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7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06"/>
                      <a:pt x="5163" y="1602"/>
                      <a:pt x="6934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80" y="27002"/>
                      <a:pt x="19559" y="25872"/>
                      <a:pt x="19427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58" name="Freihandform: Form 3057">
                <a:extLst>
                  <a:ext uri="{FF2B5EF4-FFF2-40B4-BE49-F238E27FC236}">
                    <a16:creationId xmlns:a16="http://schemas.microsoft.com/office/drawing/2014/main" id="{3449625D-3907-0AC1-0A6F-6E0FDE09B3F8}"/>
                  </a:ext>
                </a:extLst>
              </p:cNvPr>
              <p:cNvSpPr/>
              <p:nvPr/>
            </p:nvSpPr>
            <p:spPr>
              <a:xfrm>
                <a:off x="4979763" y="2842849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5 w 22235"/>
                  <a:gd name="connsiteY2" fmla="*/ 622 h 28001"/>
                  <a:gd name="connsiteX3" fmla="*/ 4165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5" y="622"/>
                    </a:lnTo>
                    <a:lnTo>
                      <a:pt x="4165" y="4504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218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2" y="7179"/>
                      <a:pt x="4636" y="9553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59" name="Freihandform: Form 3058">
                <a:extLst>
                  <a:ext uri="{FF2B5EF4-FFF2-40B4-BE49-F238E27FC236}">
                    <a16:creationId xmlns:a16="http://schemas.microsoft.com/office/drawing/2014/main" id="{6281E76E-A473-451A-CC10-23F6B91EB782}"/>
                  </a:ext>
                </a:extLst>
              </p:cNvPr>
              <p:cNvSpPr/>
              <p:nvPr/>
            </p:nvSpPr>
            <p:spPr>
              <a:xfrm>
                <a:off x="5007538" y="2842830"/>
                <a:ext cx="25193" cy="28622"/>
              </a:xfrm>
              <a:custGeom>
                <a:avLst/>
                <a:gdLst>
                  <a:gd name="connsiteX0" fmla="*/ 19427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7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7" y="24628"/>
                    </a:moveTo>
                    <a:cubicBezTo>
                      <a:pt x="17713" y="26079"/>
                      <a:pt x="16054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69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45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7" y="2506"/>
                      <a:pt x="5163" y="1602"/>
                      <a:pt x="6934" y="961"/>
                    </a:cubicBezTo>
                    <a:cubicBezTo>
                      <a:pt x="8706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44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33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80" y="27002"/>
                      <a:pt x="19559" y="25872"/>
                      <a:pt x="19427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76" name="Grafik 21">
              <a:extLst>
                <a:ext uri="{FF2B5EF4-FFF2-40B4-BE49-F238E27FC236}">
                  <a16:creationId xmlns:a16="http://schemas.microsoft.com/office/drawing/2014/main" id="{8C738ACF-FFD3-8C41-26C6-11C0AED26A59}"/>
                </a:ext>
              </a:extLst>
            </p:cNvPr>
            <p:cNvGrpSpPr/>
            <p:nvPr/>
          </p:nvGrpSpPr>
          <p:grpSpPr>
            <a:xfrm>
              <a:off x="4677515" y="2917186"/>
              <a:ext cx="74864" cy="39081"/>
              <a:chOff x="4677515" y="2917186"/>
              <a:chExt cx="74864" cy="39081"/>
            </a:xfrm>
            <a:solidFill>
              <a:srgbClr val="000000"/>
            </a:solidFill>
          </p:grpSpPr>
          <p:sp>
            <p:nvSpPr>
              <p:cNvPr id="3053" name="Freihandform: Form 3052">
                <a:extLst>
                  <a:ext uri="{FF2B5EF4-FFF2-40B4-BE49-F238E27FC236}">
                    <a16:creationId xmlns:a16="http://schemas.microsoft.com/office/drawing/2014/main" id="{210B3522-B4FD-49EB-70D4-EB7C685D2316}"/>
                  </a:ext>
                </a:extLst>
              </p:cNvPr>
              <p:cNvSpPr/>
              <p:nvPr/>
            </p:nvSpPr>
            <p:spPr>
              <a:xfrm>
                <a:off x="4677515" y="2917186"/>
                <a:ext cx="30092" cy="39062"/>
              </a:xfrm>
              <a:custGeom>
                <a:avLst/>
                <a:gdLst>
                  <a:gd name="connsiteX0" fmla="*/ 0 w 30092"/>
                  <a:gd name="connsiteY0" fmla="*/ 26306 h 39062"/>
                  <a:gd name="connsiteX1" fmla="*/ 4711 w 30092"/>
                  <a:gd name="connsiteY1" fmla="*/ 25891 h 39062"/>
                  <a:gd name="connsiteX2" fmla="*/ 6275 w 30092"/>
                  <a:gd name="connsiteY2" fmla="*/ 30545 h 39062"/>
                  <a:gd name="connsiteX3" fmla="*/ 10081 w 30092"/>
                  <a:gd name="connsiteY3" fmla="*/ 33485 h 39062"/>
                  <a:gd name="connsiteX4" fmla="*/ 15885 w 30092"/>
                  <a:gd name="connsiteY4" fmla="*/ 34596 h 39062"/>
                  <a:gd name="connsiteX5" fmla="*/ 20935 w 30092"/>
                  <a:gd name="connsiteY5" fmla="*/ 33749 h 39062"/>
                  <a:gd name="connsiteX6" fmla="*/ 24195 w 30092"/>
                  <a:gd name="connsiteY6" fmla="*/ 31412 h 39062"/>
                  <a:gd name="connsiteX7" fmla="*/ 25269 w 30092"/>
                  <a:gd name="connsiteY7" fmla="*/ 28171 h 39062"/>
                  <a:gd name="connsiteX8" fmla="*/ 24233 w 30092"/>
                  <a:gd name="connsiteY8" fmla="*/ 25062 h 39062"/>
                  <a:gd name="connsiteX9" fmla="*/ 20841 w 30092"/>
                  <a:gd name="connsiteY9" fmla="*/ 22838 h 39062"/>
                  <a:gd name="connsiteX10" fmla="*/ 14114 w 30092"/>
                  <a:gd name="connsiteY10" fmla="*/ 20992 h 39062"/>
                  <a:gd name="connsiteX11" fmla="*/ 6821 w 30092"/>
                  <a:gd name="connsiteY11" fmla="*/ 18636 h 39062"/>
                  <a:gd name="connsiteX12" fmla="*/ 2789 w 30092"/>
                  <a:gd name="connsiteY12" fmla="*/ 15112 h 39062"/>
                  <a:gd name="connsiteX13" fmla="*/ 1470 w 30092"/>
                  <a:gd name="connsiteY13" fmla="*/ 10402 h 39062"/>
                  <a:gd name="connsiteX14" fmla="*/ 3090 w 30092"/>
                  <a:gd name="connsiteY14" fmla="*/ 5050 h 39062"/>
                  <a:gd name="connsiteX15" fmla="*/ 7839 w 30092"/>
                  <a:gd name="connsiteY15" fmla="*/ 1281 h 39062"/>
                  <a:gd name="connsiteX16" fmla="*/ 14773 w 30092"/>
                  <a:gd name="connsiteY16" fmla="*/ 0 h 39062"/>
                  <a:gd name="connsiteX17" fmla="*/ 22179 w 30092"/>
                  <a:gd name="connsiteY17" fmla="*/ 1357 h 39062"/>
                  <a:gd name="connsiteX18" fmla="*/ 27116 w 30092"/>
                  <a:gd name="connsiteY18" fmla="*/ 5333 h 39062"/>
                  <a:gd name="connsiteX19" fmla="*/ 28962 w 30092"/>
                  <a:gd name="connsiteY19" fmla="*/ 11287 h 39062"/>
                  <a:gd name="connsiteX20" fmla="*/ 24176 w 30092"/>
                  <a:gd name="connsiteY20" fmla="*/ 11645 h 39062"/>
                  <a:gd name="connsiteX21" fmla="*/ 21557 w 30092"/>
                  <a:gd name="connsiteY21" fmla="*/ 6237 h 39062"/>
                  <a:gd name="connsiteX22" fmla="*/ 14980 w 30092"/>
                  <a:gd name="connsiteY22" fmla="*/ 4409 h 39062"/>
                  <a:gd name="connsiteX23" fmla="*/ 8366 w 30092"/>
                  <a:gd name="connsiteY23" fmla="*/ 6068 h 39062"/>
                  <a:gd name="connsiteX24" fmla="*/ 6294 w 30092"/>
                  <a:gd name="connsiteY24" fmla="*/ 10081 h 39062"/>
                  <a:gd name="connsiteX25" fmla="*/ 7763 w 30092"/>
                  <a:gd name="connsiteY25" fmla="*/ 13435 h 39062"/>
                  <a:gd name="connsiteX26" fmla="*/ 15301 w 30092"/>
                  <a:gd name="connsiteY26" fmla="*/ 16130 h 39062"/>
                  <a:gd name="connsiteX27" fmla="*/ 23667 w 30092"/>
                  <a:gd name="connsiteY27" fmla="*/ 18542 h 39062"/>
                  <a:gd name="connsiteX28" fmla="*/ 28529 w 30092"/>
                  <a:gd name="connsiteY28" fmla="*/ 22386 h 39062"/>
                  <a:gd name="connsiteX29" fmla="*/ 30093 w 30092"/>
                  <a:gd name="connsiteY29" fmla="*/ 27756 h 39062"/>
                  <a:gd name="connsiteX30" fmla="*/ 28359 w 30092"/>
                  <a:gd name="connsiteY30" fmla="*/ 33428 h 39062"/>
                  <a:gd name="connsiteX31" fmla="*/ 23403 w 30092"/>
                  <a:gd name="connsiteY31" fmla="*/ 37574 h 39062"/>
                  <a:gd name="connsiteX32" fmla="*/ 16130 w 30092"/>
                  <a:gd name="connsiteY32" fmla="*/ 39062 h 39062"/>
                  <a:gd name="connsiteX33" fmla="*/ 7537 w 30092"/>
                  <a:gd name="connsiteY33" fmla="*/ 37574 h 39062"/>
                  <a:gd name="connsiteX34" fmla="*/ 2110 w 30092"/>
                  <a:gd name="connsiteY34" fmla="*/ 33070 h 39062"/>
                  <a:gd name="connsiteX35" fmla="*/ 38 w 30092"/>
                  <a:gd name="connsiteY35" fmla="*/ 26287 h 39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0092" h="39062">
                    <a:moveTo>
                      <a:pt x="0" y="26306"/>
                    </a:moveTo>
                    <a:lnTo>
                      <a:pt x="4711" y="25891"/>
                    </a:lnTo>
                    <a:cubicBezTo>
                      <a:pt x="4937" y="27775"/>
                      <a:pt x="5446" y="29339"/>
                      <a:pt x="6275" y="30545"/>
                    </a:cubicBezTo>
                    <a:cubicBezTo>
                      <a:pt x="7085" y="31751"/>
                      <a:pt x="8347" y="32731"/>
                      <a:pt x="10081" y="33485"/>
                    </a:cubicBezTo>
                    <a:cubicBezTo>
                      <a:pt x="11796" y="34238"/>
                      <a:pt x="13737" y="34596"/>
                      <a:pt x="15885" y="34596"/>
                    </a:cubicBezTo>
                    <a:cubicBezTo>
                      <a:pt x="17788" y="34596"/>
                      <a:pt x="19465" y="34314"/>
                      <a:pt x="20935" y="33749"/>
                    </a:cubicBezTo>
                    <a:cubicBezTo>
                      <a:pt x="22386" y="33183"/>
                      <a:pt x="23479" y="32411"/>
                      <a:pt x="24195" y="31412"/>
                    </a:cubicBezTo>
                    <a:cubicBezTo>
                      <a:pt x="24911" y="30432"/>
                      <a:pt x="25269" y="29339"/>
                      <a:pt x="25269" y="28171"/>
                    </a:cubicBezTo>
                    <a:cubicBezTo>
                      <a:pt x="25269" y="27003"/>
                      <a:pt x="24930" y="25947"/>
                      <a:pt x="24233" y="25062"/>
                    </a:cubicBezTo>
                    <a:cubicBezTo>
                      <a:pt x="23535" y="24176"/>
                      <a:pt x="22405" y="23441"/>
                      <a:pt x="20841" y="22838"/>
                    </a:cubicBezTo>
                    <a:cubicBezTo>
                      <a:pt x="19823" y="22443"/>
                      <a:pt x="17581" y="21821"/>
                      <a:pt x="14114" y="20992"/>
                    </a:cubicBezTo>
                    <a:cubicBezTo>
                      <a:pt x="10646" y="20163"/>
                      <a:pt x="8216" y="19371"/>
                      <a:pt x="6821" y="18636"/>
                    </a:cubicBezTo>
                    <a:cubicBezTo>
                      <a:pt x="5012" y="17694"/>
                      <a:pt x="3674" y="16526"/>
                      <a:pt x="2789" y="15112"/>
                    </a:cubicBezTo>
                    <a:cubicBezTo>
                      <a:pt x="1903" y="13718"/>
                      <a:pt x="1470" y="12154"/>
                      <a:pt x="1470" y="10402"/>
                    </a:cubicBezTo>
                    <a:cubicBezTo>
                      <a:pt x="1470" y="8498"/>
                      <a:pt x="2016" y="6708"/>
                      <a:pt x="3090" y="5050"/>
                    </a:cubicBezTo>
                    <a:cubicBezTo>
                      <a:pt x="4164" y="3392"/>
                      <a:pt x="5747" y="2129"/>
                      <a:pt x="7839" y="1281"/>
                    </a:cubicBezTo>
                    <a:cubicBezTo>
                      <a:pt x="9912" y="414"/>
                      <a:pt x="12229" y="0"/>
                      <a:pt x="14773" y="0"/>
                    </a:cubicBezTo>
                    <a:cubicBezTo>
                      <a:pt x="17581" y="0"/>
                      <a:pt x="20049" y="452"/>
                      <a:pt x="22179" y="1357"/>
                    </a:cubicBezTo>
                    <a:cubicBezTo>
                      <a:pt x="24308" y="2261"/>
                      <a:pt x="25966" y="3580"/>
                      <a:pt x="27116" y="5333"/>
                    </a:cubicBezTo>
                    <a:cubicBezTo>
                      <a:pt x="28265" y="7085"/>
                      <a:pt x="28887" y="9064"/>
                      <a:pt x="28962" y="11287"/>
                    </a:cubicBezTo>
                    <a:lnTo>
                      <a:pt x="24176" y="11645"/>
                    </a:lnTo>
                    <a:cubicBezTo>
                      <a:pt x="23912" y="9252"/>
                      <a:pt x="23045" y="7462"/>
                      <a:pt x="21557" y="6237"/>
                    </a:cubicBezTo>
                    <a:cubicBezTo>
                      <a:pt x="20068" y="5012"/>
                      <a:pt x="17882" y="4409"/>
                      <a:pt x="14980" y="4409"/>
                    </a:cubicBezTo>
                    <a:cubicBezTo>
                      <a:pt x="12078" y="4409"/>
                      <a:pt x="9761" y="4956"/>
                      <a:pt x="8366" y="6068"/>
                    </a:cubicBezTo>
                    <a:cubicBezTo>
                      <a:pt x="6991" y="7179"/>
                      <a:pt x="6294" y="8517"/>
                      <a:pt x="6294" y="10081"/>
                    </a:cubicBezTo>
                    <a:cubicBezTo>
                      <a:pt x="6294" y="11438"/>
                      <a:pt x="6784" y="12550"/>
                      <a:pt x="7763" y="13435"/>
                    </a:cubicBezTo>
                    <a:cubicBezTo>
                      <a:pt x="8724" y="14302"/>
                      <a:pt x="11231" y="15207"/>
                      <a:pt x="15301" y="16130"/>
                    </a:cubicBezTo>
                    <a:cubicBezTo>
                      <a:pt x="19371" y="17053"/>
                      <a:pt x="22141" y="17845"/>
                      <a:pt x="23667" y="18542"/>
                    </a:cubicBezTo>
                    <a:cubicBezTo>
                      <a:pt x="25872" y="19559"/>
                      <a:pt x="27492" y="20841"/>
                      <a:pt x="28529" y="22386"/>
                    </a:cubicBezTo>
                    <a:cubicBezTo>
                      <a:pt x="29584" y="23950"/>
                      <a:pt x="30093" y="25740"/>
                      <a:pt x="30093" y="27756"/>
                    </a:cubicBezTo>
                    <a:cubicBezTo>
                      <a:pt x="30093" y="29773"/>
                      <a:pt x="29509" y="31657"/>
                      <a:pt x="28359" y="33428"/>
                    </a:cubicBezTo>
                    <a:cubicBezTo>
                      <a:pt x="27210" y="35200"/>
                      <a:pt x="25551" y="36594"/>
                      <a:pt x="23403" y="37574"/>
                    </a:cubicBezTo>
                    <a:cubicBezTo>
                      <a:pt x="21255" y="38554"/>
                      <a:pt x="18825" y="39062"/>
                      <a:pt x="16130" y="39062"/>
                    </a:cubicBezTo>
                    <a:cubicBezTo>
                      <a:pt x="12719" y="39062"/>
                      <a:pt x="9855" y="38572"/>
                      <a:pt x="7537" y="37574"/>
                    </a:cubicBezTo>
                    <a:cubicBezTo>
                      <a:pt x="5220" y="36575"/>
                      <a:pt x="3411" y="35086"/>
                      <a:pt x="2110" y="33070"/>
                    </a:cubicBezTo>
                    <a:cubicBezTo>
                      <a:pt x="810" y="31054"/>
                      <a:pt x="113" y="28812"/>
                      <a:pt x="38" y="262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54" name="Freihandform: Form 3053">
                <a:extLst>
                  <a:ext uri="{FF2B5EF4-FFF2-40B4-BE49-F238E27FC236}">
                    <a16:creationId xmlns:a16="http://schemas.microsoft.com/office/drawing/2014/main" id="{74247E0E-D83C-A276-31CC-94375B1C78C1}"/>
                  </a:ext>
                </a:extLst>
              </p:cNvPr>
              <p:cNvSpPr/>
              <p:nvPr/>
            </p:nvSpPr>
            <p:spPr>
              <a:xfrm>
                <a:off x="4711263" y="2918712"/>
                <a:ext cx="13341" cy="37272"/>
              </a:xfrm>
              <a:custGeom>
                <a:avLst/>
                <a:gdLst>
                  <a:gd name="connsiteX0" fmla="*/ 12663 w 13341"/>
                  <a:gd name="connsiteY0" fmla="*/ 32769 h 37272"/>
                  <a:gd name="connsiteX1" fmla="*/ 13341 w 13341"/>
                  <a:gd name="connsiteY1" fmla="*/ 36858 h 37272"/>
                  <a:gd name="connsiteX2" fmla="*/ 9836 w 13341"/>
                  <a:gd name="connsiteY2" fmla="*/ 37272 h 37272"/>
                  <a:gd name="connsiteX3" fmla="*/ 5917 w 13341"/>
                  <a:gd name="connsiteY3" fmla="*/ 36481 h 37272"/>
                  <a:gd name="connsiteX4" fmla="*/ 3957 w 13341"/>
                  <a:gd name="connsiteY4" fmla="*/ 34389 h 37272"/>
                  <a:gd name="connsiteX5" fmla="*/ 3392 w 13341"/>
                  <a:gd name="connsiteY5" fmla="*/ 28906 h 37272"/>
                  <a:gd name="connsiteX6" fmla="*/ 3392 w 13341"/>
                  <a:gd name="connsiteY6" fmla="*/ 13171 h 37272"/>
                  <a:gd name="connsiteX7" fmla="*/ 0 w 13341"/>
                  <a:gd name="connsiteY7" fmla="*/ 13171 h 37272"/>
                  <a:gd name="connsiteX8" fmla="*/ 0 w 13341"/>
                  <a:gd name="connsiteY8" fmla="*/ 9572 h 37272"/>
                  <a:gd name="connsiteX9" fmla="*/ 3392 w 13341"/>
                  <a:gd name="connsiteY9" fmla="*/ 9572 h 37272"/>
                  <a:gd name="connsiteX10" fmla="*/ 3392 w 13341"/>
                  <a:gd name="connsiteY10" fmla="*/ 2789 h 37272"/>
                  <a:gd name="connsiteX11" fmla="*/ 8008 w 13341"/>
                  <a:gd name="connsiteY11" fmla="*/ 0 h 37272"/>
                  <a:gd name="connsiteX12" fmla="*/ 8008 w 13341"/>
                  <a:gd name="connsiteY12" fmla="*/ 9553 h 37272"/>
                  <a:gd name="connsiteX13" fmla="*/ 12663 w 13341"/>
                  <a:gd name="connsiteY13" fmla="*/ 9553 h 37272"/>
                  <a:gd name="connsiteX14" fmla="*/ 12663 w 13341"/>
                  <a:gd name="connsiteY14" fmla="*/ 13153 h 37272"/>
                  <a:gd name="connsiteX15" fmla="*/ 8008 w 13341"/>
                  <a:gd name="connsiteY15" fmla="*/ 13153 h 37272"/>
                  <a:gd name="connsiteX16" fmla="*/ 8008 w 13341"/>
                  <a:gd name="connsiteY16" fmla="*/ 29151 h 37272"/>
                  <a:gd name="connsiteX17" fmla="*/ 8253 w 13341"/>
                  <a:gd name="connsiteY17" fmla="*/ 31694 h 37272"/>
                  <a:gd name="connsiteX18" fmla="*/ 9045 w 13341"/>
                  <a:gd name="connsiteY18" fmla="*/ 32599 h 37272"/>
                  <a:gd name="connsiteX19" fmla="*/ 10628 w 13341"/>
                  <a:gd name="connsiteY19" fmla="*/ 32938 h 37272"/>
                  <a:gd name="connsiteX20" fmla="*/ 12663 w 13341"/>
                  <a:gd name="connsiteY20" fmla="*/ 32750 h 37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3341" h="37272">
                    <a:moveTo>
                      <a:pt x="12663" y="32769"/>
                    </a:moveTo>
                    <a:lnTo>
                      <a:pt x="13341" y="36858"/>
                    </a:lnTo>
                    <a:cubicBezTo>
                      <a:pt x="12041" y="37140"/>
                      <a:pt x="10873" y="37272"/>
                      <a:pt x="9836" y="37272"/>
                    </a:cubicBezTo>
                    <a:cubicBezTo>
                      <a:pt x="8159" y="37272"/>
                      <a:pt x="6840" y="37008"/>
                      <a:pt x="5917" y="36481"/>
                    </a:cubicBezTo>
                    <a:cubicBezTo>
                      <a:pt x="4994" y="35953"/>
                      <a:pt x="4334" y="35256"/>
                      <a:pt x="3957" y="34389"/>
                    </a:cubicBezTo>
                    <a:cubicBezTo>
                      <a:pt x="3580" y="33522"/>
                      <a:pt x="3392" y="31694"/>
                      <a:pt x="3392" y="28906"/>
                    </a:cubicBezTo>
                    <a:lnTo>
                      <a:pt x="3392" y="13171"/>
                    </a:lnTo>
                    <a:lnTo>
                      <a:pt x="0" y="13171"/>
                    </a:lnTo>
                    <a:lnTo>
                      <a:pt x="0" y="9572"/>
                    </a:lnTo>
                    <a:lnTo>
                      <a:pt x="3392" y="9572"/>
                    </a:lnTo>
                    <a:lnTo>
                      <a:pt x="3392" y="2789"/>
                    </a:lnTo>
                    <a:lnTo>
                      <a:pt x="8008" y="0"/>
                    </a:lnTo>
                    <a:lnTo>
                      <a:pt x="8008" y="9553"/>
                    </a:lnTo>
                    <a:lnTo>
                      <a:pt x="12663" y="9553"/>
                    </a:lnTo>
                    <a:lnTo>
                      <a:pt x="12663" y="13153"/>
                    </a:lnTo>
                    <a:lnTo>
                      <a:pt x="8008" y="13153"/>
                    </a:lnTo>
                    <a:lnTo>
                      <a:pt x="8008" y="29151"/>
                    </a:lnTo>
                    <a:cubicBezTo>
                      <a:pt x="8008" y="30470"/>
                      <a:pt x="8084" y="31318"/>
                      <a:pt x="8253" y="31694"/>
                    </a:cubicBezTo>
                    <a:cubicBezTo>
                      <a:pt x="8423" y="32071"/>
                      <a:pt x="8687" y="32373"/>
                      <a:pt x="9045" y="32599"/>
                    </a:cubicBezTo>
                    <a:cubicBezTo>
                      <a:pt x="9422" y="32825"/>
                      <a:pt x="9949" y="32938"/>
                      <a:pt x="10628" y="32938"/>
                    </a:cubicBezTo>
                    <a:cubicBezTo>
                      <a:pt x="11136" y="32938"/>
                      <a:pt x="11815" y="32882"/>
                      <a:pt x="12663" y="3275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55" name="Freihandform: Form 3054">
                <a:extLst>
                  <a:ext uri="{FF2B5EF4-FFF2-40B4-BE49-F238E27FC236}">
                    <a16:creationId xmlns:a16="http://schemas.microsoft.com/office/drawing/2014/main" id="{28F3B57A-F87E-99B9-ADA4-5F6DCEC12C24}"/>
                  </a:ext>
                </a:extLst>
              </p:cNvPr>
              <p:cNvSpPr/>
              <p:nvPr/>
            </p:nvSpPr>
            <p:spPr>
              <a:xfrm>
                <a:off x="4726734" y="2927663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6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1"/>
                      <a:pt x="20897" y="14151"/>
                    </a:cubicBezTo>
                    <a:cubicBezTo>
                      <a:pt x="20897" y="10759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77" name="Grafik 21">
              <a:extLst>
                <a:ext uri="{FF2B5EF4-FFF2-40B4-BE49-F238E27FC236}">
                  <a16:creationId xmlns:a16="http://schemas.microsoft.com/office/drawing/2014/main" id="{9ABE94C9-AA79-A9C6-D86A-A9460CA8F46B}"/>
                </a:ext>
              </a:extLst>
            </p:cNvPr>
            <p:cNvGrpSpPr/>
            <p:nvPr/>
          </p:nvGrpSpPr>
          <p:grpSpPr>
            <a:xfrm>
              <a:off x="4757656" y="2917864"/>
              <a:ext cx="233714" cy="48898"/>
              <a:chOff x="4757656" y="2917864"/>
              <a:chExt cx="233714" cy="48898"/>
            </a:xfrm>
            <a:solidFill>
              <a:srgbClr val="000000"/>
            </a:solidFill>
          </p:grpSpPr>
          <p:sp>
            <p:nvSpPr>
              <p:cNvPr id="3045" name="Freihandform: Form 3044">
                <a:extLst>
                  <a:ext uri="{FF2B5EF4-FFF2-40B4-BE49-F238E27FC236}">
                    <a16:creationId xmlns:a16="http://schemas.microsoft.com/office/drawing/2014/main" id="{67FD0BA9-773F-CCEC-F59F-2B88F7733D95}"/>
                  </a:ext>
                </a:extLst>
              </p:cNvPr>
              <p:cNvSpPr/>
              <p:nvPr/>
            </p:nvSpPr>
            <p:spPr>
              <a:xfrm>
                <a:off x="4757656" y="2950350"/>
                <a:ext cx="5276" cy="5276"/>
              </a:xfrm>
              <a:custGeom>
                <a:avLst/>
                <a:gdLst>
                  <a:gd name="connsiteX0" fmla="*/ 0 w 5276"/>
                  <a:gd name="connsiteY0" fmla="*/ 5276 h 5276"/>
                  <a:gd name="connsiteX1" fmla="*/ 0 w 5276"/>
                  <a:gd name="connsiteY1" fmla="*/ 0 h 5276"/>
                  <a:gd name="connsiteX2" fmla="*/ 5276 w 5276"/>
                  <a:gd name="connsiteY2" fmla="*/ 0 h 5276"/>
                  <a:gd name="connsiteX3" fmla="*/ 5276 w 5276"/>
                  <a:gd name="connsiteY3" fmla="*/ 5276 h 5276"/>
                  <a:gd name="connsiteX4" fmla="*/ 0 w 5276"/>
                  <a:gd name="connsiteY4" fmla="*/ 5276 h 5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76" h="5276">
                    <a:moveTo>
                      <a:pt x="0" y="5276"/>
                    </a:moveTo>
                    <a:lnTo>
                      <a:pt x="0" y="0"/>
                    </a:lnTo>
                    <a:lnTo>
                      <a:pt x="5276" y="0"/>
                    </a:lnTo>
                    <a:lnTo>
                      <a:pt x="5276" y="5276"/>
                    </a:lnTo>
                    <a:lnTo>
                      <a:pt x="0" y="52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46" name="Freihandform: Form 3045">
                <a:extLst>
                  <a:ext uri="{FF2B5EF4-FFF2-40B4-BE49-F238E27FC236}">
                    <a16:creationId xmlns:a16="http://schemas.microsoft.com/office/drawing/2014/main" id="{D2C90FFC-6B81-DE1C-C901-8ABFCD8C1D71}"/>
                  </a:ext>
                </a:extLst>
              </p:cNvPr>
              <p:cNvSpPr/>
              <p:nvPr/>
            </p:nvSpPr>
            <p:spPr>
              <a:xfrm>
                <a:off x="4786260" y="2917864"/>
                <a:ext cx="31223" cy="37762"/>
              </a:xfrm>
              <a:custGeom>
                <a:avLst/>
                <a:gdLst>
                  <a:gd name="connsiteX0" fmla="*/ 0 w 31223"/>
                  <a:gd name="connsiteY0" fmla="*/ 37762 h 37762"/>
                  <a:gd name="connsiteX1" fmla="*/ 0 w 31223"/>
                  <a:gd name="connsiteY1" fmla="*/ 0 h 37762"/>
                  <a:gd name="connsiteX2" fmla="*/ 13002 w 31223"/>
                  <a:gd name="connsiteY2" fmla="*/ 0 h 37762"/>
                  <a:gd name="connsiteX3" fmla="*/ 19729 w 31223"/>
                  <a:gd name="connsiteY3" fmla="*/ 547 h 37762"/>
                  <a:gd name="connsiteX4" fmla="*/ 25269 w 31223"/>
                  <a:gd name="connsiteY4" fmla="*/ 3260 h 37762"/>
                  <a:gd name="connsiteX5" fmla="*/ 29735 w 31223"/>
                  <a:gd name="connsiteY5" fmla="*/ 9704 h 37762"/>
                  <a:gd name="connsiteX6" fmla="*/ 31223 w 31223"/>
                  <a:gd name="connsiteY6" fmla="*/ 18674 h 37762"/>
                  <a:gd name="connsiteX7" fmla="*/ 30225 w 31223"/>
                  <a:gd name="connsiteY7" fmla="*/ 26306 h 37762"/>
                  <a:gd name="connsiteX8" fmla="*/ 27643 w 31223"/>
                  <a:gd name="connsiteY8" fmla="*/ 31808 h 37762"/>
                  <a:gd name="connsiteX9" fmla="*/ 24195 w 31223"/>
                  <a:gd name="connsiteY9" fmla="*/ 35237 h 37762"/>
                  <a:gd name="connsiteX10" fmla="*/ 19691 w 31223"/>
                  <a:gd name="connsiteY10" fmla="*/ 37122 h 37762"/>
                  <a:gd name="connsiteX11" fmla="*/ 13624 w 31223"/>
                  <a:gd name="connsiteY11" fmla="*/ 37762 h 37762"/>
                  <a:gd name="connsiteX12" fmla="*/ 0 w 31223"/>
                  <a:gd name="connsiteY12" fmla="*/ 37762 h 37762"/>
                  <a:gd name="connsiteX13" fmla="*/ 4994 w 31223"/>
                  <a:gd name="connsiteY13" fmla="*/ 33296 h 37762"/>
                  <a:gd name="connsiteX14" fmla="*/ 13059 w 31223"/>
                  <a:gd name="connsiteY14" fmla="*/ 33296 h 37762"/>
                  <a:gd name="connsiteX15" fmla="*/ 18919 w 31223"/>
                  <a:gd name="connsiteY15" fmla="*/ 32599 h 37762"/>
                  <a:gd name="connsiteX16" fmla="*/ 22310 w 31223"/>
                  <a:gd name="connsiteY16" fmla="*/ 30639 h 37762"/>
                  <a:gd name="connsiteX17" fmla="*/ 25081 w 31223"/>
                  <a:gd name="connsiteY17" fmla="*/ 25853 h 37762"/>
                  <a:gd name="connsiteX18" fmla="*/ 26079 w 31223"/>
                  <a:gd name="connsiteY18" fmla="*/ 18580 h 37762"/>
                  <a:gd name="connsiteX19" fmla="*/ 24138 w 31223"/>
                  <a:gd name="connsiteY19" fmla="*/ 9478 h 37762"/>
                  <a:gd name="connsiteX20" fmla="*/ 19409 w 31223"/>
                  <a:gd name="connsiteY20" fmla="*/ 5220 h 37762"/>
                  <a:gd name="connsiteX21" fmla="*/ 12945 w 31223"/>
                  <a:gd name="connsiteY21" fmla="*/ 4447 h 37762"/>
                  <a:gd name="connsiteX22" fmla="*/ 5012 w 31223"/>
                  <a:gd name="connsiteY22" fmla="*/ 4447 h 37762"/>
                  <a:gd name="connsiteX23" fmla="*/ 5012 w 31223"/>
                  <a:gd name="connsiteY23" fmla="*/ 33296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1223" h="37762">
                    <a:moveTo>
                      <a:pt x="0" y="37762"/>
                    </a:moveTo>
                    <a:lnTo>
                      <a:pt x="0" y="0"/>
                    </a:lnTo>
                    <a:lnTo>
                      <a:pt x="13002" y="0"/>
                    </a:lnTo>
                    <a:cubicBezTo>
                      <a:pt x="15941" y="0"/>
                      <a:pt x="18184" y="189"/>
                      <a:pt x="19729" y="547"/>
                    </a:cubicBezTo>
                    <a:cubicBezTo>
                      <a:pt x="21896" y="1036"/>
                      <a:pt x="23743" y="1941"/>
                      <a:pt x="25269" y="3260"/>
                    </a:cubicBezTo>
                    <a:cubicBezTo>
                      <a:pt x="27266" y="4937"/>
                      <a:pt x="28755" y="7104"/>
                      <a:pt x="29735" y="9704"/>
                    </a:cubicBezTo>
                    <a:cubicBezTo>
                      <a:pt x="30715" y="12324"/>
                      <a:pt x="31223" y="15320"/>
                      <a:pt x="31223" y="18674"/>
                    </a:cubicBezTo>
                    <a:cubicBezTo>
                      <a:pt x="31223" y="21538"/>
                      <a:pt x="30884" y="24082"/>
                      <a:pt x="30225" y="26306"/>
                    </a:cubicBezTo>
                    <a:cubicBezTo>
                      <a:pt x="29565" y="28529"/>
                      <a:pt x="28698" y="30357"/>
                      <a:pt x="27643" y="31808"/>
                    </a:cubicBezTo>
                    <a:cubicBezTo>
                      <a:pt x="26588" y="33259"/>
                      <a:pt x="25439" y="34408"/>
                      <a:pt x="24195" y="35237"/>
                    </a:cubicBezTo>
                    <a:cubicBezTo>
                      <a:pt x="22951" y="36066"/>
                      <a:pt x="21444" y="36707"/>
                      <a:pt x="19691" y="37122"/>
                    </a:cubicBezTo>
                    <a:cubicBezTo>
                      <a:pt x="17939" y="37555"/>
                      <a:pt x="15904" y="37762"/>
                      <a:pt x="13624" y="37762"/>
                    </a:cubicBezTo>
                    <a:lnTo>
                      <a:pt x="0" y="37762"/>
                    </a:lnTo>
                    <a:close/>
                    <a:moveTo>
                      <a:pt x="4994" y="33296"/>
                    </a:moveTo>
                    <a:lnTo>
                      <a:pt x="13059" y="33296"/>
                    </a:lnTo>
                    <a:cubicBezTo>
                      <a:pt x="15546" y="33296"/>
                      <a:pt x="17506" y="33070"/>
                      <a:pt x="18919" y="32599"/>
                    </a:cubicBezTo>
                    <a:cubicBezTo>
                      <a:pt x="20332" y="32128"/>
                      <a:pt x="21463" y="31487"/>
                      <a:pt x="22310" y="30639"/>
                    </a:cubicBezTo>
                    <a:cubicBezTo>
                      <a:pt x="23498" y="29452"/>
                      <a:pt x="24421" y="27869"/>
                      <a:pt x="25081" y="25853"/>
                    </a:cubicBezTo>
                    <a:cubicBezTo>
                      <a:pt x="25740" y="23856"/>
                      <a:pt x="26079" y="21425"/>
                      <a:pt x="26079" y="18580"/>
                    </a:cubicBezTo>
                    <a:cubicBezTo>
                      <a:pt x="26079" y="14622"/>
                      <a:pt x="25439" y="11589"/>
                      <a:pt x="24138" y="9478"/>
                    </a:cubicBezTo>
                    <a:cubicBezTo>
                      <a:pt x="22838" y="7349"/>
                      <a:pt x="21274" y="5936"/>
                      <a:pt x="19409" y="5220"/>
                    </a:cubicBezTo>
                    <a:cubicBezTo>
                      <a:pt x="18071" y="4711"/>
                      <a:pt x="15904" y="4447"/>
                      <a:pt x="12945" y="4447"/>
                    </a:cubicBezTo>
                    <a:lnTo>
                      <a:pt x="5012" y="4447"/>
                    </a:lnTo>
                    <a:lnTo>
                      <a:pt x="5012" y="3329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47" name="Freihandform: Form 3046">
                <a:extLst>
                  <a:ext uri="{FF2B5EF4-FFF2-40B4-BE49-F238E27FC236}">
                    <a16:creationId xmlns:a16="http://schemas.microsoft.com/office/drawing/2014/main" id="{169F09BD-36AE-77ED-B77B-65C5D1561C7C}"/>
                  </a:ext>
                </a:extLst>
              </p:cNvPr>
              <p:cNvSpPr/>
              <p:nvPr/>
            </p:nvSpPr>
            <p:spPr>
              <a:xfrm>
                <a:off x="4822025" y="2927663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6"/>
                      <a:pt x="19446" y="26927"/>
                    </a:cubicBezTo>
                    <a:cubicBezTo>
                      <a:pt x="17430" y="28039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1"/>
                      <a:pt x="20897" y="14151"/>
                    </a:cubicBezTo>
                    <a:cubicBezTo>
                      <a:pt x="20897" y="10759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48" name="Freihandform: Form 3047">
                <a:extLst>
                  <a:ext uri="{FF2B5EF4-FFF2-40B4-BE49-F238E27FC236}">
                    <a16:creationId xmlns:a16="http://schemas.microsoft.com/office/drawing/2014/main" id="{D96C5B5C-C091-029B-0672-54D5B302758D}"/>
                  </a:ext>
                </a:extLst>
              </p:cNvPr>
              <p:cNvSpPr/>
              <p:nvPr/>
            </p:nvSpPr>
            <p:spPr>
              <a:xfrm>
                <a:off x="4853098" y="2927644"/>
                <a:ext cx="37083" cy="27982"/>
              </a:xfrm>
              <a:custGeom>
                <a:avLst/>
                <a:gdLst>
                  <a:gd name="connsiteX0" fmla="*/ 19 w 37083"/>
                  <a:gd name="connsiteY0" fmla="*/ 27982 h 27982"/>
                  <a:gd name="connsiteX1" fmla="*/ 19 w 37083"/>
                  <a:gd name="connsiteY1" fmla="*/ 622 h 27982"/>
                  <a:gd name="connsiteX2" fmla="*/ 4165 w 37083"/>
                  <a:gd name="connsiteY2" fmla="*/ 622 h 27982"/>
                  <a:gd name="connsiteX3" fmla="*/ 4165 w 37083"/>
                  <a:gd name="connsiteY3" fmla="*/ 4466 h 27982"/>
                  <a:gd name="connsiteX4" fmla="*/ 7594 w 37083"/>
                  <a:gd name="connsiteY4" fmla="*/ 1225 h 27982"/>
                  <a:gd name="connsiteX5" fmla="*/ 12455 w 37083"/>
                  <a:gd name="connsiteY5" fmla="*/ 0 h 27982"/>
                  <a:gd name="connsiteX6" fmla="*/ 17449 w 37083"/>
                  <a:gd name="connsiteY6" fmla="*/ 1262 h 27982"/>
                  <a:gd name="connsiteX7" fmla="*/ 20200 w 37083"/>
                  <a:gd name="connsiteY7" fmla="*/ 4786 h 27982"/>
                  <a:gd name="connsiteX8" fmla="*/ 28642 w 37083"/>
                  <a:gd name="connsiteY8" fmla="*/ 0 h 27982"/>
                  <a:gd name="connsiteX9" fmla="*/ 34898 w 37083"/>
                  <a:gd name="connsiteY9" fmla="*/ 2261 h 27982"/>
                  <a:gd name="connsiteX10" fmla="*/ 37084 w 37083"/>
                  <a:gd name="connsiteY10" fmla="*/ 9196 h 27982"/>
                  <a:gd name="connsiteX11" fmla="*/ 37084 w 37083"/>
                  <a:gd name="connsiteY11" fmla="*/ 27982 h 27982"/>
                  <a:gd name="connsiteX12" fmla="*/ 32467 w 37083"/>
                  <a:gd name="connsiteY12" fmla="*/ 27982 h 27982"/>
                  <a:gd name="connsiteX13" fmla="*/ 32467 w 37083"/>
                  <a:gd name="connsiteY13" fmla="*/ 10741 h 27982"/>
                  <a:gd name="connsiteX14" fmla="*/ 32015 w 37083"/>
                  <a:gd name="connsiteY14" fmla="*/ 6727 h 27982"/>
                  <a:gd name="connsiteX15" fmla="*/ 30376 w 37083"/>
                  <a:gd name="connsiteY15" fmla="*/ 4749 h 27982"/>
                  <a:gd name="connsiteX16" fmla="*/ 27587 w 37083"/>
                  <a:gd name="connsiteY16" fmla="*/ 3995 h 27982"/>
                  <a:gd name="connsiteX17" fmla="*/ 22800 w 37083"/>
                  <a:gd name="connsiteY17" fmla="*/ 5917 h 27982"/>
                  <a:gd name="connsiteX18" fmla="*/ 20897 w 37083"/>
                  <a:gd name="connsiteY18" fmla="*/ 12060 h 27982"/>
                  <a:gd name="connsiteX19" fmla="*/ 20897 w 37083"/>
                  <a:gd name="connsiteY19" fmla="*/ 27963 h 27982"/>
                  <a:gd name="connsiteX20" fmla="*/ 16262 w 37083"/>
                  <a:gd name="connsiteY20" fmla="*/ 27963 h 27982"/>
                  <a:gd name="connsiteX21" fmla="*/ 16262 w 37083"/>
                  <a:gd name="connsiteY21" fmla="*/ 10194 h 27982"/>
                  <a:gd name="connsiteX22" fmla="*/ 15131 w 37083"/>
                  <a:gd name="connsiteY22" fmla="*/ 5559 h 27982"/>
                  <a:gd name="connsiteX23" fmla="*/ 11419 w 37083"/>
                  <a:gd name="connsiteY23" fmla="*/ 4014 h 27982"/>
                  <a:gd name="connsiteX24" fmla="*/ 7801 w 37083"/>
                  <a:gd name="connsiteY24" fmla="*/ 5050 h 27982"/>
                  <a:gd name="connsiteX25" fmla="*/ 5389 w 37083"/>
                  <a:gd name="connsiteY25" fmla="*/ 8065 h 27982"/>
                  <a:gd name="connsiteX26" fmla="*/ 4636 w 37083"/>
                  <a:gd name="connsiteY26" fmla="*/ 13793 h 27982"/>
                  <a:gd name="connsiteX27" fmla="*/ 4636 w 37083"/>
                  <a:gd name="connsiteY27" fmla="*/ 27982 h 27982"/>
                  <a:gd name="connsiteX28" fmla="*/ 0 w 37083"/>
                  <a:gd name="connsiteY28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37083" h="27982">
                    <a:moveTo>
                      <a:pt x="19" y="27982"/>
                    </a:moveTo>
                    <a:lnTo>
                      <a:pt x="19" y="622"/>
                    </a:lnTo>
                    <a:lnTo>
                      <a:pt x="4165" y="622"/>
                    </a:lnTo>
                    <a:lnTo>
                      <a:pt x="4165" y="4466"/>
                    </a:lnTo>
                    <a:cubicBezTo>
                      <a:pt x="5031" y="3128"/>
                      <a:pt x="6162" y="2054"/>
                      <a:pt x="7594" y="1225"/>
                    </a:cubicBezTo>
                    <a:cubicBezTo>
                      <a:pt x="9026" y="414"/>
                      <a:pt x="10647" y="0"/>
                      <a:pt x="12455" y="0"/>
                    </a:cubicBezTo>
                    <a:cubicBezTo>
                      <a:pt x="14491" y="0"/>
                      <a:pt x="16149" y="414"/>
                      <a:pt x="17449" y="1262"/>
                    </a:cubicBezTo>
                    <a:cubicBezTo>
                      <a:pt x="18749" y="2110"/>
                      <a:pt x="19654" y="3279"/>
                      <a:pt x="20200" y="4786"/>
                    </a:cubicBezTo>
                    <a:cubicBezTo>
                      <a:pt x="22367" y="1583"/>
                      <a:pt x="25175" y="0"/>
                      <a:pt x="28642" y="0"/>
                    </a:cubicBezTo>
                    <a:cubicBezTo>
                      <a:pt x="31355" y="0"/>
                      <a:pt x="33447" y="754"/>
                      <a:pt x="34898" y="2261"/>
                    </a:cubicBezTo>
                    <a:cubicBezTo>
                      <a:pt x="36349" y="3769"/>
                      <a:pt x="37084" y="6086"/>
                      <a:pt x="37084" y="9196"/>
                    </a:cubicBezTo>
                    <a:lnTo>
                      <a:pt x="37084" y="27982"/>
                    </a:lnTo>
                    <a:lnTo>
                      <a:pt x="32467" y="27982"/>
                    </a:lnTo>
                    <a:lnTo>
                      <a:pt x="32467" y="10741"/>
                    </a:lnTo>
                    <a:cubicBezTo>
                      <a:pt x="32467" y="8894"/>
                      <a:pt x="32316" y="7556"/>
                      <a:pt x="32015" y="6727"/>
                    </a:cubicBezTo>
                    <a:cubicBezTo>
                      <a:pt x="31714" y="5917"/>
                      <a:pt x="31167" y="5257"/>
                      <a:pt x="30376" y="4749"/>
                    </a:cubicBezTo>
                    <a:cubicBezTo>
                      <a:pt x="29584" y="4259"/>
                      <a:pt x="28661" y="3995"/>
                      <a:pt x="27587" y="3995"/>
                    </a:cubicBezTo>
                    <a:cubicBezTo>
                      <a:pt x="25665" y="3995"/>
                      <a:pt x="24063" y="4635"/>
                      <a:pt x="22800" y="5917"/>
                    </a:cubicBezTo>
                    <a:cubicBezTo>
                      <a:pt x="21538" y="7198"/>
                      <a:pt x="20897" y="9252"/>
                      <a:pt x="20897" y="12060"/>
                    </a:cubicBezTo>
                    <a:lnTo>
                      <a:pt x="20897" y="27963"/>
                    </a:lnTo>
                    <a:lnTo>
                      <a:pt x="16262" y="27963"/>
                    </a:lnTo>
                    <a:lnTo>
                      <a:pt x="16262" y="10194"/>
                    </a:lnTo>
                    <a:cubicBezTo>
                      <a:pt x="16262" y="8140"/>
                      <a:pt x="15885" y="6595"/>
                      <a:pt x="15131" y="5559"/>
                    </a:cubicBezTo>
                    <a:cubicBezTo>
                      <a:pt x="14378" y="4522"/>
                      <a:pt x="13134" y="4014"/>
                      <a:pt x="11419" y="4014"/>
                    </a:cubicBezTo>
                    <a:cubicBezTo>
                      <a:pt x="10119" y="4014"/>
                      <a:pt x="8913" y="4353"/>
                      <a:pt x="7801" y="5050"/>
                    </a:cubicBezTo>
                    <a:cubicBezTo>
                      <a:pt x="6689" y="5747"/>
                      <a:pt x="5898" y="6746"/>
                      <a:pt x="5389" y="8065"/>
                    </a:cubicBezTo>
                    <a:cubicBezTo>
                      <a:pt x="4899" y="9384"/>
                      <a:pt x="4636" y="11287"/>
                      <a:pt x="4636" y="13793"/>
                    </a:cubicBezTo>
                    <a:lnTo>
                      <a:pt x="4636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49" name="Freihandform: Form 3048">
                <a:extLst>
                  <a:ext uri="{FF2B5EF4-FFF2-40B4-BE49-F238E27FC236}">
                    <a16:creationId xmlns:a16="http://schemas.microsoft.com/office/drawing/2014/main" id="{2C562AD5-4E9E-E8D9-A596-70D0CA11F5FC}"/>
                  </a:ext>
                </a:extLst>
              </p:cNvPr>
              <p:cNvSpPr/>
              <p:nvPr/>
            </p:nvSpPr>
            <p:spPr>
              <a:xfrm>
                <a:off x="4897097" y="2917864"/>
                <a:ext cx="4635" cy="37762"/>
              </a:xfrm>
              <a:custGeom>
                <a:avLst/>
                <a:gdLst>
                  <a:gd name="connsiteX0" fmla="*/ 0 w 4635"/>
                  <a:gd name="connsiteY0" fmla="*/ 5333 h 37762"/>
                  <a:gd name="connsiteX1" fmla="*/ 0 w 4635"/>
                  <a:gd name="connsiteY1" fmla="*/ 0 h 37762"/>
                  <a:gd name="connsiteX2" fmla="*/ 4636 w 4635"/>
                  <a:gd name="connsiteY2" fmla="*/ 0 h 37762"/>
                  <a:gd name="connsiteX3" fmla="*/ 4636 w 4635"/>
                  <a:gd name="connsiteY3" fmla="*/ 5333 h 37762"/>
                  <a:gd name="connsiteX4" fmla="*/ 0 w 4635"/>
                  <a:gd name="connsiteY4" fmla="*/ 5333 h 37762"/>
                  <a:gd name="connsiteX5" fmla="*/ 0 w 4635"/>
                  <a:gd name="connsiteY5" fmla="*/ 37762 h 37762"/>
                  <a:gd name="connsiteX6" fmla="*/ 0 w 4635"/>
                  <a:gd name="connsiteY6" fmla="*/ 10402 h 37762"/>
                  <a:gd name="connsiteX7" fmla="*/ 4636 w 4635"/>
                  <a:gd name="connsiteY7" fmla="*/ 10402 h 37762"/>
                  <a:gd name="connsiteX8" fmla="*/ 4636 w 4635"/>
                  <a:gd name="connsiteY8" fmla="*/ 37762 h 37762"/>
                  <a:gd name="connsiteX9" fmla="*/ 0 w 4635"/>
                  <a:gd name="connsiteY9" fmla="*/ 37762 h 37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35" h="37762">
                    <a:moveTo>
                      <a:pt x="0" y="5333"/>
                    </a:moveTo>
                    <a:lnTo>
                      <a:pt x="0" y="0"/>
                    </a:lnTo>
                    <a:lnTo>
                      <a:pt x="4636" y="0"/>
                    </a:lnTo>
                    <a:lnTo>
                      <a:pt x="4636" y="5333"/>
                    </a:lnTo>
                    <a:lnTo>
                      <a:pt x="0" y="5333"/>
                    </a:lnTo>
                    <a:close/>
                    <a:moveTo>
                      <a:pt x="0" y="37762"/>
                    </a:moveTo>
                    <a:lnTo>
                      <a:pt x="0" y="10402"/>
                    </a:lnTo>
                    <a:lnTo>
                      <a:pt x="4636" y="10402"/>
                    </a:lnTo>
                    <a:lnTo>
                      <a:pt x="4636" y="37762"/>
                    </a:lnTo>
                    <a:lnTo>
                      <a:pt x="0" y="3776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50" name="Freihandform: Form 3049">
                <a:extLst>
                  <a:ext uri="{FF2B5EF4-FFF2-40B4-BE49-F238E27FC236}">
                    <a16:creationId xmlns:a16="http://schemas.microsoft.com/office/drawing/2014/main" id="{DD968850-AB5B-34F0-F13C-EC69B9B45C87}"/>
                  </a:ext>
                </a:extLst>
              </p:cNvPr>
              <p:cNvSpPr/>
              <p:nvPr/>
            </p:nvSpPr>
            <p:spPr>
              <a:xfrm>
                <a:off x="4908780" y="2927644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4 w 22235"/>
                  <a:gd name="connsiteY2" fmla="*/ 622 h 28001"/>
                  <a:gd name="connsiteX3" fmla="*/ 4164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5 w 22235"/>
                  <a:gd name="connsiteY16" fmla="*/ 13058 h 28001"/>
                  <a:gd name="connsiteX17" fmla="*/ 4635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504"/>
                    </a:lnTo>
                    <a:cubicBezTo>
                      <a:pt x="6181" y="1507"/>
                      <a:pt x="9082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1" y="7179"/>
                      <a:pt x="4635" y="9553"/>
                      <a:pt x="4635" y="13058"/>
                    </a:cubicBezTo>
                    <a:lnTo>
                      <a:pt x="4635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51" name="Freihandform: Form 3050">
                <a:extLst>
                  <a:ext uri="{FF2B5EF4-FFF2-40B4-BE49-F238E27FC236}">
                    <a16:creationId xmlns:a16="http://schemas.microsoft.com/office/drawing/2014/main" id="{DBC93690-0B78-5D26-290B-C5F4E0777976}"/>
                  </a:ext>
                </a:extLst>
              </p:cNvPr>
              <p:cNvSpPr/>
              <p:nvPr/>
            </p:nvSpPr>
            <p:spPr>
              <a:xfrm>
                <a:off x="4936348" y="2927663"/>
                <a:ext cx="24119" cy="39099"/>
              </a:xfrm>
              <a:custGeom>
                <a:avLst/>
                <a:gdLst>
                  <a:gd name="connsiteX0" fmla="*/ 923 w 24119"/>
                  <a:gd name="connsiteY0" fmla="*/ 30225 h 39099"/>
                  <a:gd name="connsiteX1" fmla="*/ 5427 w 24119"/>
                  <a:gd name="connsiteY1" fmla="*/ 30903 h 39099"/>
                  <a:gd name="connsiteX2" fmla="*/ 6991 w 24119"/>
                  <a:gd name="connsiteY2" fmla="*/ 33937 h 39099"/>
                  <a:gd name="connsiteX3" fmla="*/ 11702 w 24119"/>
                  <a:gd name="connsiteY3" fmla="*/ 35218 h 39099"/>
                  <a:gd name="connsiteX4" fmla="*/ 16676 w 24119"/>
                  <a:gd name="connsiteY4" fmla="*/ 33937 h 39099"/>
                  <a:gd name="connsiteX5" fmla="*/ 19051 w 24119"/>
                  <a:gd name="connsiteY5" fmla="*/ 30338 h 39099"/>
                  <a:gd name="connsiteX6" fmla="*/ 19390 w 24119"/>
                  <a:gd name="connsiteY6" fmla="*/ 24383 h 39099"/>
                  <a:gd name="connsiteX7" fmla="*/ 11815 w 24119"/>
                  <a:gd name="connsiteY7" fmla="*/ 27963 h 39099"/>
                  <a:gd name="connsiteX8" fmla="*/ 3090 w 24119"/>
                  <a:gd name="connsiteY8" fmla="*/ 23893 h 39099"/>
                  <a:gd name="connsiteX9" fmla="*/ 0 w 24119"/>
                  <a:gd name="connsiteY9" fmla="*/ 14133 h 39099"/>
                  <a:gd name="connsiteX10" fmla="*/ 1413 w 24119"/>
                  <a:gd name="connsiteY10" fmla="*/ 6915 h 39099"/>
                  <a:gd name="connsiteX11" fmla="*/ 5521 w 24119"/>
                  <a:gd name="connsiteY11" fmla="*/ 1809 h 39099"/>
                  <a:gd name="connsiteX12" fmla="*/ 11852 w 24119"/>
                  <a:gd name="connsiteY12" fmla="*/ 0 h 39099"/>
                  <a:gd name="connsiteX13" fmla="*/ 19842 w 24119"/>
                  <a:gd name="connsiteY13" fmla="*/ 3919 h 39099"/>
                  <a:gd name="connsiteX14" fmla="*/ 19842 w 24119"/>
                  <a:gd name="connsiteY14" fmla="*/ 622 h 39099"/>
                  <a:gd name="connsiteX15" fmla="*/ 24119 w 24119"/>
                  <a:gd name="connsiteY15" fmla="*/ 622 h 39099"/>
                  <a:gd name="connsiteX16" fmla="*/ 24119 w 24119"/>
                  <a:gd name="connsiteY16" fmla="*/ 24270 h 39099"/>
                  <a:gd name="connsiteX17" fmla="*/ 22819 w 24119"/>
                  <a:gd name="connsiteY17" fmla="*/ 33334 h 39099"/>
                  <a:gd name="connsiteX18" fmla="*/ 18692 w 24119"/>
                  <a:gd name="connsiteY18" fmla="*/ 37555 h 39099"/>
                  <a:gd name="connsiteX19" fmla="*/ 11758 w 24119"/>
                  <a:gd name="connsiteY19" fmla="*/ 39100 h 39099"/>
                  <a:gd name="connsiteX20" fmla="*/ 3844 w 24119"/>
                  <a:gd name="connsiteY20" fmla="*/ 36895 h 39099"/>
                  <a:gd name="connsiteX21" fmla="*/ 942 w 24119"/>
                  <a:gd name="connsiteY21" fmla="*/ 30262 h 39099"/>
                  <a:gd name="connsiteX22" fmla="*/ 4767 w 24119"/>
                  <a:gd name="connsiteY22" fmla="*/ 13793 h 39099"/>
                  <a:gd name="connsiteX23" fmla="*/ 6897 w 24119"/>
                  <a:gd name="connsiteY23" fmla="*/ 21651 h 39099"/>
                  <a:gd name="connsiteX24" fmla="*/ 12248 w 24119"/>
                  <a:gd name="connsiteY24" fmla="*/ 24119 h 39099"/>
                  <a:gd name="connsiteX25" fmla="*/ 17600 w 24119"/>
                  <a:gd name="connsiteY25" fmla="*/ 21651 h 39099"/>
                  <a:gd name="connsiteX26" fmla="*/ 19767 w 24119"/>
                  <a:gd name="connsiteY26" fmla="*/ 13944 h 39099"/>
                  <a:gd name="connsiteX27" fmla="*/ 17543 w 24119"/>
                  <a:gd name="connsiteY27" fmla="*/ 6369 h 39099"/>
                  <a:gd name="connsiteX28" fmla="*/ 12173 w 24119"/>
                  <a:gd name="connsiteY28" fmla="*/ 3825 h 39099"/>
                  <a:gd name="connsiteX29" fmla="*/ 6915 w 24119"/>
                  <a:gd name="connsiteY29" fmla="*/ 6331 h 39099"/>
                  <a:gd name="connsiteX30" fmla="*/ 4749 w 24119"/>
                  <a:gd name="connsiteY30" fmla="*/ 13793 h 39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19" h="39099">
                    <a:moveTo>
                      <a:pt x="923" y="30225"/>
                    </a:moveTo>
                    <a:lnTo>
                      <a:pt x="5427" y="30903"/>
                    </a:lnTo>
                    <a:cubicBezTo>
                      <a:pt x="5615" y="32298"/>
                      <a:pt x="6143" y="33315"/>
                      <a:pt x="6991" y="33937"/>
                    </a:cubicBezTo>
                    <a:cubicBezTo>
                      <a:pt x="8140" y="34804"/>
                      <a:pt x="9704" y="35218"/>
                      <a:pt x="11702" y="35218"/>
                    </a:cubicBezTo>
                    <a:cubicBezTo>
                      <a:pt x="13850" y="35218"/>
                      <a:pt x="15508" y="34785"/>
                      <a:pt x="16676" y="33937"/>
                    </a:cubicBezTo>
                    <a:cubicBezTo>
                      <a:pt x="17845" y="33070"/>
                      <a:pt x="18636" y="31883"/>
                      <a:pt x="19051" y="30338"/>
                    </a:cubicBezTo>
                    <a:cubicBezTo>
                      <a:pt x="19296" y="29396"/>
                      <a:pt x="19409" y="27417"/>
                      <a:pt x="19390" y="24383"/>
                    </a:cubicBezTo>
                    <a:cubicBezTo>
                      <a:pt x="17355" y="26776"/>
                      <a:pt x="14830" y="27963"/>
                      <a:pt x="11815" y="27963"/>
                    </a:cubicBezTo>
                    <a:cubicBezTo>
                      <a:pt x="8046" y="27963"/>
                      <a:pt x="5144" y="26607"/>
                      <a:pt x="3090" y="23893"/>
                    </a:cubicBezTo>
                    <a:cubicBezTo>
                      <a:pt x="1036" y="21180"/>
                      <a:pt x="0" y="17920"/>
                      <a:pt x="0" y="14133"/>
                    </a:cubicBezTo>
                    <a:cubicBezTo>
                      <a:pt x="0" y="11513"/>
                      <a:pt x="471" y="9120"/>
                      <a:pt x="1413" y="6915"/>
                    </a:cubicBezTo>
                    <a:cubicBezTo>
                      <a:pt x="2355" y="4711"/>
                      <a:pt x="3731" y="2996"/>
                      <a:pt x="5521" y="1809"/>
                    </a:cubicBezTo>
                    <a:cubicBezTo>
                      <a:pt x="7311" y="603"/>
                      <a:pt x="9422" y="0"/>
                      <a:pt x="11852" y="0"/>
                    </a:cubicBezTo>
                    <a:cubicBezTo>
                      <a:pt x="15075" y="0"/>
                      <a:pt x="17750" y="1300"/>
                      <a:pt x="19842" y="3919"/>
                    </a:cubicBezTo>
                    <a:lnTo>
                      <a:pt x="19842" y="622"/>
                    </a:lnTo>
                    <a:lnTo>
                      <a:pt x="24119" y="622"/>
                    </a:lnTo>
                    <a:lnTo>
                      <a:pt x="24119" y="24270"/>
                    </a:lnTo>
                    <a:cubicBezTo>
                      <a:pt x="24119" y="28529"/>
                      <a:pt x="23686" y="31544"/>
                      <a:pt x="22819" y="33334"/>
                    </a:cubicBezTo>
                    <a:cubicBezTo>
                      <a:pt x="21953" y="35105"/>
                      <a:pt x="20577" y="36518"/>
                      <a:pt x="18692" y="37555"/>
                    </a:cubicBezTo>
                    <a:cubicBezTo>
                      <a:pt x="16808" y="38591"/>
                      <a:pt x="14490" y="39100"/>
                      <a:pt x="11758" y="39100"/>
                    </a:cubicBezTo>
                    <a:cubicBezTo>
                      <a:pt x="8498" y="39100"/>
                      <a:pt x="5860" y="38365"/>
                      <a:pt x="3844" y="36895"/>
                    </a:cubicBezTo>
                    <a:cubicBezTo>
                      <a:pt x="1828" y="35425"/>
                      <a:pt x="867" y="33221"/>
                      <a:pt x="942" y="30262"/>
                    </a:cubicBezTo>
                    <a:close/>
                    <a:moveTo>
                      <a:pt x="4767" y="13793"/>
                    </a:moveTo>
                    <a:cubicBezTo>
                      <a:pt x="4767" y="17392"/>
                      <a:pt x="5483" y="19993"/>
                      <a:pt x="6897" y="21651"/>
                    </a:cubicBezTo>
                    <a:cubicBezTo>
                      <a:pt x="8329" y="23309"/>
                      <a:pt x="10100" y="24119"/>
                      <a:pt x="12248" y="24119"/>
                    </a:cubicBezTo>
                    <a:cubicBezTo>
                      <a:pt x="14396" y="24119"/>
                      <a:pt x="16168" y="23290"/>
                      <a:pt x="17600" y="21651"/>
                    </a:cubicBezTo>
                    <a:cubicBezTo>
                      <a:pt x="19032" y="20012"/>
                      <a:pt x="19767" y="17430"/>
                      <a:pt x="19767" y="13944"/>
                    </a:cubicBezTo>
                    <a:cubicBezTo>
                      <a:pt x="19767" y="10458"/>
                      <a:pt x="19032" y="8065"/>
                      <a:pt x="17543" y="6369"/>
                    </a:cubicBezTo>
                    <a:cubicBezTo>
                      <a:pt x="16055" y="4673"/>
                      <a:pt x="14264" y="3825"/>
                      <a:pt x="12173" y="3825"/>
                    </a:cubicBezTo>
                    <a:cubicBezTo>
                      <a:pt x="10081" y="3825"/>
                      <a:pt x="8366" y="4654"/>
                      <a:pt x="6915" y="6331"/>
                    </a:cubicBezTo>
                    <a:cubicBezTo>
                      <a:pt x="5465" y="8008"/>
                      <a:pt x="4749" y="10496"/>
                      <a:pt x="4749" y="1379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52" name="Freihandform: Form 3051">
                <a:extLst>
                  <a:ext uri="{FF2B5EF4-FFF2-40B4-BE49-F238E27FC236}">
                    <a16:creationId xmlns:a16="http://schemas.microsoft.com/office/drawing/2014/main" id="{3724C8E5-7583-7130-48E4-E3617911D418}"/>
                  </a:ext>
                </a:extLst>
              </p:cNvPr>
              <p:cNvSpPr/>
              <p:nvPr/>
            </p:nvSpPr>
            <p:spPr>
              <a:xfrm>
                <a:off x="4965724" y="2927663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6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1"/>
                      <a:pt x="20897" y="14151"/>
                    </a:cubicBezTo>
                    <a:cubicBezTo>
                      <a:pt x="20897" y="10759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78" name="Grafik 21">
              <a:extLst>
                <a:ext uri="{FF2B5EF4-FFF2-40B4-BE49-F238E27FC236}">
                  <a16:creationId xmlns:a16="http://schemas.microsoft.com/office/drawing/2014/main" id="{D37E935B-A3BD-9C9D-9D15-83F554E23509}"/>
                </a:ext>
              </a:extLst>
            </p:cNvPr>
            <p:cNvGrpSpPr/>
            <p:nvPr/>
          </p:nvGrpSpPr>
          <p:grpSpPr>
            <a:xfrm>
              <a:off x="4967496" y="3050145"/>
              <a:ext cx="59582" cy="59846"/>
              <a:chOff x="4967496" y="3050145"/>
              <a:chExt cx="59582" cy="59846"/>
            </a:xfrm>
            <a:solidFill>
              <a:srgbClr val="000000"/>
            </a:solidFill>
          </p:grpSpPr>
          <p:sp>
            <p:nvSpPr>
              <p:cNvPr id="3043" name="Freihandform: Form 3042">
                <a:extLst>
                  <a:ext uri="{FF2B5EF4-FFF2-40B4-BE49-F238E27FC236}">
                    <a16:creationId xmlns:a16="http://schemas.microsoft.com/office/drawing/2014/main" id="{14AD8A2B-EF06-B158-A823-66582F1A946C}"/>
                  </a:ext>
                </a:extLst>
              </p:cNvPr>
              <p:cNvSpPr/>
              <p:nvPr/>
            </p:nvSpPr>
            <p:spPr>
              <a:xfrm>
                <a:off x="4973752" y="3071267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44" name="Freihandform: Form 3043">
                <a:extLst>
                  <a:ext uri="{FF2B5EF4-FFF2-40B4-BE49-F238E27FC236}">
                    <a16:creationId xmlns:a16="http://schemas.microsoft.com/office/drawing/2014/main" id="{055CABDE-B97E-25A2-9B03-9DFFE6EAB9FF}"/>
                  </a:ext>
                </a:extLst>
              </p:cNvPr>
              <p:cNvSpPr/>
              <p:nvPr/>
            </p:nvSpPr>
            <p:spPr>
              <a:xfrm>
                <a:off x="4967496" y="3050145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1" y="59847"/>
                      <a:pt x="59583" y="46449"/>
                      <a:pt x="59583" y="29923"/>
                    </a:cubicBezTo>
                    <a:cubicBezTo>
                      <a:pt x="59583" y="13398"/>
                      <a:pt x="46241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7" y="57076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79" name="Grafik 21">
              <a:extLst>
                <a:ext uri="{FF2B5EF4-FFF2-40B4-BE49-F238E27FC236}">
                  <a16:creationId xmlns:a16="http://schemas.microsoft.com/office/drawing/2014/main" id="{8C3691A1-07B3-6DFA-E8D7-B7C8055831E1}"/>
                </a:ext>
              </a:extLst>
            </p:cNvPr>
            <p:cNvGrpSpPr/>
            <p:nvPr/>
          </p:nvGrpSpPr>
          <p:grpSpPr>
            <a:xfrm>
              <a:off x="5051424" y="3064842"/>
              <a:ext cx="219958" cy="38402"/>
              <a:chOff x="5051424" y="3064842"/>
              <a:chExt cx="219958" cy="38402"/>
            </a:xfrm>
            <a:solidFill>
              <a:srgbClr val="000000"/>
            </a:solidFill>
          </p:grpSpPr>
          <p:sp>
            <p:nvSpPr>
              <p:cNvPr id="3035" name="Freihandform: Form 3034">
                <a:extLst>
                  <a:ext uri="{FF2B5EF4-FFF2-40B4-BE49-F238E27FC236}">
                    <a16:creationId xmlns:a16="http://schemas.microsoft.com/office/drawing/2014/main" id="{10356F22-A22B-2295-D831-CC62067BA25E}"/>
                  </a:ext>
                </a:extLst>
              </p:cNvPr>
              <p:cNvSpPr/>
              <p:nvPr/>
            </p:nvSpPr>
            <p:spPr>
              <a:xfrm>
                <a:off x="5051424" y="3064842"/>
                <a:ext cx="28510" cy="37781"/>
              </a:xfrm>
              <a:custGeom>
                <a:avLst/>
                <a:gdLst>
                  <a:gd name="connsiteX0" fmla="*/ 0 w 28510"/>
                  <a:gd name="connsiteY0" fmla="*/ 37762 h 37781"/>
                  <a:gd name="connsiteX1" fmla="*/ 0 w 28510"/>
                  <a:gd name="connsiteY1" fmla="*/ 0 h 37781"/>
                  <a:gd name="connsiteX2" fmla="*/ 14170 w 28510"/>
                  <a:gd name="connsiteY2" fmla="*/ 0 h 37781"/>
                  <a:gd name="connsiteX3" fmla="*/ 21105 w 28510"/>
                  <a:gd name="connsiteY3" fmla="*/ 1149 h 37781"/>
                  <a:gd name="connsiteX4" fmla="*/ 25194 w 28510"/>
                  <a:gd name="connsiteY4" fmla="*/ 4673 h 37781"/>
                  <a:gd name="connsiteX5" fmla="*/ 26682 w 28510"/>
                  <a:gd name="connsiteY5" fmla="*/ 9667 h 37781"/>
                  <a:gd name="connsiteX6" fmla="*/ 25363 w 28510"/>
                  <a:gd name="connsiteY6" fmla="*/ 14227 h 37781"/>
                  <a:gd name="connsiteX7" fmla="*/ 21387 w 28510"/>
                  <a:gd name="connsiteY7" fmla="*/ 17675 h 37781"/>
                  <a:gd name="connsiteX8" fmla="*/ 26663 w 28510"/>
                  <a:gd name="connsiteY8" fmla="*/ 21105 h 37781"/>
                  <a:gd name="connsiteX9" fmla="*/ 28510 w 28510"/>
                  <a:gd name="connsiteY9" fmla="*/ 26833 h 37781"/>
                  <a:gd name="connsiteX10" fmla="*/ 27398 w 28510"/>
                  <a:gd name="connsiteY10" fmla="*/ 31770 h 37781"/>
                  <a:gd name="connsiteX11" fmla="*/ 24628 w 28510"/>
                  <a:gd name="connsiteY11" fmla="*/ 35294 h 37781"/>
                  <a:gd name="connsiteX12" fmla="*/ 20502 w 28510"/>
                  <a:gd name="connsiteY12" fmla="*/ 37159 h 37781"/>
                  <a:gd name="connsiteX13" fmla="*/ 14415 w 28510"/>
                  <a:gd name="connsiteY13" fmla="*/ 37781 h 37781"/>
                  <a:gd name="connsiteX14" fmla="*/ 19 w 28510"/>
                  <a:gd name="connsiteY14" fmla="*/ 37781 h 37781"/>
                  <a:gd name="connsiteX15" fmla="*/ 4994 w 28510"/>
                  <a:gd name="connsiteY15" fmla="*/ 15866 h 37781"/>
                  <a:gd name="connsiteX16" fmla="*/ 13153 w 28510"/>
                  <a:gd name="connsiteY16" fmla="*/ 15866 h 37781"/>
                  <a:gd name="connsiteX17" fmla="*/ 17920 w 28510"/>
                  <a:gd name="connsiteY17" fmla="*/ 15433 h 37781"/>
                  <a:gd name="connsiteX18" fmla="*/ 20784 w 28510"/>
                  <a:gd name="connsiteY18" fmla="*/ 13549 h 37781"/>
                  <a:gd name="connsiteX19" fmla="*/ 21745 w 28510"/>
                  <a:gd name="connsiteY19" fmla="*/ 10251 h 37781"/>
                  <a:gd name="connsiteX20" fmla="*/ 20841 w 28510"/>
                  <a:gd name="connsiteY20" fmla="*/ 6934 h 37781"/>
                  <a:gd name="connsiteX21" fmla="*/ 18259 w 28510"/>
                  <a:gd name="connsiteY21" fmla="*/ 4975 h 37781"/>
                  <a:gd name="connsiteX22" fmla="*/ 12512 w 28510"/>
                  <a:gd name="connsiteY22" fmla="*/ 4447 h 37781"/>
                  <a:gd name="connsiteX23" fmla="*/ 4956 w 28510"/>
                  <a:gd name="connsiteY23" fmla="*/ 4447 h 37781"/>
                  <a:gd name="connsiteX24" fmla="*/ 4956 w 28510"/>
                  <a:gd name="connsiteY24" fmla="*/ 15866 h 37781"/>
                  <a:gd name="connsiteX25" fmla="*/ 4994 w 28510"/>
                  <a:gd name="connsiteY25" fmla="*/ 33315 h 37781"/>
                  <a:gd name="connsiteX26" fmla="*/ 14396 w 28510"/>
                  <a:gd name="connsiteY26" fmla="*/ 33315 h 37781"/>
                  <a:gd name="connsiteX27" fmla="*/ 17788 w 28510"/>
                  <a:gd name="connsiteY27" fmla="*/ 33127 h 37781"/>
                  <a:gd name="connsiteX28" fmla="*/ 20671 w 28510"/>
                  <a:gd name="connsiteY28" fmla="*/ 32090 h 37781"/>
                  <a:gd name="connsiteX29" fmla="*/ 22574 w 28510"/>
                  <a:gd name="connsiteY29" fmla="*/ 29999 h 37781"/>
                  <a:gd name="connsiteX30" fmla="*/ 23328 w 28510"/>
                  <a:gd name="connsiteY30" fmla="*/ 26814 h 37781"/>
                  <a:gd name="connsiteX31" fmla="*/ 22254 w 28510"/>
                  <a:gd name="connsiteY31" fmla="*/ 23140 h 37781"/>
                  <a:gd name="connsiteX32" fmla="*/ 19258 w 28510"/>
                  <a:gd name="connsiteY32" fmla="*/ 20954 h 37781"/>
                  <a:gd name="connsiteX33" fmla="*/ 13737 w 28510"/>
                  <a:gd name="connsiteY33" fmla="*/ 20332 h 37781"/>
                  <a:gd name="connsiteX34" fmla="*/ 5012 w 28510"/>
                  <a:gd name="connsiteY34" fmla="*/ 20332 h 37781"/>
                  <a:gd name="connsiteX35" fmla="*/ 5012 w 28510"/>
                  <a:gd name="connsiteY35" fmla="*/ 33315 h 37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8510" h="37781">
                    <a:moveTo>
                      <a:pt x="0" y="37762"/>
                    </a:moveTo>
                    <a:lnTo>
                      <a:pt x="0" y="0"/>
                    </a:lnTo>
                    <a:lnTo>
                      <a:pt x="14170" y="0"/>
                    </a:lnTo>
                    <a:cubicBezTo>
                      <a:pt x="17053" y="0"/>
                      <a:pt x="19371" y="377"/>
                      <a:pt x="21105" y="1149"/>
                    </a:cubicBezTo>
                    <a:cubicBezTo>
                      <a:pt x="22838" y="1922"/>
                      <a:pt x="24214" y="3090"/>
                      <a:pt x="25194" y="4673"/>
                    </a:cubicBezTo>
                    <a:cubicBezTo>
                      <a:pt x="26173" y="6256"/>
                      <a:pt x="26682" y="7914"/>
                      <a:pt x="26682" y="9667"/>
                    </a:cubicBezTo>
                    <a:cubicBezTo>
                      <a:pt x="26682" y="11287"/>
                      <a:pt x="26249" y="12795"/>
                      <a:pt x="25363" y="14227"/>
                    </a:cubicBezTo>
                    <a:cubicBezTo>
                      <a:pt x="24478" y="15659"/>
                      <a:pt x="23159" y="16808"/>
                      <a:pt x="21387" y="17675"/>
                    </a:cubicBezTo>
                    <a:cubicBezTo>
                      <a:pt x="23667" y="18353"/>
                      <a:pt x="25420" y="19484"/>
                      <a:pt x="26663" y="21105"/>
                    </a:cubicBezTo>
                    <a:cubicBezTo>
                      <a:pt x="27888" y="22725"/>
                      <a:pt x="28510" y="24628"/>
                      <a:pt x="28510" y="26833"/>
                    </a:cubicBezTo>
                    <a:cubicBezTo>
                      <a:pt x="28510" y="28604"/>
                      <a:pt x="28133" y="30244"/>
                      <a:pt x="27398" y="31770"/>
                    </a:cubicBezTo>
                    <a:cubicBezTo>
                      <a:pt x="26663" y="33296"/>
                      <a:pt x="25721" y="34465"/>
                      <a:pt x="24628" y="35294"/>
                    </a:cubicBezTo>
                    <a:cubicBezTo>
                      <a:pt x="23535" y="36123"/>
                      <a:pt x="22160" y="36745"/>
                      <a:pt x="20502" y="37159"/>
                    </a:cubicBezTo>
                    <a:cubicBezTo>
                      <a:pt x="18843" y="37574"/>
                      <a:pt x="16808" y="37781"/>
                      <a:pt x="14415" y="37781"/>
                    </a:cubicBezTo>
                    <a:lnTo>
                      <a:pt x="19" y="37781"/>
                    </a:lnTo>
                    <a:close/>
                    <a:moveTo>
                      <a:pt x="4994" y="15866"/>
                    </a:moveTo>
                    <a:lnTo>
                      <a:pt x="13153" y="15866"/>
                    </a:lnTo>
                    <a:cubicBezTo>
                      <a:pt x="15376" y="15866"/>
                      <a:pt x="16959" y="15716"/>
                      <a:pt x="17920" y="15433"/>
                    </a:cubicBezTo>
                    <a:cubicBezTo>
                      <a:pt x="19183" y="15056"/>
                      <a:pt x="20144" y="14434"/>
                      <a:pt x="20784" y="13549"/>
                    </a:cubicBezTo>
                    <a:cubicBezTo>
                      <a:pt x="21425" y="12663"/>
                      <a:pt x="21745" y="11570"/>
                      <a:pt x="21745" y="10251"/>
                    </a:cubicBezTo>
                    <a:cubicBezTo>
                      <a:pt x="21745" y="8988"/>
                      <a:pt x="21444" y="7895"/>
                      <a:pt x="20841" y="6934"/>
                    </a:cubicBezTo>
                    <a:cubicBezTo>
                      <a:pt x="20238" y="5973"/>
                      <a:pt x="19390" y="5333"/>
                      <a:pt x="18259" y="4975"/>
                    </a:cubicBezTo>
                    <a:cubicBezTo>
                      <a:pt x="17147" y="4617"/>
                      <a:pt x="15226" y="4447"/>
                      <a:pt x="12512" y="4447"/>
                    </a:cubicBezTo>
                    <a:lnTo>
                      <a:pt x="4956" y="4447"/>
                    </a:lnTo>
                    <a:lnTo>
                      <a:pt x="4956" y="15866"/>
                    </a:lnTo>
                    <a:close/>
                    <a:moveTo>
                      <a:pt x="4994" y="33315"/>
                    </a:moveTo>
                    <a:lnTo>
                      <a:pt x="14396" y="33315"/>
                    </a:lnTo>
                    <a:cubicBezTo>
                      <a:pt x="16017" y="33315"/>
                      <a:pt x="17147" y="33259"/>
                      <a:pt x="17788" y="33127"/>
                    </a:cubicBezTo>
                    <a:cubicBezTo>
                      <a:pt x="18938" y="32920"/>
                      <a:pt x="19899" y="32580"/>
                      <a:pt x="20671" y="32090"/>
                    </a:cubicBezTo>
                    <a:cubicBezTo>
                      <a:pt x="21444" y="31600"/>
                      <a:pt x="22084" y="30903"/>
                      <a:pt x="22574" y="29999"/>
                    </a:cubicBezTo>
                    <a:cubicBezTo>
                      <a:pt x="23064" y="29075"/>
                      <a:pt x="23328" y="28020"/>
                      <a:pt x="23328" y="26814"/>
                    </a:cubicBezTo>
                    <a:cubicBezTo>
                      <a:pt x="23328" y="25401"/>
                      <a:pt x="22970" y="24176"/>
                      <a:pt x="22254" y="23140"/>
                    </a:cubicBezTo>
                    <a:cubicBezTo>
                      <a:pt x="21538" y="22103"/>
                      <a:pt x="20539" y="21369"/>
                      <a:pt x="19258" y="20954"/>
                    </a:cubicBezTo>
                    <a:cubicBezTo>
                      <a:pt x="17977" y="20539"/>
                      <a:pt x="16130" y="20332"/>
                      <a:pt x="13737" y="20332"/>
                    </a:cubicBezTo>
                    <a:lnTo>
                      <a:pt x="5012" y="20332"/>
                    </a:lnTo>
                    <a:lnTo>
                      <a:pt x="5012" y="33315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36" name="Freihandform: Form 3035">
                <a:extLst>
                  <a:ext uri="{FF2B5EF4-FFF2-40B4-BE49-F238E27FC236}">
                    <a16:creationId xmlns:a16="http://schemas.microsoft.com/office/drawing/2014/main" id="{BCE6B445-25CD-3581-665A-C174EC90B6F1}"/>
                  </a:ext>
                </a:extLst>
              </p:cNvPr>
              <p:cNvSpPr/>
              <p:nvPr/>
            </p:nvSpPr>
            <p:spPr>
              <a:xfrm>
                <a:off x="5084664" y="3074603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1 w 25193"/>
                  <a:gd name="connsiteY11" fmla="*/ 5408 h 28622"/>
                  <a:gd name="connsiteX12" fmla="*/ 12474 w 25193"/>
                  <a:gd name="connsiteY12" fmla="*/ 3844 h 28622"/>
                  <a:gd name="connsiteX13" fmla="*/ 7651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6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1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37" name="Freihandform: Form 3036">
                <a:extLst>
                  <a:ext uri="{FF2B5EF4-FFF2-40B4-BE49-F238E27FC236}">
                    <a16:creationId xmlns:a16="http://schemas.microsoft.com/office/drawing/2014/main" id="{FB665EED-01B8-0C3E-4ABD-595825374BA0}"/>
                  </a:ext>
                </a:extLst>
              </p:cNvPr>
              <p:cNvSpPr/>
              <p:nvPr/>
            </p:nvSpPr>
            <p:spPr>
              <a:xfrm>
                <a:off x="5115529" y="3074622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8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8"/>
                    </a:cubicBezTo>
                    <a:lnTo>
                      <a:pt x="13266" y="5785"/>
                    </a:lnTo>
                    <a:cubicBezTo>
                      <a:pt x="12135" y="5106"/>
                      <a:pt x="11004" y="4786"/>
                      <a:pt x="9874" y="4786"/>
                    </a:cubicBezTo>
                    <a:cubicBezTo>
                      <a:pt x="8856" y="4786"/>
                      <a:pt x="7952" y="5088"/>
                      <a:pt x="7142" y="5710"/>
                    </a:cubicBezTo>
                    <a:cubicBezTo>
                      <a:pt x="6331" y="6312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38" name="Freihandform: Form 3037">
                <a:extLst>
                  <a:ext uri="{FF2B5EF4-FFF2-40B4-BE49-F238E27FC236}">
                    <a16:creationId xmlns:a16="http://schemas.microsoft.com/office/drawing/2014/main" id="{1A819BF8-26D1-AFE5-CDA6-4C02B85FC136}"/>
                  </a:ext>
                </a:extLst>
              </p:cNvPr>
              <p:cNvSpPr/>
              <p:nvPr/>
            </p:nvSpPr>
            <p:spPr>
              <a:xfrm>
                <a:off x="5133129" y="3064842"/>
                <a:ext cx="23742" cy="38383"/>
              </a:xfrm>
              <a:custGeom>
                <a:avLst/>
                <a:gdLst>
                  <a:gd name="connsiteX0" fmla="*/ 4296 w 23742"/>
                  <a:gd name="connsiteY0" fmla="*/ 37762 h 38383"/>
                  <a:gd name="connsiteX1" fmla="*/ 0 w 23742"/>
                  <a:gd name="connsiteY1" fmla="*/ 37762 h 38383"/>
                  <a:gd name="connsiteX2" fmla="*/ 0 w 23742"/>
                  <a:gd name="connsiteY2" fmla="*/ 0 h 38383"/>
                  <a:gd name="connsiteX3" fmla="*/ 4636 w 23742"/>
                  <a:gd name="connsiteY3" fmla="*/ 0 h 38383"/>
                  <a:gd name="connsiteX4" fmla="*/ 4636 w 23742"/>
                  <a:gd name="connsiteY4" fmla="*/ 13473 h 38383"/>
                  <a:gd name="connsiteX5" fmla="*/ 12135 w 23742"/>
                  <a:gd name="connsiteY5" fmla="*/ 9780 h 38383"/>
                  <a:gd name="connsiteX6" fmla="*/ 16922 w 23742"/>
                  <a:gd name="connsiteY6" fmla="*/ 10797 h 38383"/>
                  <a:gd name="connsiteX7" fmla="*/ 20634 w 23742"/>
                  <a:gd name="connsiteY7" fmla="*/ 13661 h 38383"/>
                  <a:gd name="connsiteX8" fmla="*/ 22914 w 23742"/>
                  <a:gd name="connsiteY8" fmla="*/ 18108 h 38383"/>
                  <a:gd name="connsiteX9" fmla="*/ 23743 w 23742"/>
                  <a:gd name="connsiteY9" fmla="*/ 23667 h 38383"/>
                  <a:gd name="connsiteX10" fmla="*/ 20257 w 23742"/>
                  <a:gd name="connsiteY10" fmla="*/ 34540 h 38383"/>
                  <a:gd name="connsiteX11" fmla="*/ 11909 w 23742"/>
                  <a:gd name="connsiteY11" fmla="*/ 38384 h 38383"/>
                  <a:gd name="connsiteX12" fmla="*/ 4315 w 23742"/>
                  <a:gd name="connsiteY12" fmla="*/ 34333 h 38383"/>
                  <a:gd name="connsiteX13" fmla="*/ 4315 w 23742"/>
                  <a:gd name="connsiteY13" fmla="*/ 37762 h 38383"/>
                  <a:gd name="connsiteX14" fmla="*/ 4240 w 23742"/>
                  <a:gd name="connsiteY14" fmla="*/ 23875 h 38383"/>
                  <a:gd name="connsiteX15" fmla="*/ 5578 w 23742"/>
                  <a:gd name="connsiteY15" fmla="*/ 30979 h 38383"/>
                  <a:gd name="connsiteX16" fmla="*/ 11495 w 23742"/>
                  <a:gd name="connsiteY16" fmla="*/ 34559 h 38383"/>
                  <a:gd name="connsiteX17" fmla="*/ 16752 w 23742"/>
                  <a:gd name="connsiteY17" fmla="*/ 31921 h 38383"/>
                  <a:gd name="connsiteX18" fmla="*/ 18975 w 23742"/>
                  <a:gd name="connsiteY18" fmla="*/ 24044 h 38383"/>
                  <a:gd name="connsiteX19" fmla="*/ 16846 w 23742"/>
                  <a:gd name="connsiteY19" fmla="*/ 16130 h 38383"/>
                  <a:gd name="connsiteX20" fmla="*/ 11702 w 23742"/>
                  <a:gd name="connsiteY20" fmla="*/ 13586 h 38383"/>
                  <a:gd name="connsiteX21" fmla="*/ 6445 w 23742"/>
                  <a:gd name="connsiteY21" fmla="*/ 16224 h 38383"/>
                  <a:gd name="connsiteX22" fmla="*/ 4221 w 23742"/>
                  <a:gd name="connsiteY22" fmla="*/ 23856 h 38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3742" h="38383">
                    <a:moveTo>
                      <a:pt x="4296" y="37762"/>
                    </a:moveTo>
                    <a:lnTo>
                      <a:pt x="0" y="37762"/>
                    </a:lnTo>
                    <a:lnTo>
                      <a:pt x="0" y="0"/>
                    </a:lnTo>
                    <a:lnTo>
                      <a:pt x="4636" y="0"/>
                    </a:lnTo>
                    <a:lnTo>
                      <a:pt x="4636" y="13473"/>
                    </a:lnTo>
                    <a:cubicBezTo>
                      <a:pt x="6595" y="11024"/>
                      <a:pt x="9101" y="9780"/>
                      <a:pt x="12135" y="9780"/>
                    </a:cubicBezTo>
                    <a:cubicBezTo>
                      <a:pt x="13812" y="9780"/>
                      <a:pt x="15414" y="10119"/>
                      <a:pt x="16922" y="10797"/>
                    </a:cubicBezTo>
                    <a:cubicBezTo>
                      <a:pt x="18429" y="11476"/>
                      <a:pt x="19654" y="12437"/>
                      <a:pt x="20634" y="13661"/>
                    </a:cubicBezTo>
                    <a:cubicBezTo>
                      <a:pt x="21595" y="14886"/>
                      <a:pt x="22367" y="16375"/>
                      <a:pt x="22914" y="18108"/>
                    </a:cubicBezTo>
                    <a:cubicBezTo>
                      <a:pt x="23460" y="19842"/>
                      <a:pt x="23743" y="21708"/>
                      <a:pt x="23743" y="23667"/>
                    </a:cubicBezTo>
                    <a:cubicBezTo>
                      <a:pt x="23743" y="28359"/>
                      <a:pt x="22575" y="31977"/>
                      <a:pt x="20257" y="34540"/>
                    </a:cubicBezTo>
                    <a:cubicBezTo>
                      <a:pt x="17939" y="37103"/>
                      <a:pt x="15150" y="38384"/>
                      <a:pt x="11909" y="38384"/>
                    </a:cubicBezTo>
                    <a:cubicBezTo>
                      <a:pt x="8668" y="38384"/>
                      <a:pt x="6143" y="37027"/>
                      <a:pt x="4315" y="34333"/>
                    </a:cubicBezTo>
                    <a:lnTo>
                      <a:pt x="4315" y="37762"/>
                    </a:lnTo>
                    <a:close/>
                    <a:moveTo>
                      <a:pt x="4240" y="23875"/>
                    </a:moveTo>
                    <a:cubicBezTo>
                      <a:pt x="4240" y="27153"/>
                      <a:pt x="4692" y="29528"/>
                      <a:pt x="5578" y="30979"/>
                    </a:cubicBezTo>
                    <a:cubicBezTo>
                      <a:pt x="7029" y="33372"/>
                      <a:pt x="9007" y="34559"/>
                      <a:pt x="11495" y="34559"/>
                    </a:cubicBezTo>
                    <a:cubicBezTo>
                      <a:pt x="13530" y="34559"/>
                      <a:pt x="15263" y="33673"/>
                      <a:pt x="16752" y="31921"/>
                    </a:cubicBezTo>
                    <a:cubicBezTo>
                      <a:pt x="18222" y="30168"/>
                      <a:pt x="18975" y="27530"/>
                      <a:pt x="18975" y="24044"/>
                    </a:cubicBezTo>
                    <a:cubicBezTo>
                      <a:pt x="18975" y="20558"/>
                      <a:pt x="18259" y="17845"/>
                      <a:pt x="16846" y="16130"/>
                    </a:cubicBezTo>
                    <a:cubicBezTo>
                      <a:pt x="15433" y="14415"/>
                      <a:pt x="13718" y="13586"/>
                      <a:pt x="11702" y="13586"/>
                    </a:cubicBezTo>
                    <a:cubicBezTo>
                      <a:pt x="9686" y="13586"/>
                      <a:pt x="7914" y="14472"/>
                      <a:pt x="6445" y="16224"/>
                    </a:cubicBezTo>
                    <a:cubicBezTo>
                      <a:pt x="4975" y="17977"/>
                      <a:pt x="4221" y="20539"/>
                      <a:pt x="4221" y="238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39" name="Freihandform: Form 3038">
                <a:extLst>
                  <a:ext uri="{FF2B5EF4-FFF2-40B4-BE49-F238E27FC236}">
                    <a16:creationId xmlns:a16="http://schemas.microsoft.com/office/drawing/2014/main" id="{BC476D90-C1CC-0DF8-2DE1-37B79E656CFC}"/>
                  </a:ext>
                </a:extLst>
              </p:cNvPr>
              <p:cNvSpPr/>
              <p:nvPr/>
            </p:nvSpPr>
            <p:spPr>
              <a:xfrm>
                <a:off x="5160904" y="3074603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4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9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1 w 25193"/>
                  <a:gd name="connsiteY11" fmla="*/ 5408 h 28622"/>
                  <a:gd name="connsiteX12" fmla="*/ 12474 w 25193"/>
                  <a:gd name="connsiteY12" fmla="*/ 3844 h 28622"/>
                  <a:gd name="connsiteX13" fmla="*/ 7651 w 25193"/>
                  <a:gd name="connsiteY13" fmla="*/ 4994 h 28622"/>
                  <a:gd name="connsiteX14" fmla="*/ 5352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6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6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4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9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1" y="4994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40" name="Freihandform: Form 3039">
                <a:extLst>
                  <a:ext uri="{FF2B5EF4-FFF2-40B4-BE49-F238E27FC236}">
                    <a16:creationId xmlns:a16="http://schemas.microsoft.com/office/drawing/2014/main" id="{C99C8C9A-7DB9-AC05-E6E8-48D63831A3E8}"/>
                  </a:ext>
                </a:extLst>
              </p:cNvPr>
              <p:cNvSpPr/>
              <p:nvPr/>
            </p:nvSpPr>
            <p:spPr>
              <a:xfrm>
                <a:off x="5190149" y="3064861"/>
                <a:ext cx="23723" cy="38365"/>
              </a:xfrm>
              <a:custGeom>
                <a:avLst/>
                <a:gdLst>
                  <a:gd name="connsiteX0" fmla="*/ 19428 w 23723"/>
                  <a:gd name="connsiteY0" fmla="*/ 37743 h 38365"/>
                  <a:gd name="connsiteX1" fmla="*/ 19428 w 23723"/>
                  <a:gd name="connsiteY1" fmla="*/ 34295 h 38365"/>
                  <a:gd name="connsiteX2" fmla="*/ 11777 w 23723"/>
                  <a:gd name="connsiteY2" fmla="*/ 38365 h 38365"/>
                  <a:gd name="connsiteX3" fmla="*/ 5766 w 23723"/>
                  <a:gd name="connsiteY3" fmla="*/ 36556 h 38365"/>
                  <a:gd name="connsiteX4" fmla="*/ 1508 w 23723"/>
                  <a:gd name="connsiteY4" fmla="*/ 31525 h 38365"/>
                  <a:gd name="connsiteX5" fmla="*/ 0 w 23723"/>
                  <a:gd name="connsiteY5" fmla="*/ 24101 h 38365"/>
                  <a:gd name="connsiteX6" fmla="*/ 1357 w 23723"/>
                  <a:gd name="connsiteY6" fmla="*/ 16676 h 38365"/>
                  <a:gd name="connsiteX7" fmla="*/ 5446 w 23723"/>
                  <a:gd name="connsiteY7" fmla="*/ 11570 h 38365"/>
                  <a:gd name="connsiteX8" fmla="*/ 11551 w 23723"/>
                  <a:gd name="connsiteY8" fmla="*/ 9799 h 38365"/>
                  <a:gd name="connsiteX9" fmla="*/ 15961 w 23723"/>
                  <a:gd name="connsiteY9" fmla="*/ 10835 h 38365"/>
                  <a:gd name="connsiteX10" fmla="*/ 19107 w 23723"/>
                  <a:gd name="connsiteY10" fmla="*/ 13549 h 38365"/>
                  <a:gd name="connsiteX11" fmla="*/ 19107 w 23723"/>
                  <a:gd name="connsiteY11" fmla="*/ 0 h 38365"/>
                  <a:gd name="connsiteX12" fmla="*/ 23724 w 23723"/>
                  <a:gd name="connsiteY12" fmla="*/ 0 h 38365"/>
                  <a:gd name="connsiteX13" fmla="*/ 23724 w 23723"/>
                  <a:gd name="connsiteY13" fmla="*/ 37762 h 38365"/>
                  <a:gd name="connsiteX14" fmla="*/ 19428 w 23723"/>
                  <a:gd name="connsiteY14" fmla="*/ 37762 h 38365"/>
                  <a:gd name="connsiteX15" fmla="*/ 4767 w 23723"/>
                  <a:gd name="connsiteY15" fmla="*/ 24082 h 38365"/>
                  <a:gd name="connsiteX16" fmla="*/ 6991 w 23723"/>
                  <a:gd name="connsiteY16" fmla="*/ 31940 h 38365"/>
                  <a:gd name="connsiteX17" fmla="*/ 12229 w 23723"/>
                  <a:gd name="connsiteY17" fmla="*/ 34540 h 38365"/>
                  <a:gd name="connsiteX18" fmla="*/ 17392 w 23723"/>
                  <a:gd name="connsiteY18" fmla="*/ 32053 h 38365"/>
                  <a:gd name="connsiteX19" fmla="*/ 19522 w 23723"/>
                  <a:gd name="connsiteY19" fmla="*/ 24459 h 38365"/>
                  <a:gd name="connsiteX20" fmla="*/ 17355 w 23723"/>
                  <a:gd name="connsiteY20" fmla="*/ 16205 h 38365"/>
                  <a:gd name="connsiteX21" fmla="*/ 12022 w 23723"/>
                  <a:gd name="connsiteY21" fmla="*/ 13586 h 38365"/>
                  <a:gd name="connsiteX22" fmla="*/ 6859 w 23723"/>
                  <a:gd name="connsiteY22" fmla="*/ 16111 h 38365"/>
                  <a:gd name="connsiteX23" fmla="*/ 4786 w 23723"/>
                  <a:gd name="connsiteY23" fmla="*/ 24063 h 38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723" h="38365">
                    <a:moveTo>
                      <a:pt x="19428" y="37743"/>
                    </a:moveTo>
                    <a:lnTo>
                      <a:pt x="19428" y="34295"/>
                    </a:lnTo>
                    <a:cubicBezTo>
                      <a:pt x="17694" y="37008"/>
                      <a:pt x="15150" y="38365"/>
                      <a:pt x="11777" y="38365"/>
                    </a:cubicBezTo>
                    <a:cubicBezTo>
                      <a:pt x="9591" y="38365"/>
                      <a:pt x="7594" y="37762"/>
                      <a:pt x="5766" y="36556"/>
                    </a:cubicBezTo>
                    <a:cubicBezTo>
                      <a:pt x="3938" y="35350"/>
                      <a:pt x="2525" y="33673"/>
                      <a:pt x="1508" y="31525"/>
                    </a:cubicBezTo>
                    <a:cubicBezTo>
                      <a:pt x="490" y="29377"/>
                      <a:pt x="0" y="26890"/>
                      <a:pt x="0" y="24101"/>
                    </a:cubicBezTo>
                    <a:cubicBezTo>
                      <a:pt x="0" y="21312"/>
                      <a:pt x="452" y="18900"/>
                      <a:pt x="1357" y="16676"/>
                    </a:cubicBezTo>
                    <a:cubicBezTo>
                      <a:pt x="2261" y="14453"/>
                      <a:pt x="3637" y="12757"/>
                      <a:pt x="5446" y="11570"/>
                    </a:cubicBezTo>
                    <a:cubicBezTo>
                      <a:pt x="7274" y="10383"/>
                      <a:pt x="9309" y="9799"/>
                      <a:pt x="11551" y="9799"/>
                    </a:cubicBezTo>
                    <a:cubicBezTo>
                      <a:pt x="13209" y="9799"/>
                      <a:pt x="14660" y="10138"/>
                      <a:pt x="15961" y="10835"/>
                    </a:cubicBezTo>
                    <a:cubicBezTo>
                      <a:pt x="17261" y="11532"/>
                      <a:pt x="18297" y="12437"/>
                      <a:pt x="19107" y="13549"/>
                    </a:cubicBezTo>
                    <a:lnTo>
                      <a:pt x="19107" y="0"/>
                    </a:lnTo>
                    <a:lnTo>
                      <a:pt x="23724" y="0"/>
                    </a:lnTo>
                    <a:lnTo>
                      <a:pt x="23724" y="37762"/>
                    </a:lnTo>
                    <a:lnTo>
                      <a:pt x="19428" y="37762"/>
                    </a:lnTo>
                    <a:close/>
                    <a:moveTo>
                      <a:pt x="4767" y="24082"/>
                    </a:moveTo>
                    <a:cubicBezTo>
                      <a:pt x="4767" y="27587"/>
                      <a:pt x="5502" y="30206"/>
                      <a:pt x="6991" y="31940"/>
                    </a:cubicBezTo>
                    <a:cubicBezTo>
                      <a:pt x="8461" y="33673"/>
                      <a:pt x="10213" y="34540"/>
                      <a:pt x="12229" y="34540"/>
                    </a:cubicBezTo>
                    <a:cubicBezTo>
                      <a:pt x="14246" y="34540"/>
                      <a:pt x="15979" y="33711"/>
                      <a:pt x="17392" y="32053"/>
                    </a:cubicBezTo>
                    <a:cubicBezTo>
                      <a:pt x="18806" y="30394"/>
                      <a:pt x="19522" y="27869"/>
                      <a:pt x="19522" y="24459"/>
                    </a:cubicBezTo>
                    <a:cubicBezTo>
                      <a:pt x="19522" y="20709"/>
                      <a:pt x="18806" y="17958"/>
                      <a:pt x="17355" y="16205"/>
                    </a:cubicBezTo>
                    <a:cubicBezTo>
                      <a:pt x="15904" y="14453"/>
                      <a:pt x="14133" y="13586"/>
                      <a:pt x="12022" y="13586"/>
                    </a:cubicBezTo>
                    <a:cubicBezTo>
                      <a:pt x="9912" y="13586"/>
                      <a:pt x="8235" y="14434"/>
                      <a:pt x="6859" y="16111"/>
                    </a:cubicBezTo>
                    <a:cubicBezTo>
                      <a:pt x="5483" y="17788"/>
                      <a:pt x="4786" y="20445"/>
                      <a:pt x="4786" y="2406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41" name="Freihandform: Form 3040">
                <a:extLst>
                  <a:ext uri="{FF2B5EF4-FFF2-40B4-BE49-F238E27FC236}">
                    <a16:creationId xmlns:a16="http://schemas.microsoft.com/office/drawing/2014/main" id="{0D8353A8-2FB7-EF28-D1FD-76DF2BF7E2FA}"/>
                  </a:ext>
                </a:extLst>
              </p:cNvPr>
              <p:cNvSpPr/>
              <p:nvPr/>
            </p:nvSpPr>
            <p:spPr>
              <a:xfrm>
                <a:off x="5219432" y="3074641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6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1"/>
                      <a:pt x="20897" y="14151"/>
                    </a:cubicBezTo>
                    <a:cubicBezTo>
                      <a:pt x="20897" y="10759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42" name="Freihandform: Form 3041">
                <a:extLst>
                  <a:ext uri="{FF2B5EF4-FFF2-40B4-BE49-F238E27FC236}">
                    <a16:creationId xmlns:a16="http://schemas.microsoft.com/office/drawing/2014/main" id="{79F081A9-39EA-F409-9B04-EFB87BC1AFF5}"/>
                  </a:ext>
                </a:extLst>
              </p:cNvPr>
              <p:cNvSpPr/>
              <p:nvPr/>
            </p:nvSpPr>
            <p:spPr>
              <a:xfrm>
                <a:off x="5248658" y="3074660"/>
                <a:ext cx="22724" cy="28585"/>
              </a:xfrm>
              <a:custGeom>
                <a:avLst/>
                <a:gdLst>
                  <a:gd name="connsiteX0" fmla="*/ 0 w 22724"/>
                  <a:gd name="connsiteY0" fmla="*/ 19786 h 28585"/>
                  <a:gd name="connsiteX1" fmla="*/ 4579 w 22724"/>
                  <a:gd name="connsiteY1" fmla="*/ 19069 h 28585"/>
                  <a:gd name="connsiteX2" fmla="*/ 6727 w 22724"/>
                  <a:gd name="connsiteY2" fmla="*/ 23290 h 28585"/>
                  <a:gd name="connsiteX3" fmla="*/ 11664 w 22724"/>
                  <a:gd name="connsiteY3" fmla="*/ 24760 h 28585"/>
                  <a:gd name="connsiteX4" fmla="*/ 16413 w 22724"/>
                  <a:gd name="connsiteY4" fmla="*/ 23460 h 28585"/>
                  <a:gd name="connsiteX5" fmla="*/ 17958 w 22724"/>
                  <a:gd name="connsiteY5" fmla="*/ 20407 h 28585"/>
                  <a:gd name="connsiteX6" fmla="*/ 16601 w 22724"/>
                  <a:gd name="connsiteY6" fmla="*/ 17939 h 28585"/>
                  <a:gd name="connsiteX7" fmla="*/ 11853 w 22724"/>
                  <a:gd name="connsiteY7" fmla="*/ 16375 h 28585"/>
                  <a:gd name="connsiteX8" fmla="*/ 4786 w 22724"/>
                  <a:gd name="connsiteY8" fmla="*/ 14151 h 28585"/>
                  <a:gd name="connsiteX9" fmla="*/ 1790 w 22724"/>
                  <a:gd name="connsiteY9" fmla="*/ 11551 h 28585"/>
                  <a:gd name="connsiteX10" fmla="*/ 773 w 22724"/>
                  <a:gd name="connsiteY10" fmla="*/ 7876 h 28585"/>
                  <a:gd name="connsiteX11" fmla="*/ 1602 w 22724"/>
                  <a:gd name="connsiteY11" fmla="*/ 4485 h 28585"/>
                  <a:gd name="connsiteX12" fmla="*/ 3882 w 22724"/>
                  <a:gd name="connsiteY12" fmla="*/ 1903 h 28585"/>
                  <a:gd name="connsiteX13" fmla="*/ 6840 w 22724"/>
                  <a:gd name="connsiteY13" fmla="*/ 546 h 28585"/>
                  <a:gd name="connsiteX14" fmla="*/ 10854 w 22724"/>
                  <a:gd name="connsiteY14" fmla="*/ 0 h 28585"/>
                  <a:gd name="connsiteX15" fmla="*/ 16507 w 22724"/>
                  <a:gd name="connsiteY15" fmla="*/ 923 h 28585"/>
                  <a:gd name="connsiteX16" fmla="*/ 20106 w 22724"/>
                  <a:gd name="connsiteY16" fmla="*/ 3429 h 28585"/>
                  <a:gd name="connsiteX17" fmla="*/ 21708 w 22724"/>
                  <a:gd name="connsiteY17" fmla="*/ 7669 h 28585"/>
                  <a:gd name="connsiteX18" fmla="*/ 17166 w 22724"/>
                  <a:gd name="connsiteY18" fmla="*/ 8291 h 28585"/>
                  <a:gd name="connsiteX19" fmla="*/ 15376 w 22724"/>
                  <a:gd name="connsiteY19" fmla="*/ 4993 h 28585"/>
                  <a:gd name="connsiteX20" fmla="*/ 11193 w 22724"/>
                  <a:gd name="connsiteY20" fmla="*/ 3806 h 28585"/>
                  <a:gd name="connsiteX21" fmla="*/ 6633 w 22724"/>
                  <a:gd name="connsiteY21" fmla="*/ 4862 h 28585"/>
                  <a:gd name="connsiteX22" fmla="*/ 5276 w 22724"/>
                  <a:gd name="connsiteY22" fmla="*/ 7330 h 28585"/>
                  <a:gd name="connsiteX23" fmla="*/ 5841 w 22724"/>
                  <a:gd name="connsiteY23" fmla="*/ 8951 h 28585"/>
                  <a:gd name="connsiteX24" fmla="*/ 7613 w 22724"/>
                  <a:gd name="connsiteY24" fmla="*/ 10194 h 28585"/>
                  <a:gd name="connsiteX25" fmla="*/ 11702 w 22724"/>
                  <a:gd name="connsiteY25" fmla="*/ 11381 h 28585"/>
                  <a:gd name="connsiteX26" fmla="*/ 18561 w 22724"/>
                  <a:gd name="connsiteY26" fmla="*/ 13529 h 28585"/>
                  <a:gd name="connsiteX27" fmla="*/ 21613 w 22724"/>
                  <a:gd name="connsiteY27" fmla="*/ 15960 h 28585"/>
                  <a:gd name="connsiteX28" fmla="*/ 22725 w 22724"/>
                  <a:gd name="connsiteY28" fmla="*/ 19936 h 28585"/>
                  <a:gd name="connsiteX29" fmla="*/ 21368 w 22724"/>
                  <a:gd name="connsiteY29" fmla="*/ 24308 h 28585"/>
                  <a:gd name="connsiteX30" fmla="*/ 17468 w 22724"/>
                  <a:gd name="connsiteY30" fmla="*/ 27474 h 28585"/>
                  <a:gd name="connsiteX31" fmla="*/ 11702 w 22724"/>
                  <a:gd name="connsiteY31" fmla="*/ 28585 h 28585"/>
                  <a:gd name="connsiteX32" fmla="*/ 3580 w 22724"/>
                  <a:gd name="connsiteY32" fmla="*/ 26362 h 28585"/>
                  <a:gd name="connsiteX33" fmla="*/ 19 w 22724"/>
                  <a:gd name="connsiteY33" fmla="*/ 19786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2724" h="28585">
                    <a:moveTo>
                      <a:pt x="0" y="19786"/>
                    </a:moveTo>
                    <a:lnTo>
                      <a:pt x="4579" y="19069"/>
                    </a:lnTo>
                    <a:cubicBezTo>
                      <a:pt x="4843" y="20916"/>
                      <a:pt x="5559" y="22310"/>
                      <a:pt x="6727" y="23290"/>
                    </a:cubicBezTo>
                    <a:cubicBezTo>
                      <a:pt x="7895" y="24270"/>
                      <a:pt x="9553" y="24760"/>
                      <a:pt x="11664" y="24760"/>
                    </a:cubicBezTo>
                    <a:cubicBezTo>
                      <a:pt x="13774" y="24760"/>
                      <a:pt x="15376" y="24327"/>
                      <a:pt x="16413" y="23460"/>
                    </a:cubicBezTo>
                    <a:cubicBezTo>
                      <a:pt x="17449" y="22593"/>
                      <a:pt x="17958" y="21576"/>
                      <a:pt x="17958" y="20407"/>
                    </a:cubicBezTo>
                    <a:cubicBezTo>
                      <a:pt x="17958" y="19352"/>
                      <a:pt x="17506" y="18542"/>
                      <a:pt x="16601" y="17939"/>
                    </a:cubicBezTo>
                    <a:cubicBezTo>
                      <a:pt x="15960" y="17524"/>
                      <a:pt x="14378" y="16997"/>
                      <a:pt x="11853" y="16375"/>
                    </a:cubicBezTo>
                    <a:cubicBezTo>
                      <a:pt x="8461" y="15508"/>
                      <a:pt x="6086" y="14773"/>
                      <a:pt x="4786" y="14151"/>
                    </a:cubicBezTo>
                    <a:cubicBezTo>
                      <a:pt x="3486" y="13529"/>
                      <a:pt x="2468" y="12663"/>
                      <a:pt x="1790" y="11551"/>
                    </a:cubicBezTo>
                    <a:cubicBezTo>
                      <a:pt x="1112" y="10439"/>
                      <a:pt x="773" y="9214"/>
                      <a:pt x="773" y="7876"/>
                    </a:cubicBezTo>
                    <a:cubicBezTo>
                      <a:pt x="773" y="6652"/>
                      <a:pt x="1055" y="5521"/>
                      <a:pt x="1602" y="4485"/>
                    </a:cubicBezTo>
                    <a:cubicBezTo>
                      <a:pt x="2167" y="3448"/>
                      <a:pt x="2921" y="2582"/>
                      <a:pt x="3882" y="1903"/>
                    </a:cubicBezTo>
                    <a:cubicBezTo>
                      <a:pt x="4598" y="1376"/>
                      <a:pt x="5578" y="923"/>
                      <a:pt x="6840" y="546"/>
                    </a:cubicBezTo>
                    <a:cubicBezTo>
                      <a:pt x="8084" y="170"/>
                      <a:pt x="9422" y="0"/>
                      <a:pt x="10854" y="0"/>
                    </a:cubicBezTo>
                    <a:cubicBezTo>
                      <a:pt x="13002" y="0"/>
                      <a:pt x="14886" y="301"/>
                      <a:pt x="16507" y="923"/>
                    </a:cubicBezTo>
                    <a:cubicBezTo>
                      <a:pt x="18127" y="1545"/>
                      <a:pt x="19333" y="2374"/>
                      <a:pt x="20106" y="3429"/>
                    </a:cubicBezTo>
                    <a:cubicBezTo>
                      <a:pt x="20878" y="4485"/>
                      <a:pt x="21406" y="5898"/>
                      <a:pt x="21708" y="7669"/>
                    </a:cubicBezTo>
                    <a:lnTo>
                      <a:pt x="17166" y="8291"/>
                    </a:lnTo>
                    <a:cubicBezTo>
                      <a:pt x="16959" y="6878"/>
                      <a:pt x="16356" y="5785"/>
                      <a:pt x="15376" y="4993"/>
                    </a:cubicBezTo>
                    <a:cubicBezTo>
                      <a:pt x="14396" y="4202"/>
                      <a:pt x="13002" y="3806"/>
                      <a:pt x="11193" y="3806"/>
                    </a:cubicBezTo>
                    <a:cubicBezTo>
                      <a:pt x="9064" y="3806"/>
                      <a:pt x="7537" y="4164"/>
                      <a:pt x="6633" y="4862"/>
                    </a:cubicBezTo>
                    <a:cubicBezTo>
                      <a:pt x="5728" y="5559"/>
                      <a:pt x="5276" y="6388"/>
                      <a:pt x="5276" y="7330"/>
                    </a:cubicBezTo>
                    <a:cubicBezTo>
                      <a:pt x="5276" y="7933"/>
                      <a:pt x="5465" y="8480"/>
                      <a:pt x="5841" y="8951"/>
                    </a:cubicBezTo>
                    <a:cubicBezTo>
                      <a:pt x="6218" y="9441"/>
                      <a:pt x="6802" y="9855"/>
                      <a:pt x="7613" y="10194"/>
                    </a:cubicBezTo>
                    <a:cubicBezTo>
                      <a:pt x="8084" y="10364"/>
                      <a:pt x="9441" y="10759"/>
                      <a:pt x="11702" y="11381"/>
                    </a:cubicBezTo>
                    <a:cubicBezTo>
                      <a:pt x="14980" y="12248"/>
                      <a:pt x="17279" y="12983"/>
                      <a:pt x="18561" y="13529"/>
                    </a:cubicBezTo>
                    <a:cubicBezTo>
                      <a:pt x="19861" y="14095"/>
                      <a:pt x="20878" y="14905"/>
                      <a:pt x="21613" y="15960"/>
                    </a:cubicBezTo>
                    <a:cubicBezTo>
                      <a:pt x="22348" y="17034"/>
                      <a:pt x="22725" y="18353"/>
                      <a:pt x="22725" y="19936"/>
                    </a:cubicBezTo>
                    <a:cubicBezTo>
                      <a:pt x="22725" y="21519"/>
                      <a:pt x="22273" y="22932"/>
                      <a:pt x="21368" y="24308"/>
                    </a:cubicBezTo>
                    <a:cubicBezTo>
                      <a:pt x="20464" y="25684"/>
                      <a:pt x="19164" y="26739"/>
                      <a:pt x="17468" y="27474"/>
                    </a:cubicBezTo>
                    <a:cubicBezTo>
                      <a:pt x="15772" y="28208"/>
                      <a:pt x="13850" y="28585"/>
                      <a:pt x="11702" y="28585"/>
                    </a:cubicBezTo>
                    <a:cubicBezTo>
                      <a:pt x="8140" y="28585"/>
                      <a:pt x="5446" y="27850"/>
                      <a:pt x="3580" y="26362"/>
                    </a:cubicBezTo>
                    <a:cubicBezTo>
                      <a:pt x="1715" y="24892"/>
                      <a:pt x="528" y="22687"/>
                      <a:pt x="19" y="1978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80" name="Grafik 21">
              <a:extLst>
                <a:ext uri="{FF2B5EF4-FFF2-40B4-BE49-F238E27FC236}">
                  <a16:creationId xmlns:a16="http://schemas.microsoft.com/office/drawing/2014/main" id="{7433713C-7A85-AD37-72AC-8BA4C80CC294}"/>
                </a:ext>
              </a:extLst>
            </p:cNvPr>
            <p:cNvGrpSpPr/>
            <p:nvPr/>
          </p:nvGrpSpPr>
          <p:grpSpPr>
            <a:xfrm>
              <a:off x="4665022" y="3090564"/>
              <a:ext cx="200267" cy="39062"/>
              <a:chOff x="4665022" y="3090564"/>
              <a:chExt cx="200267" cy="39062"/>
            </a:xfrm>
            <a:solidFill>
              <a:srgbClr val="000000"/>
            </a:solidFill>
          </p:grpSpPr>
          <p:sp>
            <p:nvSpPr>
              <p:cNvPr id="3028" name="Freihandform: Form 3027">
                <a:extLst>
                  <a:ext uri="{FF2B5EF4-FFF2-40B4-BE49-F238E27FC236}">
                    <a16:creationId xmlns:a16="http://schemas.microsoft.com/office/drawing/2014/main" id="{02561DC9-2E9E-4E08-8F4A-4D5F73434632}"/>
                  </a:ext>
                </a:extLst>
              </p:cNvPr>
              <p:cNvSpPr/>
              <p:nvPr/>
            </p:nvSpPr>
            <p:spPr>
              <a:xfrm>
                <a:off x="4665022" y="3090564"/>
                <a:ext cx="34935" cy="39062"/>
              </a:xfrm>
              <a:custGeom>
                <a:avLst/>
                <a:gdLst>
                  <a:gd name="connsiteX0" fmla="*/ 18937 w 34935"/>
                  <a:gd name="connsiteY0" fmla="*/ 23611 h 39062"/>
                  <a:gd name="connsiteX1" fmla="*/ 18937 w 34935"/>
                  <a:gd name="connsiteY1" fmla="*/ 19183 h 39062"/>
                  <a:gd name="connsiteX2" fmla="*/ 34935 w 34935"/>
                  <a:gd name="connsiteY2" fmla="*/ 19183 h 39062"/>
                  <a:gd name="connsiteX3" fmla="*/ 34935 w 34935"/>
                  <a:gd name="connsiteY3" fmla="*/ 33164 h 39062"/>
                  <a:gd name="connsiteX4" fmla="*/ 27342 w 34935"/>
                  <a:gd name="connsiteY4" fmla="*/ 37574 h 39062"/>
                  <a:gd name="connsiteX5" fmla="*/ 19296 w 34935"/>
                  <a:gd name="connsiteY5" fmla="*/ 39062 h 39062"/>
                  <a:gd name="connsiteX6" fmla="*/ 9177 w 34935"/>
                  <a:gd name="connsiteY6" fmla="*/ 36688 h 39062"/>
                  <a:gd name="connsiteX7" fmla="*/ 2318 w 34935"/>
                  <a:gd name="connsiteY7" fmla="*/ 29791 h 39062"/>
                  <a:gd name="connsiteX8" fmla="*/ 0 w 34935"/>
                  <a:gd name="connsiteY8" fmla="*/ 19710 h 39062"/>
                  <a:gd name="connsiteX9" fmla="*/ 2299 w 34935"/>
                  <a:gd name="connsiteY9" fmla="*/ 9422 h 39062"/>
                  <a:gd name="connsiteX10" fmla="*/ 8932 w 34935"/>
                  <a:gd name="connsiteY10" fmla="*/ 2318 h 39062"/>
                  <a:gd name="connsiteX11" fmla="*/ 18900 w 34935"/>
                  <a:gd name="connsiteY11" fmla="*/ 0 h 39062"/>
                  <a:gd name="connsiteX12" fmla="*/ 26305 w 34935"/>
                  <a:gd name="connsiteY12" fmla="*/ 1319 h 39062"/>
                  <a:gd name="connsiteX13" fmla="*/ 31487 w 34935"/>
                  <a:gd name="connsiteY13" fmla="*/ 5012 h 39062"/>
                  <a:gd name="connsiteX14" fmla="*/ 34351 w 34935"/>
                  <a:gd name="connsiteY14" fmla="*/ 11193 h 39062"/>
                  <a:gd name="connsiteX15" fmla="*/ 29848 w 34935"/>
                  <a:gd name="connsiteY15" fmla="*/ 12437 h 39062"/>
                  <a:gd name="connsiteX16" fmla="*/ 27737 w 34935"/>
                  <a:gd name="connsiteY16" fmla="*/ 7895 h 39062"/>
                  <a:gd name="connsiteX17" fmla="*/ 24138 w 34935"/>
                  <a:gd name="connsiteY17" fmla="*/ 5257 h 39062"/>
                  <a:gd name="connsiteX18" fmla="*/ 18937 w 34935"/>
                  <a:gd name="connsiteY18" fmla="*/ 4259 h 39062"/>
                  <a:gd name="connsiteX19" fmla="*/ 13021 w 34935"/>
                  <a:gd name="connsiteY19" fmla="*/ 5295 h 39062"/>
                  <a:gd name="connsiteX20" fmla="*/ 8988 w 34935"/>
                  <a:gd name="connsiteY20" fmla="*/ 8046 h 39062"/>
                  <a:gd name="connsiteX21" fmla="*/ 6614 w 34935"/>
                  <a:gd name="connsiteY21" fmla="*/ 11777 h 39062"/>
                  <a:gd name="connsiteX22" fmla="*/ 5163 w 34935"/>
                  <a:gd name="connsiteY22" fmla="*/ 19371 h 39062"/>
                  <a:gd name="connsiteX23" fmla="*/ 6897 w 34935"/>
                  <a:gd name="connsiteY23" fmla="*/ 27813 h 39062"/>
                  <a:gd name="connsiteX24" fmla="*/ 11965 w 34935"/>
                  <a:gd name="connsiteY24" fmla="*/ 32863 h 39062"/>
                  <a:gd name="connsiteX25" fmla="*/ 19032 w 34935"/>
                  <a:gd name="connsiteY25" fmla="*/ 34521 h 39062"/>
                  <a:gd name="connsiteX26" fmla="*/ 25363 w 34935"/>
                  <a:gd name="connsiteY26" fmla="*/ 33277 h 39062"/>
                  <a:gd name="connsiteX27" fmla="*/ 30055 w 34935"/>
                  <a:gd name="connsiteY27" fmla="*/ 30602 h 39062"/>
                  <a:gd name="connsiteX28" fmla="*/ 30055 w 34935"/>
                  <a:gd name="connsiteY28" fmla="*/ 23573 h 39062"/>
                  <a:gd name="connsiteX29" fmla="*/ 18956 w 34935"/>
                  <a:gd name="connsiteY29" fmla="*/ 23573 h 39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34935" h="39062">
                    <a:moveTo>
                      <a:pt x="18937" y="23611"/>
                    </a:moveTo>
                    <a:lnTo>
                      <a:pt x="18937" y="19183"/>
                    </a:lnTo>
                    <a:lnTo>
                      <a:pt x="34935" y="19183"/>
                    </a:lnTo>
                    <a:cubicBezTo>
                      <a:pt x="34935" y="19183"/>
                      <a:pt x="34935" y="33164"/>
                      <a:pt x="34935" y="33164"/>
                    </a:cubicBezTo>
                    <a:cubicBezTo>
                      <a:pt x="32486" y="35124"/>
                      <a:pt x="29942" y="36594"/>
                      <a:pt x="27342" y="37574"/>
                    </a:cubicBezTo>
                    <a:cubicBezTo>
                      <a:pt x="24722" y="38553"/>
                      <a:pt x="22047" y="39062"/>
                      <a:pt x="19296" y="39062"/>
                    </a:cubicBezTo>
                    <a:cubicBezTo>
                      <a:pt x="15584" y="39062"/>
                      <a:pt x="12210" y="38271"/>
                      <a:pt x="9177" y="36688"/>
                    </a:cubicBezTo>
                    <a:cubicBezTo>
                      <a:pt x="6143" y="35105"/>
                      <a:pt x="3863" y="32806"/>
                      <a:pt x="2318" y="29791"/>
                    </a:cubicBezTo>
                    <a:cubicBezTo>
                      <a:pt x="772" y="26776"/>
                      <a:pt x="0" y="23422"/>
                      <a:pt x="0" y="19710"/>
                    </a:cubicBezTo>
                    <a:cubicBezTo>
                      <a:pt x="0" y="15998"/>
                      <a:pt x="772" y="12606"/>
                      <a:pt x="2299" y="9422"/>
                    </a:cubicBezTo>
                    <a:cubicBezTo>
                      <a:pt x="3844" y="6237"/>
                      <a:pt x="6049" y="3863"/>
                      <a:pt x="8932" y="2318"/>
                    </a:cubicBezTo>
                    <a:cubicBezTo>
                      <a:pt x="11815" y="773"/>
                      <a:pt x="15131" y="0"/>
                      <a:pt x="18900" y="0"/>
                    </a:cubicBezTo>
                    <a:cubicBezTo>
                      <a:pt x="21632" y="0"/>
                      <a:pt x="24101" y="433"/>
                      <a:pt x="26305" y="1319"/>
                    </a:cubicBezTo>
                    <a:cubicBezTo>
                      <a:pt x="28510" y="2205"/>
                      <a:pt x="30243" y="3430"/>
                      <a:pt x="31487" y="5012"/>
                    </a:cubicBezTo>
                    <a:cubicBezTo>
                      <a:pt x="32750" y="6595"/>
                      <a:pt x="33692" y="8649"/>
                      <a:pt x="34351" y="11193"/>
                    </a:cubicBezTo>
                    <a:lnTo>
                      <a:pt x="29848" y="12437"/>
                    </a:lnTo>
                    <a:cubicBezTo>
                      <a:pt x="29282" y="10515"/>
                      <a:pt x="28585" y="9007"/>
                      <a:pt x="27737" y="7895"/>
                    </a:cubicBezTo>
                    <a:cubicBezTo>
                      <a:pt x="26890" y="6802"/>
                      <a:pt x="25702" y="5917"/>
                      <a:pt x="24138" y="5257"/>
                    </a:cubicBezTo>
                    <a:cubicBezTo>
                      <a:pt x="22574" y="4598"/>
                      <a:pt x="20841" y="4259"/>
                      <a:pt x="18937" y="4259"/>
                    </a:cubicBezTo>
                    <a:cubicBezTo>
                      <a:pt x="16657" y="4259"/>
                      <a:pt x="14679" y="4598"/>
                      <a:pt x="13021" y="5295"/>
                    </a:cubicBezTo>
                    <a:cubicBezTo>
                      <a:pt x="11362" y="5992"/>
                      <a:pt x="10006" y="6897"/>
                      <a:pt x="8988" y="8046"/>
                    </a:cubicBezTo>
                    <a:cubicBezTo>
                      <a:pt x="7971" y="9177"/>
                      <a:pt x="7179" y="10420"/>
                      <a:pt x="6614" y="11777"/>
                    </a:cubicBezTo>
                    <a:cubicBezTo>
                      <a:pt x="5653" y="14114"/>
                      <a:pt x="5163" y="16639"/>
                      <a:pt x="5163" y="19371"/>
                    </a:cubicBezTo>
                    <a:cubicBezTo>
                      <a:pt x="5163" y="22744"/>
                      <a:pt x="5747" y="25552"/>
                      <a:pt x="6897" y="27813"/>
                    </a:cubicBezTo>
                    <a:cubicBezTo>
                      <a:pt x="8046" y="30074"/>
                      <a:pt x="9742" y="31770"/>
                      <a:pt x="11965" y="32863"/>
                    </a:cubicBezTo>
                    <a:cubicBezTo>
                      <a:pt x="14189" y="33956"/>
                      <a:pt x="16526" y="34521"/>
                      <a:pt x="19032" y="34521"/>
                    </a:cubicBezTo>
                    <a:cubicBezTo>
                      <a:pt x="21199" y="34521"/>
                      <a:pt x="23309" y="34106"/>
                      <a:pt x="25363" y="33277"/>
                    </a:cubicBezTo>
                    <a:cubicBezTo>
                      <a:pt x="27417" y="32448"/>
                      <a:pt x="28981" y="31563"/>
                      <a:pt x="30055" y="30602"/>
                    </a:cubicBezTo>
                    <a:lnTo>
                      <a:pt x="30055" y="23573"/>
                    </a:lnTo>
                    <a:lnTo>
                      <a:pt x="18956" y="2357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29" name="Freihandform: Form 3028">
                <a:extLst>
                  <a:ext uri="{FF2B5EF4-FFF2-40B4-BE49-F238E27FC236}">
                    <a16:creationId xmlns:a16="http://schemas.microsoft.com/office/drawing/2014/main" id="{833F21B2-A935-AA28-38A8-85353C1D4F12}"/>
                  </a:ext>
                </a:extLst>
              </p:cNvPr>
              <p:cNvSpPr/>
              <p:nvPr/>
            </p:nvSpPr>
            <p:spPr>
              <a:xfrm>
                <a:off x="4706685" y="3101003"/>
                <a:ext cx="14867" cy="27982"/>
              </a:xfrm>
              <a:custGeom>
                <a:avLst/>
                <a:gdLst>
                  <a:gd name="connsiteX0" fmla="*/ 0 w 14867"/>
                  <a:gd name="connsiteY0" fmla="*/ 27982 h 27982"/>
                  <a:gd name="connsiteX1" fmla="*/ 0 w 14867"/>
                  <a:gd name="connsiteY1" fmla="*/ 622 h 27982"/>
                  <a:gd name="connsiteX2" fmla="*/ 4164 w 14867"/>
                  <a:gd name="connsiteY2" fmla="*/ 622 h 27982"/>
                  <a:gd name="connsiteX3" fmla="*/ 4164 w 14867"/>
                  <a:gd name="connsiteY3" fmla="*/ 4767 h 27982"/>
                  <a:gd name="connsiteX4" fmla="*/ 7123 w 14867"/>
                  <a:gd name="connsiteY4" fmla="*/ 923 h 27982"/>
                  <a:gd name="connsiteX5" fmla="*/ 10100 w 14867"/>
                  <a:gd name="connsiteY5" fmla="*/ 0 h 27982"/>
                  <a:gd name="connsiteX6" fmla="*/ 14867 w 14867"/>
                  <a:gd name="connsiteY6" fmla="*/ 1488 h 27982"/>
                  <a:gd name="connsiteX7" fmla="*/ 13266 w 14867"/>
                  <a:gd name="connsiteY7" fmla="*/ 5785 h 27982"/>
                  <a:gd name="connsiteX8" fmla="*/ 9874 w 14867"/>
                  <a:gd name="connsiteY8" fmla="*/ 4786 h 27982"/>
                  <a:gd name="connsiteX9" fmla="*/ 7142 w 14867"/>
                  <a:gd name="connsiteY9" fmla="*/ 5710 h 27982"/>
                  <a:gd name="connsiteX10" fmla="*/ 5408 w 14867"/>
                  <a:gd name="connsiteY10" fmla="*/ 8253 h 27982"/>
                  <a:gd name="connsiteX11" fmla="*/ 4635 w 14867"/>
                  <a:gd name="connsiteY11" fmla="*/ 13661 h 27982"/>
                  <a:gd name="connsiteX12" fmla="*/ 4635 w 14867"/>
                  <a:gd name="connsiteY12" fmla="*/ 27982 h 27982"/>
                  <a:gd name="connsiteX13" fmla="*/ 0 w 14867"/>
                  <a:gd name="connsiteY13" fmla="*/ 27982 h 2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67" h="27982">
                    <a:moveTo>
                      <a:pt x="0" y="27982"/>
                    </a:moveTo>
                    <a:lnTo>
                      <a:pt x="0" y="622"/>
                    </a:lnTo>
                    <a:lnTo>
                      <a:pt x="4164" y="622"/>
                    </a:lnTo>
                    <a:lnTo>
                      <a:pt x="4164" y="4767"/>
                    </a:lnTo>
                    <a:cubicBezTo>
                      <a:pt x="5220" y="2827"/>
                      <a:pt x="6218" y="1545"/>
                      <a:pt x="7123" y="923"/>
                    </a:cubicBezTo>
                    <a:cubicBezTo>
                      <a:pt x="8027" y="302"/>
                      <a:pt x="9007" y="0"/>
                      <a:pt x="10100" y="0"/>
                    </a:cubicBezTo>
                    <a:cubicBezTo>
                      <a:pt x="11664" y="0"/>
                      <a:pt x="13247" y="490"/>
                      <a:pt x="14867" y="1488"/>
                    </a:cubicBezTo>
                    <a:lnTo>
                      <a:pt x="13266" y="5785"/>
                    </a:lnTo>
                    <a:cubicBezTo>
                      <a:pt x="12135" y="5106"/>
                      <a:pt x="11004" y="4786"/>
                      <a:pt x="9874" y="4786"/>
                    </a:cubicBezTo>
                    <a:cubicBezTo>
                      <a:pt x="8856" y="4786"/>
                      <a:pt x="7952" y="5088"/>
                      <a:pt x="7142" y="5710"/>
                    </a:cubicBezTo>
                    <a:cubicBezTo>
                      <a:pt x="6331" y="6312"/>
                      <a:pt x="5766" y="7160"/>
                      <a:pt x="5408" y="8253"/>
                    </a:cubicBezTo>
                    <a:cubicBezTo>
                      <a:pt x="4899" y="9912"/>
                      <a:pt x="4635" y="11702"/>
                      <a:pt x="4635" y="13661"/>
                    </a:cubicBezTo>
                    <a:lnTo>
                      <a:pt x="4635" y="27982"/>
                    </a:lnTo>
                    <a:lnTo>
                      <a:pt x="0" y="2798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30" name="Freihandform: Form 3029">
                <a:extLst>
                  <a:ext uri="{FF2B5EF4-FFF2-40B4-BE49-F238E27FC236}">
                    <a16:creationId xmlns:a16="http://schemas.microsoft.com/office/drawing/2014/main" id="{35217933-A16C-51FA-7DAF-A3F5B90B9F26}"/>
                  </a:ext>
                </a:extLst>
              </p:cNvPr>
              <p:cNvSpPr/>
              <p:nvPr/>
            </p:nvSpPr>
            <p:spPr>
              <a:xfrm>
                <a:off x="4722739" y="3101003"/>
                <a:ext cx="25231" cy="28585"/>
              </a:xfrm>
              <a:custGeom>
                <a:avLst/>
                <a:gdLst>
                  <a:gd name="connsiteX0" fmla="*/ 20294 w 25231"/>
                  <a:gd name="connsiteY0" fmla="*/ 19164 h 28585"/>
                  <a:gd name="connsiteX1" fmla="*/ 25080 w 25231"/>
                  <a:gd name="connsiteY1" fmla="*/ 19748 h 28585"/>
                  <a:gd name="connsiteX2" fmla="*/ 20878 w 25231"/>
                  <a:gd name="connsiteY2" fmla="*/ 26268 h 28585"/>
                  <a:gd name="connsiteX3" fmla="*/ 13039 w 25231"/>
                  <a:gd name="connsiteY3" fmla="*/ 28585 h 28585"/>
                  <a:gd name="connsiteX4" fmla="*/ 3524 w 25231"/>
                  <a:gd name="connsiteY4" fmla="*/ 24892 h 28585"/>
                  <a:gd name="connsiteX5" fmla="*/ 0 w 25231"/>
                  <a:gd name="connsiteY5" fmla="*/ 14528 h 28585"/>
                  <a:gd name="connsiteX6" fmla="*/ 3561 w 25231"/>
                  <a:gd name="connsiteY6" fmla="*/ 3806 h 28585"/>
                  <a:gd name="connsiteX7" fmla="*/ 12776 w 25231"/>
                  <a:gd name="connsiteY7" fmla="*/ 0 h 28585"/>
                  <a:gd name="connsiteX8" fmla="*/ 21745 w 25231"/>
                  <a:gd name="connsiteY8" fmla="*/ 3731 h 28585"/>
                  <a:gd name="connsiteX9" fmla="*/ 25231 w 25231"/>
                  <a:gd name="connsiteY9" fmla="*/ 14245 h 28585"/>
                  <a:gd name="connsiteX10" fmla="*/ 25212 w 25231"/>
                  <a:gd name="connsiteY10" fmla="*/ 15489 h 28585"/>
                  <a:gd name="connsiteX11" fmla="*/ 4805 w 25231"/>
                  <a:gd name="connsiteY11" fmla="*/ 15489 h 28585"/>
                  <a:gd name="connsiteX12" fmla="*/ 7349 w 25231"/>
                  <a:gd name="connsiteY12" fmla="*/ 22386 h 28585"/>
                  <a:gd name="connsiteX13" fmla="*/ 13077 w 25231"/>
                  <a:gd name="connsiteY13" fmla="*/ 24779 h 28585"/>
                  <a:gd name="connsiteX14" fmla="*/ 17430 w 25231"/>
                  <a:gd name="connsiteY14" fmla="*/ 23441 h 28585"/>
                  <a:gd name="connsiteX15" fmla="*/ 20294 w 25231"/>
                  <a:gd name="connsiteY15" fmla="*/ 19164 h 28585"/>
                  <a:gd name="connsiteX16" fmla="*/ 5069 w 25231"/>
                  <a:gd name="connsiteY16" fmla="*/ 11664 h 28585"/>
                  <a:gd name="connsiteX17" fmla="*/ 20351 w 25231"/>
                  <a:gd name="connsiteY17" fmla="*/ 11664 h 28585"/>
                  <a:gd name="connsiteX18" fmla="*/ 18598 w 25231"/>
                  <a:gd name="connsiteY18" fmla="*/ 6482 h 28585"/>
                  <a:gd name="connsiteX19" fmla="*/ 12851 w 25231"/>
                  <a:gd name="connsiteY19" fmla="*/ 3806 h 28585"/>
                  <a:gd name="connsiteX20" fmla="*/ 7481 w 25231"/>
                  <a:gd name="connsiteY20" fmla="*/ 5936 h 28585"/>
                  <a:gd name="connsiteX21" fmla="*/ 5069 w 25231"/>
                  <a:gd name="connsiteY21" fmla="*/ 11664 h 285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5231" h="28585">
                    <a:moveTo>
                      <a:pt x="20294" y="19164"/>
                    </a:moveTo>
                    <a:lnTo>
                      <a:pt x="25080" y="19748"/>
                    </a:lnTo>
                    <a:cubicBezTo>
                      <a:pt x="24327" y="22555"/>
                      <a:pt x="22932" y="24722"/>
                      <a:pt x="20878" y="26268"/>
                    </a:cubicBezTo>
                    <a:cubicBezTo>
                      <a:pt x="18843" y="27813"/>
                      <a:pt x="16224" y="28585"/>
                      <a:pt x="13039" y="28585"/>
                    </a:cubicBezTo>
                    <a:cubicBezTo>
                      <a:pt x="9045" y="28585"/>
                      <a:pt x="5860" y="27361"/>
                      <a:pt x="3524" y="24892"/>
                    </a:cubicBezTo>
                    <a:cubicBezTo>
                      <a:pt x="1187" y="22424"/>
                      <a:pt x="0" y="18975"/>
                      <a:pt x="0" y="14528"/>
                    </a:cubicBezTo>
                    <a:cubicBezTo>
                      <a:pt x="0" y="10081"/>
                      <a:pt x="1187" y="6350"/>
                      <a:pt x="3561" y="3806"/>
                    </a:cubicBezTo>
                    <a:cubicBezTo>
                      <a:pt x="5935" y="1262"/>
                      <a:pt x="9007" y="0"/>
                      <a:pt x="12776" y="0"/>
                    </a:cubicBezTo>
                    <a:cubicBezTo>
                      <a:pt x="16544" y="0"/>
                      <a:pt x="19427" y="1244"/>
                      <a:pt x="21745" y="3731"/>
                    </a:cubicBezTo>
                    <a:cubicBezTo>
                      <a:pt x="24063" y="6218"/>
                      <a:pt x="25231" y="9723"/>
                      <a:pt x="25231" y="14245"/>
                    </a:cubicBezTo>
                    <a:cubicBezTo>
                      <a:pt x="25231" y="14528"/>
                      <a:pt x="25231" y="14924"/>
                      <a:pt x="25212" y="15489"/>
                    </a:cubicBezTo>
                    <a:lnTo>
                      <a:pt x="4805" y="15489"/>
                    </a:lnTo>
                    <a:cubicBezTo>
                      <a:pt x="4975" y="18485"/>
                      <a:pt x="5823" y="20803"/>
                      <a:pt x="7349" y="22386"/>
                    </a:cubicBezTo>
                    <a:cubicBezTo>
                      <a:pt x="8875" y="23988"/>
                      <a:pt x="10778" y="24779"/>
                      <a:pt x="13077" y="24779"/>
                    </a:cubicBezTo>
                    <a:cubicBezTo>
                      <a:pt x="14773" y="24779"/>
                      <a:pt x="16224" y="24327"/>
                      <a:pt x="17430" y="23441"/>
                    </a:cubicBezTo>
                    <a:cubicBezTo>
                      <a:pt x="18636" y="22555"/>
                      <a:pt x="19578" y="21123"/>
                      <a:pt x="20294" y="19164"/>
                    </a:cubicBezTo>
                    <a:close/>
                    <a:moveTo>
                      <a:pt x="5069" y="11664"/>
                    </a:moveTo>
                    <a:lnTo>
                      <a:pt x="20351" y="11664"/>
                    </a:lnTo>
                    <a:cubicBezTo>
                      <a:pt x="20143" y="9365"/>
                      <a:pt x="19559" y="7631"/>
                      <a:pt x="18598" y="6482"/>
                    </a:cubicBezTo>
                    <a:cubicBezTo>
                      <a:pt x="17129" y="4692"/>
                      <a:pt x="15207" y="3806"/>
                      <a:pt x="12851" y="3806"/>
                    </a:cubicBezTo>
                    <a:cubicBezTo>
                      <a:pt x="10722" y="3806"/>
                      <a:pt x="8932" y="4522"/>
                      <a:pt x="7481" y="5936"/>
                    </a:cubicBezTo>
                    <a:cubicBezTo>
                      <a:pt x="6030" y="7368"/>
                      <a:pt x="5220" y="9271"/>
                      <a:pt x="5069" y="11664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31" name="Freihandform: Form 3030">
                <a:extLst>
                  <a:ext uri="{FF2B5EF4-FFF2-40B4-BE49-F238E27FC236}">
                    <a16:creationId xmlns:a16="http://schemas.microsoft.com/office/drawing/2014/main" id="{693EFED4-6EE9-4845-27B3-ECBCBA38238B}"/>
                  </a:ext>
                </a:extLst>
              </p:cNvPr>
              <p:cNvSpPr/>
              <p:nvPr/>
            </p:nvSpPr>
            <p:spPr>
              <a:xfrm>
                <a:off x="4753642" y="3101003"/>
                <a:ext cx="22235" cy="28001"/>
              </a:xfrm>
              <a:custGeom>
                <a:avLst/>
                <a:gdLst>
                  <a:gd name="connsiteX0" fmla="*/ 0 w 22235"/>
                  <a:gd name="connsiteY0" fmla="*/ 27982 h 28001"/>
                  <a:gd name="connsiteX1" fmla="*/ 0 w 22235"/>
                  <a:gd name="connsiteY1" fmla="*/ 622 h 28001"/>
                  <a:gd name="connsiteX2" fmla="*/ 4165 w 22235"/>
                  <a:gd name="connsiteY2" fmla="*/ 622 h 28001"/>
                  <a:gd name="connsiteX3" fmla="*/ 4165 w 22235"/>
                  <a:gd name="connsiteY3" fmla="*/ 4504 h 28001"/>
                  <a:gd name="connsiteX4" fmla="*/ 12870 w 22235"/>
                  <a:gd name="connsiteY4" fmla="*/ 0 h 28001"/>
                  <a:gd name="connsiteX5" fmla="*/ 17411 w 22235"/>
                  <a:gd name="connsiteY5" fmla="*/ 886 h 28001"/>
                  <a:gd name="connsiteX6" fmla="*/ 20520 w 22235"/>
                  <a:gd name="connsiteY6" fmla="*/ 3222 h 28001"/>
                  <a:gd name="connsiteX7" fmla="*/ 21971 w 22235"/>
                  <a:gd name="connsiteY7" fmla="*/ 6652 h 28001"/>
                  <a:gd name="connsiteX8" fmla="*/ 22235 w 22235"/>
                  <a:gd name="connsiteY8" fmla="*/ 11155 h 28001"/>
                  <a:gd name="connsiteX9" fmla="*/ 22235 w 22235"/>
                  <a:gd name="connsiteY9" fmla="*/ 27982 h 28001"/>
                  <a:gd name="connsiteX10" fmla="*/ 17600 w 22235"/>
                  <a:gd name="connsiteY10" fmla="*/ 27982 h 28001"/>
                  <a:gd name="connsiteX11" fmla="*/ 17600 w 22235"/>
                  <a:gd name="connsiteY11" fmla="*/ 11344 h 28001"/>
                  <a:gd name="connsiteX12" fmla="*/ 17053 w 22235"/>
                  <a:gd name="connsiteY12" fmla="*/ 7104 h 28001"/>
                  <a:gd name="connsiteX13" fmla="*/ 15131 w 22235"/>
                  <a:gd name="connsiteY13" fmla="*/ 4862 h 28001"/>
                  <a:gd name="connsiteX14" fmla="*/ 11890 w 22235"/>
                  <a:gd name="connsiteY14" fmla="*/ 4033 h 28001"/>
                  <a:gd name="connsiteX15" fmla="*/ 6784 w 22235"/>
                  <a:gd name="connsiteY15" fmla="*/ 5917 h 28001"/>
                  <a:gd name="connsiteX16" fmla="*/ 4636 w 22235"/>
                  <a:gd name="connsiteY16" fmla="*/ 13058 h 28001"/>
                  <a:gd name="connsiteX17" fmla="*/ 4636 w 22235"/>
                  <a:gd name="connsiteY17" fmla="*/ 28001 h 28001"/>
                  <a:gd name="connsiteX18" fmla="*/ 0 w 22235"/>
                  <a:gd name="connsiteY18" fmla="*/ 28001 h 28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235" h="28001">
                    <a:moveTo>
                      <a:pt x="0" y="27982"/>
                    </a:moveTo>
                    <a:lnTo>
                      <a:pt x="0" y="622"/>
                    </a:lnTo>
                    <a:lnTo>
                      <a:pt x="4165" y="622"/>
                    </a:lnTo>
                    <a:lnTo>
                      <a:pt x="4165" y="4504"/>
                    </a:lnTo>
                    <a:cubicBezTo>
                      <a:pt x="6181" y="1507"/>
                      <a:pt x="9083" y="0"/>
                      <a:pt x="12870" y="0"/>
                    </a:cubicBezTo>
                    <a:cubicBezTo>
                      <a:pt x="14528" y="0"/>
                      <a:pt x="16036" y="302"/>
                      <a:pt x="17411" y="886"/>
                    </a:cubicBezTo>
                    <a:cubicBezTo>
                      <a:pt x="18787" y="1470"/>
                      <a:pt x="19823" y="2261"/>
                      <a:pt x="20520" y="3222"/>
                    </a:cubicBezTo>
                    <a:cubicBezTo>
                      <a:pt x="21199" y="4183"/>
                      <a:pt x="21689" y="5333"/>
                      <a:pt x="21971" y="6652"/>
                    </a:cubicBezTo>
                    <a:cubicBezTo>
                      <a:pt x="22141" y="7518"/>
                      <a:pt x="22235" y="9007"/>
                      <a:pt x="22235" y="11155"/>
                    </a:cubicBezTo>
                    <a:lnTo>
                      <a:pt x="22235" y="27982"/>
                    </a:lnTo>
                    <a:lnTo>
                      <a:pt x="17600" y="27982"/>
                    </a:lnTo>
                    <a:lnTo>
                      <a:pt x="17600" y="11344"/>
                    </a:lnTo>
                    <a:cubicBezTo>
                      <a:pt x="17600" y="9459"/>
                      <a:pt x="17411" y="8046"/>
                      <a:pt x="17053" y="7104"/>
                    </a:cubicBezTo>
                    <a:cubicBezTo>
                      <a:pt x="16695" y="6162"/>
                      <a:pt x="16055" y="5427"/>
                      <a:pt x="15131" y="4862"/>
                    </a:cubicBezTo>
                    <a:cubicBezTo>
                      <a:pt x="14208" y="4296"/>
                      <a:pt x="13134" y="4033"/>
                      <a:pt x="11890" y="4033"/>
                    </a:cubicBezTo>
                    <a:cubicBezTo>
                      <a:pt x="9912" y="4033"/>
                      <a:pt x="8216" y="4654"/>
                      <a:pt x="6784" y="5917"/>
                    </a:cubicBezTo>
                    <a:cubicBezTo>
                      <a:pt x="5352" y="7179"/>
                      <a:pt x="4636" y="9553"/>
                      <a:pt x="4636" y="13058"/>
                    </a:cubicBezTo>
                    <a:lnTo>
                      <a:pt x="4636" y="28001"/>
                    </a:lnTo>
                    <a:lnTo>
                      <a:pt x="0" y="2800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32" name="Freihandform: Form 3031">
                <a:extLst>
                  <a:ext uri="{FF2B5EF4-FFF2-40B4-BE49-F238E27FC236}">
                    <a16:creationId xmlns:a16="http://schemas.microsoft.com/office/drawing/2014/main" id="{A1785297-007E-374B-DE87-EE2FB11BEF0B}"/>
                  </a:ext>
                </a:extLst>
              </p:cNvPr>
              <p:cNvSpPr/>
              <p:nvPr/>
            </p:nvSpPr>
            <p:spPr>
              <a:xfrm>
                <a:off x="4781418" y="3100984"/>
                <a:ext cx="25193" cy="28622"/>
              </a:xfrm>
              <a:custGeom>
                <a:avLst/>
                <a:gdLst>
                  <a:gd name="connsiteX0" fmla="*/ 19427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7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7" y="24628"/>
                    </a:moveTo>
                    <a:cubicBezTo>
                      <a:pt x="17713" y="26079"/>
                      <a:pt x="16054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1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7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7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33" name="Freihandform: Form 3032">
                <a:extLst>
                  <a:ext uri="{FF2B5EF4-FFF2-40B4-BE49-F238E27FC236}">
                    <a16:creationId xmlns:a16="http://schemas.microsoft.com/office/drawing/2014/main" id="{C3A6FCBE-AC79-84F7-5B30-20F7AF7283C0}"/>
                  </a:ext>
                </a:extLst>
              </p:cNvPr>
              <p:cNvSpPr/>
              <p:nvPr/>
            </p:nvSpPr>
            <p:spPr>
              <a:xfrm>
                <a:off x="4810662" y="3091242"/>
                <a:ext cx="23723" cy="38365"/>
              </a:xfrm>
              <a:custGeom>
                <a:avLst/>
                <a:gdLst>
                  <a:gd name="connsiteX0" fmla="*/ 19428 w 23723"/>
                  <a:gd name="connsiteY0" fmla="*/ 37743 h 38365"/>
                  <a:gd name="connsiteX1" fmla="*/ 19428 w 23723"/>
                  <a:gd name="connsiteY1" fmla="*/ 34295 h 38365"/>
                  <a:gd name="connsiteX2" fmla="*/ 11777 w 23723"/>
                  <a:gd name="connsiteY2" fmla="*/ 38365 h 38365"/>
                  <a:gd name="connsiteX3" fmla="*/ 5766 w 23723"/>
                  <a:gd name="connsiteY3" fmla="*/ 36556 h 38365"/>
                  <a:gd name="connsiteX4" fmla="*/ 1508 w 23723"/>
                  <a:gd name="connsiteY4" fmla="*/ 31525 h 38365"/>
                  <a:gd name="connsiteX5" fmla="*/ 0 w 23723"/>
                  <a:gd name="connsiteY5" fmla="*/ 24101 h 38365"/>
                  <a:gd name="connsiteX6" fmla="*/ 1357 w 23723"/>
                  <a:gd name="connsiteY6" fmla="*/ 16676 h 38365"/>
                  <a:gd name="connsiteX7" fmla="*/ 5446 w 23723"/>
                  <a:gd name="connsiteY7" fmla="*/ 11570 h 38365"/>
                  <a:gd name="connsiteX8" fmla="*/ 11551 w 23723"/>
                  <a:gd name="connsiteY8" fmla="*/ 9799 h 38365"/>
                  <a:gd name="connsiteX9" fmla="*/ 15961 w 23723"/>
                  <a:gd name="connsiteY9" fmla="*/ 10835 h 38365"/>
                  <a:gd name="connsiteX10" fmla="*/ 19107 w 23723"/>
                  <a:gd name="connsiteY10" fmla="*/ 13549 h 38365"/>
                  <a:gd name="connsiteX11" fmla="*/ 19107 w 23723"/>
                  <a:gd name="connsiteY11" fmla="*/ 0 h 38365"/>
                  <a:gd name="connsiteX12" fmla="*/ 23724 w 23723"/>
                  <a:gd name="connsiteY12" fmla="*/ 0 h 38365"/>
                  <a:gd name="connsiteX13" fmla="*/ 23724 w 23723"/>
                  <a:gd name="connsiteY13" fmla="*/ 37762 h 38365"/>
                  <a:gd name="connsiteX14" fmla="*/ 19428 w 23723"/>
                  <a:gd name="connsiteY14" fmla="*/ 37762 h 38365"/>
                  <a:gd name="connsiteX15" fmla="*/ 4767 w 23723"/>
                  <a:gd name="connsiteY15" fmla="*/ 24082 h 38365"/>
                  <a:gd name="connsiteX16" fmla="*/ 6991 w 23723"/>
                  <a:gd name="connsiteY16" fmla="*/ 31940 h 38365"/>
                  <a:gd name="connsiteX17" fmla="*/ 12229 w 23723"/>
                  <a:gd name="connsiteY17" fmla="*/ 34540 h 38365"/>
                  <a:gd name="connsiteX18" fmla="*/ 17393 w 23723"/>
                  <a:gd name="connsiteY18" fmla="*/ 32053 h 38365"/>
                  <a:gd name="connsiteX19" fmla="*/ 19522 w 23723"/>
                  <a:gd name="connsiteY19" fmla="*/ 24459 h 38365"/>
                  <a:gd name="connsiteX20" fmla="*/ 17355 w 23723"/>
                  <a:gd name="connsiteY20" fmla="*/ 16205 h 38365"/>
                  <a:gd name="connsiteX21" fmla="*/ 12022 w 23723"/>
                  <a:gd name="connsiteY21" fmla="*/ 13586 h 38365"/>
                  <a:gd name="connsiteX22" fmla="*/ 6859 w 23723"/>
                  <a:gd name="connsiteY22" fmla="*/ 16111 h 38365"/>
                  <a:gd name="connsiteX23" fmla="*/ 4786 w 23723"/>
                  <a:gd name="connsiteY23" fmla="*/ 24063 h 38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3723" h="38365">
                    <a:moveTo>
                      <a:pt x="19428" y="37743"/>
                    </a:moveTo>
                    <a:lnTo>
                      <a:pt x="19428" y="34295"/>
                    </a:lnTo>
                    <a:cubicBezTo>
                      <a:pt x="17694" y="37008"/>
                      <a:pt x="15150" y="38365"/>
                      <a:pt x="11777" y="38365"/>
                    </a:cubicBezTo>
                    <a:cubicBezTo>
                      <a:pt x="9591" y="38365"/>
                      <a:pt x="7594" y="37762"/>
                      <a:pt x="5766" y="36556"/>
                    </a:cubicBezTo>
                    <a:cubicBezTo>
                      <a:pt x="3938" y="35350"/>
                      <a:pt x="2525" y="33673"/>
                      <a:pt x="1508" y="31525"/>
                    </a:cubicBezTo>
                    <a:cubicBezTo>
                      <a:pt x="490" y="29377"/>
                      <a:pt x="0" y="26890"/>
                      <a:pt x="0" y="24101"/>
                    </a:cubicBezTo>
                    <a:cubicBezTo>
                      <a:pt x="0" y="21312"/>
                      <a:pt x="452" y="18900"/>
                      <a:pt x="1357" y="16676"/>
                    </a:cubicBezTo>
                    <a:cubicBezTo>
                      <a:pt x="2261" y="14453"/>
                      <a:pt x="3637" y="12757"/>
                      <a:pt x="5446" y="11570"/>
                    </a:cubicBezTo>
                    <a:cubicBezTo>
                      <a:pt x="7274" y="10383"/>
                      <a:pt x="9309" y="9799"/>
                      <a:pt x="11551" y="9799"/>
                    </a:cubicBezTo>
                    <a:cubicBezTo>
                      <a:pt x="13209" y="9799"/>
                      <a:pt x="14660" y="10138"/>
                      <a:pt x="15961" y="10835"/>
                    </a:cubicBezTo>
                    <a:cubicBezTo>
                      <a:pt x="17261" y="11532"/>
                      <a:pt x="18297" y="12437"/>
                      <a:pt x="19107" y="13549"/>
                    </a:cubicBezTo>
                    <a:lnTo>
                      <a:pt x="19107" y="0"/>
                    </a:lnTo>
                    <a:lnTo>
                      <a:pt x="23724" y="0"/>
                    </a:lnTo>
                    <a:lnTo>
                      <a:pt x="23724" y="37762"/>
                    </a:lnTo>
                    <a:lnTo>
                      <a:pt x="19428" y="37762"/>
                    </a:lnTo>
                    <a:close/>
                    <a:moveTo>
                      <a:pt x="4767" y="24082"/>
                    </a:moveTo>
                    <a:cubicBezTo>
                      <a:pt x="4767" y="27587"/>
                      <a:pt x="5502" y="30206"/>
                      <a:pt x="6991" y="31940"/>
                    </a:cubicBezTo>
                    <a:cubicBezTo>
                      <a:pt x="8461" y="33673"/>
                      <a:pt x="10213" y="34540"/>
                      <a:pt x="12229" y="34540"/>
                    </a:cubicBezTo>
                    <a:cubicBezTo>
                      <a:pt x="14246" y="34540"/>
                      <a:pt x="15979" y="33711"/>
                      <a:pt x="17393" y="32053"/>
                    </a:cubicBezTo>
                    <a:cubicBezTo>
                      <a:pt x="18806" y="30394"/>
                      <a:pt x="19522" y="27869"/>
                      <a:pt x="19522" y="24459"/>
                    </a:cubicBezTo>
                    <a:cubicBezTo>
                      <a:pt x="19522" y="20709"/>
                      <a:pt x="18806" y="17958"/>
                      <a:pt x="17355" y="16205"/>
                    </a:cubicBezTo>
                    <a:cubicBezTo>
                      <a:pt x="15904" y="14453"/>
                      <a:pt x="14133" y="13586"/>
                      <a:pt x="12022" y="13586"/>
                    </a:cubicBezTo>
                    <a:cubicBezTo>
                      <a:pt x="9912" y="13586"/>
                      <a:pt x="8235" y="14434"/>
                      <a:pt x="6859" y="16111"/>
                    </a:cubicBezTo>
                    <a:cubicBezTo>
                      <a:pt x="5483" y="17788"/>
                      <a:pt x="4786" y="20445"/>
                      <a:pt x="4786" y="2406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34" name="Freihandform: Form 3033">
                <a:extLst>
                  <a:ext uri="{FF2B5EF4-FFF2-40B4-BE49-F238E27FC236}">
                    <a16:creationId xmlns:a16="http://schemas.microsoft.com/office/drawing/2014/main" id="{3681B9AC-7EBD-0966-A5B6-CA9C39773710}"/>
                  </a:ext>
                </a:extLst>
              </p:cNvPr>
              <p:cNvSpPr/>
              <p:nvPr/>
            </p:nvSpPr>
            <p:spPr>
              <a:xfrm>
                <a:off x="4840096" y="3100984"/>
                <a:ext cx="25193" cy="28622"/>
              </a:xfrm>
              <a:custGeom>
                <a:avLst/>
                <a:gdLst>
                  <a:gd name="connsiteX0" fmla="*/ 19428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4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9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1 w 25193"/>
                  <a:gd name="connsiteY11" fmla="*/ 5408 h 28622"/>
                  <a:gd name="connsiteX12" fmla="*/ 12474 w 25193"/>
                  <a:gd name="connsiteY12" fmla="*/ 3844 h 28622"/>
                  <a:gd name="connsiteX13" fmla="*/ 7651 w 25193"/>
                  <a:gd name="connsiteY13" fmla="*/ 4994 h 28622"/>
                  <a:gd name="connsiteX14" fmla="*/ 5352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8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6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6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8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4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9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1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9" y="3844"/>
                      <a:pt x="8687" y="4221"/>
                      <a:pt x="7651" y="4994"/>
                    </a:cubicBezTo>
                    <a:cubicBezTo>
                      <a:pt x="6614" y="5766"/>
                      <a:pt x="5842" y="7104"/>
                      <a:pt x="5352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1" y="0"/>
                      <a:pt x="17374" y="283"/>
                      <a:pt x="18825" y="829"/>
                    </a:cubicBezTo>
                    <a:cubicBezTo>
                      <a:pt x="20275" y="1376"/>
                      <a:pt x="21350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9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10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8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4" y="16300"/>
                      <a:pt x="8197" y="16601"/>
                      <a:pt x="7406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6" y="23818"/>
                    </a:cubicBezTo>
                    <a:cubicBezTo>
                      <a:pt x="16620" y="23045"/>
                      <a:pt x="17638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81" name="Grafik 21">
              <a:extLst>
                <a:ext uri="{FF2B5EF4-FFF2-40B4-BE49-F238E27FC236}">
                  <a16:creationId xmlns:a16="http://schemas.microsoft.com/office/drawing/2014/main" id="{AAF6D25D-ED04-65B7-436D-19B9740F1D83}"/>
                </a:ext>
              </a:extLst>
            </p:cNvPr>
            <p:cNvGrpSpPr/>
            <p:nvPr/>
          </p:nvGrpSpPr>
          <p:grpSpPr>
            <a:xfrm>
              <a:off x="4880816" y="3074641"/>
              <a:ext cx="59582" cy="59846"/>
              <a:chOff x="4880816" y="3074641"/>
              <a:chExt cx="59582" cy="59846"/>
            </a:xfrm>
            <a:solidFill>
              <a:srgbClr val="000000"/>
            </a:solidFill>
          </p:grpSpPr>
          <p:sp>
            <p:nvSpPr>
              <p:cNvPr id="3026" name="Freihandform: Form 3025">
                <a:extLst>
                  <a:ext uri="{FF2B5EF4-FFF2-40B4-BE49-F238E27FC236}">
                    <a16:creationId xmlns:a16="http://schemas.microsoft.com/office/drawing/2014/main" id="{46361124-70A1-7CC4-40F3-98316539A903}"/>
                  </a:ext>
                </a:extLst>
              </p:cNvPr>
              <p:cNvSpPr/>
              <p:nvPr/>
            </p:nvSpPr>
            <p:spPr>
              <a:xfrm>
                <a:off x="4887072" y="3095763"/>
                <a:ext cx="47089" cy="26852"/>
              </a:xfrm>
              <a:custGeom>
                <a:avLst/>
                <a:gdLst>
                  <a:gd name="connsiteX0" fmla="*/ 41098 w 47089"/>
                  <a:gd name="connsiteY0" fmla="*/ 22613 h 26852"/>
                  <a:gd name="connsiteX1" fmla="*/ 41098 w 47089"/>
                  <a:gd name="connsiteY1" fmla="*/ 26853 h 26852"/>
                  <a:gd name="connsiteX2" fmla="*/ 0 w 47089"/>
                  <a:gd name="connsiteY2" fmla="*/ 1 h 26852"/>
                  <a:gd name="connsiteX3" fmla="*/ 14264 w 47089"/>
                  <a:gd name="connsiteY3" fmla="*/ 1 h 26852"/>
                  <a:gd name="connsiteX4" fmla="*/ 14264 w 47089"/>
                  <a:gd name="connsiteY4" fmla="*/ 2507 h 26852"/>
                  <a:gd name="connsiteX5" fmla="*/ 11457 w 47089"/>
                  <a:gd name="connsiteY5" fmla="*/ 3261 h 26852"/>
                  <a:gd name="connsiteX6" fmla="*/ 20671 w 47089"/>
                  <a:gd name="connsiteY6" fmla="*/ 9272 h 26852"/>
                  <a:gd name="connsiteX7" fmla="*/ 17317 w 47089"/>
                  <a:gd name="connsiteY7" fmla="*/ 1659 h 26852"/>
                  <a:gd name="connsiteX8" fmla="*/ 20897 w 47089"/>
                  <a:gd name="connsiteY8" fmla="*/ 1 h 26852"/>
                  <a:gd name="connsiteX9" fmla="*/ 47090 w 47089"/>
                  <a:gd name="connsiteY9" fmla="*/ 1 h 26852"/>
                  <a:gd name="connsiteX10" fmla="*/ 31412 w 47089"/>
                  <a:gd name="connsiteY10" fmla="*/ 12362 h 26852"/>
                  <a:gd name="connsiteX11" fmla="*/ 29622 w 47089"/>
                  <a:gd name="connsiteY11" fmla="*/ 10647 h 26852"/>
                  <a:gd name="connsiteX12" fmla="*/ 37291 w 47089"/>
                  <a:gd name="connsiteY12" fmla="*/ 3355 h 26852"/>
                  <a:gd name="connsiteX13" fmla="*/ 22725 w 47089"/>
                  <a:gd name="connsiteY13" fmla="*/ 3355 h 26852"/>
                  <a:gd name="connsiteX14" fmla="*/ 21670 w 47089"/>
                  <a:gd name="connsiteY14" fmla="*/ 3845 h 26852"/>
                  <a:gd name="connsiteX15" fmla="*/ 37498 w 47089"/>
                  <a:gd name="connsiteY15" fmla="*/ 20220 h 26852"/>
                  <a:gd name="connsiteX16" fmla="*/ 41116 w 47089"/>
                  <a:gd name="connsiteY16" fmla="*/ 22632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089" h="26852">
                    <a:moveTo>
                      <a:pt x="41098" y="22613"/>
                    </a:moveTo>
                    <a:lnTo>
                      <a:pt x="41098" y="26853"/>
                    </a:lnTo>
                    <a:lnTo>
                      <a:pt x="0" y="1"/>
                    </a:lnTo>
                    <a:lnTo>
                      <a:pt x="14264" y="1"/>
                    </a:lnTo>
                    <a:lnTo>
                      <a:pt x="14264" y="2507"/>
                    </a:lnTo>
                    <a:lnTo>
                      <a:pt x="11457" y="3261"/>
                    </a:lnTo>
                    <a:lnTo>
                      <a:pt x="20671" y="9272"/>
                    </a:lnTo>
                    <a:cubicBezTo>
                      <a:pt x="20671" y="9272"/>
                      <a:pt x="15734" y="4900"/>
                      <a:pt x="17317" y="1659"/>
                    </a:cubicBezTo>
                    <a:cubicBezTo>
                      <a:pt x="18165" y="-93"/>
                      <a:pt x="20370" y="1"/>
                      <a:pt x="20897" y="1"/>
                    </a:cubicBezTo>
                    <a:lnTo>
                      <a:pt x="47090" y="1"/>
                    </a:lnTo>
                    <a:lnTo>
                      <a:pt x="31412" y="12362"/>
                    </a:lnTo>
                    <a:lnTo>
                      <a:pt x="29622" y="10647"/>
                    </a:lnTo>
                    <a:lnTo>
                      <a:pt x="37291" y="3355"/>
                    </a:lnTo>
                    <a:lnTo>
                      <a:pt x="22725" y="3355"/>
                    </a:lnTo>
                    <a:cubicBezTo>
                      <a:pt x="22574" y="3355"/>
                      <a:pt x="21896" y="3317"/>
                      <a:pt x="21670" y="3845"/>
                    </a:cubicBezTo>
                    <a:cubicBezTo>
                      <a:pt x="20671" y="6125"/>
                      <a:pt x="29188" y="14661"/>
                      <a:pt x="37498" y="20220"/>
                    </a:cubicBezTo>
                    <a:lnTo>
                      <a:pt x="41116" y="22632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27" name="Freihandform: Form 3026">
                <a:extLst>
                  <a:ext uri="{FF2B5EF4-FFF2-40B4-BE49-F238E27FC236}">
                    <a16:creationId xmlns:a16="http://schemas.microsoft.com/office/drawing/2014/main" id="{87D5892B-D3BA-AB49-D687-B18C883497AA}"/>
                  </a:ext>
                </a:extLst>
              </p:cNvPr>
              <p:cNvSpPr/>
              <p:nvPr/>
            </p:nvSpPr>
            <p:spPr>
              <a:xfrm>
                <a:off x="4880816" y="3074641"/>
                <a:ext cx="59582" cy="59846"/>
              </a:xfrm>
              <a:custGeom>
                <a:avLst/>
                <a:gdLst>
                  <a:gd name="connsiteX0" fmla="*/ 29791 w 59582"/>
                  <a:gd name="connsiteY0" fmla="*/ 0 h 59846"/>
                  <a:gd name="connsiteX1" fmla="*/ 0 w 59582"/>
                  <a:gd name="connsiteY1" fmla="*/ 29923 h 59846"/>
                  <a:gd name="connsiteX2" fmla="*/ 29791 w 59582"/>
                  <a:gd name="connsiteY2" fmla="*/ 59847 h 59846"/>
                  <a:gd name="connsiteX3" fmla="*/ 59583 w 59582"/>
                  <a:gd name="connsiteY3" fmla="*/ 29923 h 59846"/>
                  <a:gd name="connsiteX4" fmla="*/ 29791 w 59582"/>
                  <a:gd name="connsiteY4" fmla="*/ 0 h 59846"/>
                  <a:gd name="connsiteX5" fmla="*/ 29791 w 59582"/>
                  <a:gd name="connsiteY5" fmla="*/ 57076 h 59846"/>
                  <a:gd name="connsiteX6" fmla="*/ 2770 w 59582"/>
                  <a:gd name="connsiteY6" fmla="*/ 29923 h 59846"/>
                  <a:gd name="connsiteX7" fmla="*/ 29791 w 59582"/>
                  <a:gd name="connsiteY7" fmla="*/ 2770 h 59846"/>
                  <a:gd name="connsiteX8" fmla="*/ 56813 w 59582"/>
                  <a:gd name="connsiteY8" fmla="*/ 29923 h 59846"/>
                  <a:gd name="connsiteX9" fmla="*/ 29791 w 59582"/>
                  <a:gd name="connsiteY9" fmla="*/ 57076 h 59846"/>
                  <a:gd name="connsiteX10" fmla="*/ 29791 w 5958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582" h="59846">
                    <a:moveTo>
                      <a:pt x="29791" y="0"/>
                    </a:moveTo>
                    <a:cubicBezTo>
                      <a:pt x="13341" y="0"/>
                      <a:pt x="0" y="13398"/>
                      <a:pt x="0" y="29923"/>
                    </a:cubicBezTo>
                    <a:cubicBezTo>
                      <a:pt x="0" y="46449"/>
                      <a:pt x="13341" y="59847"/>
                      <a:pt x="29791" y="59847"/>
                    </a:cubicBezTo>
                    <a:cubicBezTo>
                      <a:pt x="46241" y="59847"/>
                      <a:pt x="59583" y="46449"/>
                      <a:pt x="59583" y="29923"/>
                    </a:cubicBezTo>
                    <a:cubicBezTo>
                      <a:pt x="59583" y="13398"/>
                      <a:pt x="46241" y="0"/>
                      <a:pt x="29791" y="0"/>
                    </a:cubicBezTo>
                    <a:close/>
                    <a:moveTo>
                      <a:pt x="29791" y="57076"/>
                    </a:moveTo>
                    <a:cubicBezTo>
                      <a:pt x="14867" y="57076"/>
                      <a:pt x="2770" y="44923"/>
                      <a:pt x="2770" y="29923"/>
                    </a:cubicBezTo>
                    <a:cubicBezTo>
                      <a:pt x="2770" y="14924"/>
                      <a:pt x="14867" y="2770"/>
                      <a:pt x="29791" y="2770"/>
                    </a:cubicBezTo>
                    <a:cubicBezTo>
                      <a:pt x="44715" y="2770"/>
                      <a:pt x="56813" y="14924"/>
                      <a:pt x="56813" y="29923"/>
                    </a:cubicBezTo>
                    <a:cubicBezTo>
                      <a:pt x="56813" y="44923"/>
                      <a:pt x="44715" y="57076"/>
                      <a:pt x="29791" y="57076"/>
                    </a:cubicBezTo>
                    <a:lnTo>
                      <a:pt x="2979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82" name="Grafik 21">
              <a:extLst>
                <a:ext uri="{FF2B5EF4-FFF2-40B4-BE49-F238E27FC236}">
                  <a16:creationId xmlns:a16="http://schemas.microsoft.com/office/drawing/2014/main" id="{6A66D762-5D5B-9630-4A29-90B7DE00B32D}"/>
                </a:ext>
              </a:extLst>
            </p:cNvPr>
            <p:cNvGrpSpPr/>
            <p:nvPr/>
          </p:nvGrpSpPr>
          <p:grpSpPr>
            <a:xfrm>
              <a:off x="4935914" y="3117981"/>
              <a:ext cx="60562" cy="59846"/>
              <a:chOff x="4935914" y="3117981"/>
              <a:chExt cx="60562" cy="59846"/>
            </a:xfrm>
            <a:solidFill>
              <a:srgbClr val="000000"/>
            </a:solidFill>
          </p:grpSpPr>
          <p:sp>
            <p:nvSpPr>
              <p:cNvPr id="3024" name="Freihandform: Form 3023">
                <a:extLst>
                  <a:ext uri="{FF2B5EF4-FFF2-40B4-BE49-F238E27FC236}">
                    <a16:creationId xmlns:a16="http://schemas.microsoft.com/office/drawing/2014/main" id="{E10EB1C4-DAD3-D0DE-477C-4C4DA1239F26}"/>
                  </a:ext>
                </a:extLst>
              </p:cNvPr>
              <p:cNvSpPr/>
              <p:nvPr/>
            </p:nvSpPr>
            <p:spPr>
              <a:xfrm>
                <a:off x="4942283" y="3139103"/>
                <a:ext cx="47880" cy="26852"/>
              </a:xfrm>
              <a:custGeom>
                <a:avLst/>
                <a:gdLst>
                  <a:gd name="connsiteX0" fmla="*/ 41776 w 47880"/>
                  <a:gd name="connsiteY0" fmla="*/ 22613 h 26852"/>
                  <a:gd name="connsiteX1" fmla="*/ 41776 w 47880"/>
                  <a:gd name="connsiteY1" fmla="*/ 26853 h 26852"/>
                  <a:gd name="connsiteX2" fmla="*/ 0 w 47880"/>
                  <a:gd name="connsiteY2" fmla="*/ 1 h 26852"/>
                  <a:gd name="connsiteX3" fmla="*/ 14509 w 47880"/>
                  <a:gd name="connsiteY3" fmla="*/ 1 h 26852"/>
                  <a:gd name="connsiteX4" fmla="*/ 14509 w 47880"/>
                  <a:gd name="connsiteY4" fmla="*/ 2507 h 26852"/>
                  <a:gd name="connsiteX5" fmla="*/ 11664 w 47880"/>
                  <a:gd name="connsiteY5" fmla="*/ 3261 h 26852"/>
                  <a:gd name="connsiteX6" fmla="*/ 21029 w 47880"/>
                  <a:gd name="connsiteY6" fmla="*/ 9272 h 26852"/>
                  <a:gd name="connsiteX7" fmla="*/ 17619 w 47880"/>
                  <a:gd name="connsiteY7" fmla="*/ 1659 h 26852"/>
                  <a:gd name="connsiteX8" fmla="*/ 21255 w 47880"/>
                  <a:gd name="connsiteY8" fmla="*/ 1 h 26852"/>
                  <a:gd name="connsiteX9" fmla="*/ 47881 w 47880"/>
                  <a:gd name="connsiteY9" fmla="*/ 1 h 26852"/>
                  <a:gd name="connsiteX10" fmla="*/ 31939 w 47880"/>
                  <a:gd name="connsiteY10" fmla="*/ 12362 h 26852"/>
                  <a:gd name="connsiteX11" fmla="*/ 30112 w 47880"/>
                  <a:gd name="connsiteY11" fmla="*/ 10647 h 26852"/>
                  <a:gd name="connsiteX12" fmla="*/ 37894 w 47880"/>
                  <a:gd name="connsiteY12" fmla="*/ 3355 h 26852"/>
                  <a:gd name="connsiteX13" fmla="*/ 23083 w 47880"/>
                  <a:gd name="connsiteY13" fmla="*/ 3355 h 26852"/>
                  <a:gd name="connsiteX14" fmla="*/ 22009 w 47880"/>
                  <a:gd name="connsiteY14" fmla="*/ 3845 h 26852"/>
                  <a:gd name="connsiteX15" fmla="*/ 38101 w 47880"/>
                  <a:gd name="connsiteY15" fmla="*/ 20201 h 26852"/>
                  <a:gd name="connsiteX16" fmla="*/ 41776 w 47880"/>
                  <a:gd name="connsiteY16" fmla="*/ 22613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0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9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39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1" y="6125"/>
                      <a:pt x="29641" y="14661"/>
                      <a:pt x="38101" y="20201"/>
                    </a:cubicBezTo>
                    <a:lnTo>
                      <a:pt x="41776" y="2261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25" name="Freihandform: Form 3024">
                <a:extLst>
                  <a:ext uri="{FF2B5EF4-FFF2-40B4-BE49-F238E27FC236}">
                    <a16:creationId xmlns:a16="http://schemas.microsoft.com/office/drawing/2014/main" id="{430F9E2E-E816-0124-5FE4-EF55EF1A5CE4}"/>
                  </a:ext>
                </a:extLst>
              </p:cNvPr>
              <p:cNvSpPr/>
              <p:nvPr/>
            </p:nvSpPr>
            <p:spPr>
              <a:xfrm>
                <a:off x="4935914" y="3117981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6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6 h 59846"/>
                  <a:gd name="connsiteX10" fmla="*/ 30281 w 60562"/>
                  <a:gd name="connsiteY10" fmla="*/ 57076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7" y="0"/>
                      <a:pt x="0" y="13398"/>
                      <a:pt x="0" y="29923"/>
                    </a:cubicBezTo>
                    <a:cubicBezTo>
                      <a:pt x="0" y="46449"/>
                      <a:pt x="13548" y="59847"/>
                      <a:pt x="30281" y="59847"/>
                    </a:cubicBezTo>
                    <a:cubicBezTo>
                      <a:pt x="47014" y="59847"/>
                      <a:pt x="60563" y="46449"/>
                      <a:pt x="60563" y="29923"/>
                    </a:cubicBezTo>
                    <a:cubicBezTo>
                      <a:pt x="60563" y="13398"/>
                      <a:pt x="47014" y="0"/>
                      <a:pt x="30281" y="0"/>
                    </a:cubicBezTo>
                    <a:close/>
                    <a:moveTo>
                      <a:pt x="30281" y="57076"/>
                    </a:moveTo>
                    <a:cubicBezTo>
                      <a:pt x="15112" y="57076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6"/>
                      <a:pt x="30281" y="57076"/>
                    </a:cubicBezTo>
                    <a:lnTo>
                      <a:pt x="30281" y="57076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83" name="Grafik 21">
              <a:extLst>
                <a:ext uri="{FF2B5EF4-FFF2-40B4-BE49-F238E27FC236}">
                  <a16:creationId xmlns:a16="http://schemas.microsoft.com/office/drawing/2014/main" id="{017BE635-690E-2EF7-CF59-1570F37B1176}"/>
                </a:ext>
              </a:extLst>
            </p:cNvPr>
            <p:cNvGrpSpPr/>
            <p:nvPr/>
          </p:nvGrpSpPr>
          <p:grpSpPr>
            <a:xfrm>
              <a:off x="5018090" y="3132660"/>
              <a:ext cx="169891" cy="48917"/>
              <a:chOff x="5018090" y="3132660"/>
              <a:chExt cx="169891" cy="48917"/>
            </a:xfrm>
            <a:solidFill>
              <a:srgbClr val="000000"/>
            </a:solidFill>
          </p:grpSpPr>
          <p:sp>
            <p:nvSpPr>
              <p:cNvPr id="3018" name="Freihandform: Form 3017">
                <a:extLst>
                  <a:ext uri="{FF2B5EF4-FFF2-40B4-BE49-F238E27FC236}">
                    <a16:creationId xmlns:a16="http://schemas.microsoft.com/office/drawing/2014/main" id="{689EC456-DAEE-B3EB-C662-1BFE8F613BA8}"/>
                  </a:ext>
                </a:extLst>
              </p:cNvPr>
              <p:cNvSpPr/>
              <p:nvPr/>
            </p:nvSpPr>
            <p:spPr>
              <a:xfrm>
                <a:off x="5018090" y="3132660"/>
                <a:ext cx="29942" cy="37781"/>
              </a:xfrm>
              <a:custGeom>
                <a:avLst/>
                <a:gdLst>
                  <a:gd name="connsiteX0" fmla="*/ 12437 w 29942"/>
                  <a:gd name="connsiteY0" fmla="*/ 37781 h 37781"/>
                  <a:gd name="connsiteX1" fmla="*/ 12437 w 29942"/>
                  <a:gd name="connsiteY1" fmla="*/ 4466 h 37781"/>
                  <a:gd name="connsiteX2" fmla="*/ 0 w 29942"/>
                  <a:gd name="connsiteY2" fmla="*/ 4466 h 37781"/>
                  <a:gd name="connsiteX3" fmla="*/ 0 w 29942"/>
                  <a:gd name="connsiteY3" fmla="*/ 0 h 37781"/>
                  <a:gd name="connsiteX4" fmla="*/ 29942 w 29942"/>
                  <a:gd name="connsiteY4" fmla="*/ 0 h 37781"/>
                  <a:gd name="connsiteX5" fmla="*/ 29942 w 29942"/>
                  <a:gd name="connsiteY5" fmla="*/ 4466 h 37781"/>
                  <a:gd name="connsiteX6" fmla="*/ 17449 w 29942"/>
                  <a:gd name="connsiteY6" fmla="*/ 4466 h 37781"/>
                  <a:gd name="connsiteX7" fmla="*/ 17449 w 29942"/>
                  <a:gd name="connsiteY7" fmla="*/ 37781 h 37781"/>
                  <a:gd name="connsiteX8" fmla="*/ 12455 w 29942"/>
                  <a:gd name="connsiteY8" fmla="*/ 37781 h 37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942" h="37781">
                    <a:moveTo>
                      <a:pt x="12437" y="37781"/>
                    </a:moveTo>
                    <a:lnTo>
                      <a:pt x="12437" y="4466"/>
                    </a:lnTo>
                    <a:lnTo>
                      <a:pt x="0" y="4466"/>
                    </a:lnTo>
                    <a:lnTo>
                      <a:pt x="0" y="0"/>
                    </a:lnTo>
                    <a:lnTo>
                      <a:pt x="29942" y="0"/>
                    </a:lnTo>
                    <a:lnTo>
                      <a:pt x="29942" y="4466"/>
                    </a:lnTo>
                    <a:lnTo>
                      <a:pt x="17449" y="4466"/>
                    </a:lnTo>
                    <a:lnTo>
                      <a:pt x="17449" y="37781"/>
                    </a:lnTo>
                    <a:lnTo>
                      <a:pt x="12455" y="37781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19" name="Freihandform: Form 3018">
                <a:extLst>
                  <a:ext uri="{FF2B5EF4-FFF2-40B4-BE49-F238E27FC236}">
                    <a16:creationId xmlns:a16="http://schemas.microsoft.com/office/drawing/2014/main" id="{F4A53E10-3FB4-49F4-AA59-99F37A2DF79D}"/>
                  </a:ext>
                </a:extLst>
              </p:cNvPr>
              <p:cNvSpPr/>
              <p:nvPr/>
            </p:nvSpPr>
            <p:spPr>
              <a:xfrm>
                <a:off x="5044961" y="3142477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6"/>
                      <a:pt x="19446" y="26927"/>
                    </a:cubicBezTo>
                    <a:cubicBezTo>
                      <a:pt x="17430" y="28039"/>
                      <a:pt x="15225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1" y="23893"/>
                      <a:pt x="10533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1"/>
                      <a:pt x="20897" y="14151"/>
                    </a:cubicBezTo>
                    <a:cubicBezTo>
                      <a:pt x="20897" y="10759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20" name="Freihandform: Form 3019">
                <a:extLst>
                  <a:ext uri="{FF2B5EF4-FFF2-40B4-BE49-F238E27FC236}">
                    <a16:creationId xmlns:a16="http://schemas.microsoft.com/office/drawing/2014/main" id="{C06065BA-D1D3-A99E-D269-C096EB73641F}"/>
                  </a:ext>
                </a:extLst>
              </p:cNvPr>
              <p:cNvSpPr/>
              <p:nvPr/>
            </p:nvSpPr>
            <p:spPr>
              <a:xfrm>
                <a:off x="5076034" y="3132678"/>
                <a:ext cx="23742" cy="38383"/>
              </a:xfrm>
              <a:custGeom>
                <a:avLst/>
                <a:gdLst>
                  <a:gd name="connsiteX0" fmla="*/ 4296 w 23742"/>
                  <a:gd name="connsiteY0" fmla="*/ 37762 h 38383"/>
                  <a:gd name="connsiteX1" fmla="*/ 0 w 23742"/>
                  <a:gd name="connsiteY1" fmla="*/ 37762 h 38383"/>
                  <a:gd name="connsiteX2" fmla="*/ 0 w 23742"/>
                  <a:gd name="connsiteY2" fmla="*/ 0 h 38383"/>
                  <a:gd name="connsiteX3" fmla="*/ 4635 w 23742"/>
                  <a:gd name="connsiteY3" fmla="*/ 0 h 38383"/>
                  <a:gd name="connsiteX4" fmla="*/ 4635 w 23742"/>
                  <a:gd name="connsiteY4" fmla="*/ 13473 h 38383"/>
                  <a:gd name="connsiteX5" fmla="*/ 12135 w 23742"/>
                  <a:gd name="connsiteY5" fmla="*/ 9780 h 38383"/>
                  <a:gd name="connsiteX6" fmla="*/ 16921 w 23742"/>
                  <a:gd name="connsiteY6" fmla="*/ 10797 h 38383"/>
                  <a:gd name="connsiteX7" fmla="*/ 20633 w 23742"/>
                  <a:gd name="connsiteY7" fmla="*/ 13661 h 38383"/>
                  <a:gd name="connsiteX8" fmla="*/ 22913 w 23742"/>
                  <a:gd name="connsiteY8" fmla="*/ 18108 h 38383"/>
                  <a:gd name="connsiteX9" fmla="*/ 23743 w 23742"/>
                  <a:gd name="connsiteY9" fmla="*/ 23667 h 38383"/>
                  <a:gd name="connsiteX10" fmla="*/ 20257 w 23742"/>
                  <a:gd name="connsiteY10" fmla="*/ 34540 h 38383"/>
                  <a:gd name="connsiteX11" fmla="*/ 11909 w 23742"/>
                  <a:gd name="connsiteY11" fmla="*/ 38384 h 38383"/>
                  <a:gd name="connsiteX12" fmla="*/ 4315 w 23742"/>
                  <a:gd name="connsiteY12" fmla="*/ 34333 h 38383"/>
                  <a:gd name="connsiteX13" fmla="*/ 4315 w 23742"/>
                  <a:gd name="connsiteY13" fmla="*/ 37762 h 38383"/>
                  <a:gd name="connsiteX14" fmla="*/ 4240 w 23742"/>
                  <a:gd name="connsiteY14" fmla="*/ 23875 h 38383"/>
                  <a:gd name="connsiteX15" fmla="*/ 5578 w 23742"/>
                  <a:gd name="connsiteY15" fmla="*/ 30979 h 38383"/>
                  <a:gd name="connsiteX16" fmla="*/ 11494 w 23742"/>
                  <a:gd name="connsiteY16" fmla="*/ 34559 h 38383"/>
                  <a:gd name="connsiteX17" fmla="*/ 16752 w 23742"/>
                  <a:gd name="connsiteY17" fmla="*/ 31921 h 38383"/>
                  <a:gd name="connsiteX18" fmla="*/ 18975 w 23742"/>
                  <a:gd name="connsiteY18" fmla="*/ 24044 h 38383"/>
                  <a:gd name="connsiteX19" fmla="*/ 16846 w 23742"/>
                  <a:gd name="connsiteY19" fmla="*/ 16130 h 38383"/>
                  <a:gd name="connsiteX20" fmla="*/ 11702 w 23742"/>
                  <a:gd name="connsiteY20" fmla="*/ 13586 h 38383"/>
                  <a:gd name="connsiteX21" fmla="*/ 6444 w 23742"/>
                  <a:gd name="connsiteY21" fmla="*/ 16224 h 38383"/>
                  <a:gd name="connsiteX22" fmla="*/ 4221 w 23742"/>
                  <a:gd name="connsiteY22" fmla="*/ 23856 h 38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3742" h="38383">
                    <a:moveTo>
                      <a:pt x="4296" y="37762"/>
                    </a:moveTo>
                    <a:lnTo>
                      <a:pt x="0" y="37762"/>
                    </a:lnTo>
                    <a:lnTo>
                      <a:pt x="0" y="0"/>
                    </a:lnTo>
                    <a:lnTo>
                      <a:pt x="4635" y="0"/>
                    </a:lnTo>
                    <a:lnTo>
                      <a:pt x="4635" y="13473"/>
                    </a:lnTo>
                    <a:cubicBezTo>
                      <a:pt x="6595" y="11024"/>
                      <a:pt x="9101" y="9780"/>
                      <a:pt x="12135" y="9780"/>
                    </a:cubicBezTo>
                    <a:cubicBezTo>
                      <a:pt x="13812" y="9780"/>
                      <a:pt x="15414" y="10119"/>
                      <a:pt x="16921" y="10797"/>
                    </a:cubicBezTo>
                    <a:cubicBezTo>
                      <a:pt x="18429" y="11476"/>
                      <a:pt x="19654" y="12437"/>
                      <a:pt x="20633" y="13661"/>
                    </a:cubicBezTo>
                    <a:cubicBezTo>
                      <a:pt x="21594" y="14886"/>
                      <a:pt x="22367" y="16375"/>
                      <a:pt x="22913" y="18108"/>
                    </a:cubicBezTo>
                    <a:cubicBezTo>
                      <a:pt x="23460" y="19842"/>
                      <a:pt x="23743" y="21708"/>
                      <a:pt x="23743" y="23667"/>
                    </a:cubicBezTo>
                    <a:cubicBezTo>
                      <a:pt x="23743" y="28359"/>
                      <a:pt x="22574" y="31977"/>
                      <a:pt x="20257" y="34540"/>
                    </a:cubicBezTo>
                    <a:cubicBezTo>
                      <a:pt x="17939" y="37103"/>
                      <a:pt x="15150" y="38384"/>
                      <a:pt x="11909" y="38384"/>
                    </a:cubicBezTo>
                    <a:cubicBezTo>
                      <a:pt x="8668" y="38384"/>
                      <a:pt x="6143" y="37027"/>
                      <a:pt x="4315" y="34333"/>
                    </a:cubicBezTo>
                    <a:lnTo>
                      <a:pt x="4315" y="37762"/>
                    </a:lnTo>
                    <a:close/>
                    <a:moveTo>
                      <a:pt x="4240" y="23875"/>
                    </a:moveTo>
                    <a:cubicBezTo>
                      <a:pt x="4240" y="27153"/>
                      <a:pt x="4692" y="29528"/>
                      <a:pt x="5578" y="30979"/>
                    </a:cubicBezTo>
                    <a:cubicBezTo>
                      <a:pt x="7029" y="33372"/>
                      <a:pt x="9007" y="34559"/>
                      <a:pt x="11494" y="34559"/>
                    </a:cubicBezTo>
                    <a:cubicBezTo>
                      <a:pt x="13529" y="34559"/>
                      <a:pt x="15263" y="33673"/>
                      <a:pt x="16752" y="31921"/>
                    </a:cubicBezTo>
                    <a:cubicBezTo>
                      <a:pt x="18221" y="30168"/>
                      <a:pt x="18975" y="27530"/>
                      <a:pt x="18975" y="24044"/>
                    </a:cubicBezTo>
                    <a:cubicBezTo>
                      <a:pt x="18975" y="20558"/>
                      <a:pt x="18259" y="17845"/>
                      <a:pt x="16846" y="16130"/>
                    </a:cubicBezTo>
                    <a:cubicBezTo>
                      <a:pt x="15433" y="14415"/>
                      <a:pt x="13718" y="13586"/>
                      <a:pt x="11702" y="13586"/>
                    </a:cubicBezTo>
                    <a:cubicBezTo>
                      <a:pt x="9686" y="13586"/>
                      <a:pt x="7914" y="14472"/>
                      <a:pt x="6444" y="16224"/>
                    </a:cubicBezTo>
                    <a:cubicBezTo>
                      <a:pt x="4975" y="17977"/>
                      <a:pt x="4221" y="20539"/>
                      <a:pt x="4221" y="238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21" name="Freihandform: Form 3020">
                <a:extLst>
                  <a:ext uri="{FF2B5EF4-FFF2-40B4-BE49-F238E27FC236}">
                    <a16:creationId xmlns:a16="http://schemas.microsoft.com/office/drawing/2014/main" id="{751E4E85-853E-831D-C856-1334CD6520F4}"/>
                  </a:ext>
                </a:extLst>
              </p:cNvPr>
              <p:cNvSpPr/>
              <p:nvPr/>
            </p:nvSpPr>
            <p:spPr>
              <a:xfrm>
                <a:off x="5103809" y="3142439"/>
                <a:ext cx="25193" cy="28622"/>
              </a:xfrm>
              <a:custGeom>
                <a:avLst/>
                <a:gdLst>
                  <a:gd name="connsiteX0" fmla="*/ 19427 w 25193"/>
                  <a:gd name="connsiteY0" fmla="*/ 24628 h 28622"/>
                  <a:gd name="connsiteX1" fmla="*/ 14472 w 25193"/>
                  <a:gd name="connsiteY1" fmla="*/ 27719 h 28622"/>
                  <a:gd name="connsiteX2" fmla="*/ 9365 w 25193"/>
                  <a:gd name="connsiteY2" fmla="*/ 28623 h 28622"/>
                  <a:gd name="connsiteX3" fmla="*/ 2431 w 25193"/>
                  <a:gd name="connsiteY3" fmla="*/ 26418 h 28622"/>
                  <a:gd name="connsiteX4" fmla="*/ 0 w 25193"/>
                  <a:gd name="connsiteY4" fmla="*/ 20784 h 28622"/>
                  <a:gd name="connsiteX5" fmla="*/ 923 w 25193"/>
                  <a:gd name="connsiteY5" fmla="*/ 17110 h 28622"/>
                  <a:gd name="connsiteX6" fmla="*/ 3316 w 25193"/>
                  <a:gd name="connsiteY6" fmla="*/ 14434 h 28622"/>
                  <a:gd name="connsiteX7" fmla="*/ 6652 w 25193"/>
                  <a:gd name="connsiteY7" fmla="*/ 12908 h 28622"/>
                  <a:gd name="connsiteX8" fmla="*/ 10778 w 25193"/>
                  <a:gd name="connsiteY8" fmla="*/ 12210 h 28622"/>
                  <a:gd name="connsiteX9" fmla="*/ 19051 w 25193"/>
                  <a:gd name="connsiteY9" fmla="*/ 10609 h 28622"/>
                  <a:gd name="connsiteX10" fmla="*/ 19069 w 25193"/>
                  <a:gd name="connsiteY10" fmla="*/ 9403 h 28622"/>
                  <a:gd name="connsiteX11" fmla="*/ 17750 w 25193"/>
                  <a:gd name="connsiteY11" fmla="*/ 5408 h 28622"/>
                  <a:gd name="connsiteX12" fmla="*/ 12474 w 25193"/>
                  <a:gd name="connsiteY12" fmla="*/ 3844 h 28622"/>
                  <a:gd name="connsiteX13" fmla="*/ 7650 w 25193"/>
                  <a:gd name="connsiteY13" fmla="*/ 4994 h 28622"/>
                  <a:gd name="connsiteX14" fmla="*/ 5351 w 25193"/>
                  <a:gd name="connsiteY14" fmla="*/ 9045 h 28622"/>
                  <a:gd name="connsiteX15" fmla="*/ 810 w 25193"/>
                  <a:gd name="connsiteY15" fmla="*/ 8423 h 28622"/>
                  <a:gd name="connsiteX16" fmla="*/ 2845 w 25193"/>
                  <a:gd name="connsiteY16" fmla="*/ 3712 h 28622"/>
                  <a:gd name="connsiteX17" fmla="*/ 6934 w 25193"/>
                  <a:gd name="connsiteY17" fmla="*/ 961 h 28622"/>
                  <a:gd name="connsiteX18" fmla="*/ 13134 w 25193"/>
                  <a:gd name="connsiteY18" fmla="*/ 0 h 28622"/>
                  <a:gd name="connsiteX19" fmla="*/ 18825 w 25193"/>
                  <a:gd name="connsiteY19" fmla="*/ 829 h 28622"/>
                  <a:gd name="connsiteX20" fmla="*/ 22047 w 25193"/>
                  <a:gd name="connsiteY20" fmla="*/ 2902 h 28622"/>
                  <a:gd name="connsiteX21" fmla="*/ 23498 w 25193"/>
                  <a:gd name="connsiteY21" fmla="*/ 6049 h 28622"/>
                  <a:gd name="connsiteX22" fmla="*/ 23724 w 25193"/>
                  <a:gd name="connsiteY22" fmla="*/ 10326 h 28622"/>
                  <a:gd name="connsiteX23" fmla="*/ 23724 w 25193"/>
                  <a:gd name="connsiteY23" fmla="*/ 16507 h 28622"/>
                  <a:gd name="connsiteX24" fmla="*/ 24025 w 25193"/>
                  <a:gd name="connsiteY24" fmla="*/ 24685 h 28622"/>
                  <a:gd name="connsiteX25" fmla="*/ 25194 w 25193"/>
                  <a:gd name="connsiteY25" fmla="*/ 27963 h 28622"/>
                  <a:gd name="connsiteX26" fmla="*/ 20351 w 25193"/>
                  <a:gd name="connsiteY26" fmla="*/ 27963 h 28622"/>
                  <a:gd name="connsiteX27" fmla="*/ 19427 w 25193"/>
                  <a:gd name="connsiteY27" fmla="*/ 24590 h 28622"/>
                  <a:gd name="connsiteX28" fmla="*/ 19032 w 25193"/>
                  <a:gd name="connsiteY28" fmla="*/ 14264 h 28622"/>
                  <a:gd name="connsiteX29" fmla="*/ 11457 w 25193"/>
                  <a:gd name="connsiteY29" fmla="*/ 16017 h 28622"/>
                  <a:gd name="connsiteX30" fmla="*/ 7405 w 25193"/>
                  <a:gd name="connsiteY30" fmla="*/ 16940 h 28622"/>
                  <a:gd name="connsiteX31" fmla="*/ 5578 w 25193"/>
                  <a:gd name="connsiteY31" fmla="*/ 18448 h 28622"/>
                  <a:gd name="connsiteX32" fmla="*/ 4937 w 25193"/>
                  <a:gd name="connsiteY32" fmla="*/ 20652 h 28622"/>
                  <a:gd name="connsiteX33" fmla="*/ 6350 w 25193"/>
                  <a:gd name="connsiteY33" fmla="*/ 23743 h 28622"/>
                  <a:gd name="connsiteX34" fmla="*/ 10458 w 25193"/>
                  <a:gd name="connsiteY34" fmla="*/ 24986 h 28622"/>
                  <a:gd name="connsiteX35" fmla="*/ 15225 w 25193"/>
                  <a:gd name="connsiteY35" fmla="*/ 23818 h 28622"/>
                  <a:gd name="connsiteX36" fmla="*/ 18297 w 25193"/>
                  <a:gd name="connsiteY36" fmla="*/ 20615 h 28622"/>
                  <a:gd name="connsiteX37" fmla="*/ 19051 w 25193"/>
                  <a:gd name="connsiteY37" fmla="*/ 15979 h 28622"/>
                  <a:gd name="connsiteX38" fmla="*/ 19051 w 25193"/>
                  <a:gd name="connsiteY38" fmla="*/ 14283 h 2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5193" h="28622">
                    <a:moveTo>
                      <a:pt x="19427" y="24628"/>
                    </a:moveTo>
                    <a:cubicBezTo>
                      <a:pt x="17713" y="26079"/>
                      <a:pt x="16055" y="27116"/>
                      <a:pt x="14472" y="27719"/>
                    </a:cubicBezTo>
                    <a:cubicBezTo>
                      <a:pt x="12889" y="28322"/>
                      <a:pt x="11174" y="28623"/>
                      <a:pt x="9365" y="28623"/>
                    </a:cubicBezTo>
                    <a:cubicBezTo>
                      <a:pt x="6350" y="28623"/>
                      <a:pt x="4051" y="27888"/>
                      <a:pt x="2431" y="26418"/>
                    </a:cubicBezTo>
                    <a:cubicBezTo>
                      <a:pt x="810" y="24949"/>
                      <a:pt x="0" y="23064"/>
                      <a:pt x="0" y="20784"/>
                    </a:cubicBezTo>
                    <a:cubicBezTo>
                      <a:pt x="0" y="19446"/>
                      <a:pt x="302" y="18222"/>
                      <a:pt x="923" y="17110"/>
                    </a:cubicBezTo>
                    <a:cubicBezTo>
                      <a:pt x="1526" y="15998"/>
                      <a:pt x="2337" y="15112"/>
                      <a:pt x="3316" y="14434"/>
                    </a:cubicBezTo>
                    <a:cubicBezTo>
                      <a:pt x="4296" y="13756"/>
                      <a:pt x="5408" y="13266"/>
                      <a:pt x="6652" y="12908"/>
                    </a:cubicBezTo>
                    <a:cubicBezTo>
                      <a:pt x="7556" y="12663"/>
                      <a:pt x="8932" y="12437"/>
                      <a:pt x="10778" y="12210"/>
                    </a:cubicBezTo>
                    <a:cubicBezTo>
                      <a:pt x="14528" y="11758"/>
                      <a:pt x="17279" y="11231"/>
                      <a:pt x="19051" y="10609"/>
                    </a:cubicBezTo>
                    <a:cubicBezTo>
                      <a:pt x="19051" y="9968"/>
                      <a:pt x="19069" y="9572"/>
                      <a:pt x="19069" y="9403"/>
                    </a:cubicBezTo>
                    <a:cubicBezTo>
                      <a:pt x="19069" y="7518"/>
                      <a:pt x="18636" y="6181"/>
                      <a:pt x="17750" y="5408"/>
                    </a:cubicBezTo>
                    <a:cubicBezTo>
                      <a:pt x="16563" y="4353"/>
                      <a:pt x="14811" y="3844"/>
                      <a:pt x="12474" y="3844"/>
                    </a:cubicBezTo>
                    <a:cubicBezTo>
                      <a:pt x="10288" y="3844"/>
                      <a:pt x="8687" y="4221"/>
                      <a:pt x="7650" y="4994"/>
                    </a:cubicBezTo>
                    <a:cubicBezTo>
                      <a:pt x="6614" y="5766"/>
                      <a:pt x="5841" y="7104"/>
                      <a:pt x="5351" y="9045"/>
                    </a:cubicBezTo>
                    <a:lnTo>
                      <a:pt x="810" y="8423"/>
                    </a:lnTo>
                    <a:cubicBezTo>
                      <a:pt x="1225" y="6482"/>
                      <a:pt x="1903" y="4918"/>
                      <a:pt x="2845" y="3712"/>
                    </a:cubicBezTo>
                    <a:cubicBezTo>
                      <a:pt x="3788" y="2525"/>
                      <a:pt x="5163" y="1602"/>
                      <a:pt x="6934" y="961"/>
                    </a:cubicBezTo>
                    <a:cubicBezTo>
                      <a:pt x="8724" y="320"/>
                      <a:pt x="10797" y="0"/>
                      <a:pt x="13134" y="0"/>
                    </a:cubicBezTo>
                    <a:cubicBezTo>
                      <a:pt x="15470" y="0"/>
                      <a:pt x="17374" y="283"/>
                      <a:pt x="18825" y="829"/>
                    </a:cubicBezTo>
                    <a:cubicBezTo>
                      <a:pt x="20275" y="1376"/>
                      <a:pt x="21349" y="2073"/>
                      <a:pt x="22047" y="2902"/>
                    </a:cubicBezTo>
                    <a:cubicBezTo>
                      <a:pt x="22725" y="3731"/>
                      <a:pt x="23215" y="4786"/>
                      <a:pt x="23498" y="6049"/>
                    </a:cubicBezTo>
                    <a:cubicBezTo>
                      <a:pt x="23648" y="6840"/>
                      <a:pt x="23724" y="8272"/>
                      <a:pt x="23724" y="10326"/>
                    </a:cubicBezTo>
                    <a:lnTo>
                      <a:pt x="23724" y="16507"/>
                    </a:lnTo>
                    <a:cubicBezTo>
                      <a:pt x="23724" y="20822"/>
                      <a:pt x="23818" y="23535"/>
                      <a:pt x="24025" y="24685"/>
                    </a:cubicBezTo>
                    <a:cubicBezTo>
                      <a:pt x="24214" y="25834"/>
                      <a:pt x="24609" y="26927"/>
                      <a:pt x="25194" y="27963"/>
                    </a:cubicBezTo>
                    <a:lnTo>
                      <a:pt x="20351" y="27963"/>
                    </a:lnTo>
                    <a:cubicBezTo>
                      <a:pt x="19861" y="27002"/>
                      <a:pt x="19559" y="25872"/>
                      <a:pt x="19427" y="24590"/>
                    </a:cubicBezTo>
                    <a:close/>
                    <a:moveTo>
                      <a:pt x="19032" y="14264"/>
                    </a:moveTo>
                    <a:cubicBezTo>
                      <a:pt x="17355" y="14943"/>
                      <a:pt x="14830" y="15527"/>
                      <a:pt x="11457" y="16017"/>
                    </a:cubicBezTo>
                    <a:cubicBezTo>
                      <a:pt x="9553" y="16300"/>
                      <a:pt x="8197" y="16601"/>
                      <a:pt x="7405" y="16940"/>
                    </a:cubicBezTo>
                    <a:cubicBezTo>
                      <a:pt x="6614" y="17279"/>
                      <a:pt x="6011" y="17788"/>
                      <a:pt x="5578" y="18448"/>
                    </a:cubicBezTo>
                    <a:cubicBezTo>
                      <a:pt x="5144" y="19107"/>
                      <a:pt x="4937" y="19842"/>
                      <a:pt x="4937" y="20652"/>
                    </a:cubicBezTo>
                    <a:cubicBezTo>
                      <a:pt x="4937" y="21896"/>
                      <a:pt x="5408" y="22914"/>
                      <a:pt x="6350" y="23743"/>
                    </a:cubicBezTo>
                    <a:cubicBezTo>
                      <a:pt x="7292" y="24572"/>
                      <a:pt x="8649" y="24986"/>
                      <a:pt x="10458" y="24986"/>
                    </a:cubicBezTo>
                    <a:cubicBezTo>
                      <a:pt x="12267" y="24986"/>
                      <a:pt x="13831" y="24590"/>
                      <a:pt x="15225" y="23818"/>
                    </a:cubicBezTo>
                    <a:cubicBezTo>
                      <a:pt x="16620" y="23045"/>
                      <a:pt x="17637" y="21971"/>
                      <a:pt x="18297" y="20615"/>
                    </a:cubicBezTo>
                    <a:cubicBezTo>
                      <a:pt x="18787" y="19559"/>
                      <a:pt x="19051" y="18014"/>
                      <a:pt x="19051" y="15979"/>
                    </a:cubicBezTo>
                    <a:lnTo>
                      <a:pt x="19051" y="1428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22" name="Freihandform: Form 3021">
                <a:extLst>
                  <a:ext uri="{FF2B5EF4-FFF2-40B4-BE49-F238E27FC236}">
                    <a16:creationId xmlns:a16="http://schemas.microsoft.com/office/drawing/2014/main" id="{E294DE13-9F62-08D8-6F26-BCDC3AEC1433}"/>
                  </a:ext>
                </a:extLst>
              </p:cNvPr>
              <p:cNvSpPr/>
              <p:nvPr/>
            </p:nvSpPr>
            <p:spPr>
              <a:xfrm>
                <a:off x="5132959" y="3142477"/>
                <a:ext cx="24119" cy="39099"/>
              </a:xfrm>
              <a:custGeom>
                <a:avLst/>
                <a:gdLst>
                  <a:gd name="connsiteX0" fmla="*/ 923 w 24119"/>
                  <a:gd name="connsiteY0" fmla="*/ 30225 h 39099"/>
                  <a:gd name="connsiteX1" fmla="*/ 5427 w 24119"/>
                  <a:gd name="connsiteY1" fmla="*/ 30903 h 39099"/>
                  <a:gd name="connsiteX2" fmla="*/ 6991 w 24119"/>
                  <a:gd name="connsiteY2" fmla="*/ 33937 h 39099"/>
                  <a:gd name="connsiteX3" fmla="*/ 11702 w 24119"/>
                  <a:gd name="connsiteY3" fmla="*/ 35218 h 39099"/>
                  <a:gd name="connsiteX4" fmla="*/ 16676 w 24119"/>
                  <a:gd name="connsiteY4" fmla="*/ 33937 h 39099"/>
                  <a:gd name="connsiteX5" fmla="*/ 19051 w 24119"/>
                  <a:gd name="connsiteY5" fmla="*/ 30338 h 39099"/>
                  <a:gd name="connsiteX6" fmla="*/ 19390 w 24119"/>
                  <a:gd name="connsiteY6" fmla="*/ 24383 h 39099"/>
                  <a:gd name="connsiteX7" fmla="*/ 11815 w 24119"/>
                  <a:gd name="connsiteY7" fmla="*/ 27963 h 39099"/>
                  <a:gd name="connsiteX8" fmla="*/ 3090 w 24119"/>
                  <a:gd name="connsiteY8" fmla="*/ 23893 h 39099"/>
                  <a:gd name="connsiteX9" fmla="*/ 0 w 24119"/>
                  <a:gd name="connsiteY9" fmla="*/ 14133 h 39099"/>
                  <a:gd name="connsiteX10" fmla="*/ 1413 w 24119"/>
                  <a:gd name="connsiteY10" fmla="*/ 6915 h 39099"/>
                  <a:gd name="connsiteX11" fmla="*/ 5521 w 24119"/>
                  <a:gd name="connsiteY11" fmla="*/ 1809 h 39099"/>
                  <a:gd name="connsiteX12" fmla="*/ 11853 w 24119"/>
                  <a:gd name="connsiteY12" fmla="*/ 0 h 39099"/>
                  <a:gd name="connsiteX13" fmla="*/ 19842 w 24119"/>
                  <a:gd name="connsiteY13" fmla="*/ 3919 h 39099"/>
                  <a:gd name="connsiteX14" fmla="*/ 19842 w 24119"/>
                  <a:gd name="connsiteY14" fmla="*/ 622 h 39099"/>
                  <a:gd name="connsiteX15" fmla="*/ 24120 w 24119"/>
                  <a:gd name="connsiteY15" fmla="*/ 622 h 39099"/>
                  <a:gd name="connsiteX16" fmla="*/ 24120 w 24119"/>
                  <a:gd name="connsiteY16" fmla="*/ 24270 h 39099"/>
                  <a:gd name="connsiteX17" fmla="*/ 22819 w 24119"/>
                  <a:gd name="connsiteY17" fmla="*/ 33334 h 39099"/>
                  <a:gd name="connsiteX18" fmla="*/ 18693 w 24119"/>
                  <a:gd name="connsiteY18" fmla="*/ 37555 h 39099"/>
                  <a:gd name="connsiteX19" fmla="*/ 11758 w 24119"/>
                  <a:gd name="connsiteY19" fmla="*/ 39100 h 39099"/>
                  <a:gd name="connsiteX20" fmla="*/ 3844 w 24119"/>
                  <a:gd name="connsiteY20" fmla="*/ 36895 h 39099"/>
                  <a:gd name="connsiteX21" fmla="*/ 942 w 24119"/>
                  <a:gd name="connsiteY21" fmla="*/ 30262 h 39099"/>
                  <a:gd name="connsiteX22" fmla="*/ 4767 w 24119"/>
                  <a:gd name="connsiteY22" fmla="*/ 13793 h 39099"/>
                  <a:gd name="connsiteX23" fmla="*/ 6897 w 24119"/>
                  <a:gd name="connsiteY23" fmla="*/ 21651 h 39099"/>
                  <a:gd name="connsiteX24" fmla="*/ 12248 w 24119"/>
                  <a:gd name="connsiteY24" fmla="*/ 24119 h 39099"/>
                  <a:gd name="connsiteX25" fmla="*/ 17600 w 24119"/>
                  <a:gd name="connsiteY25" fmla="*/ 21651 h 39099"/>
                  <a:gd name="connsiteX26" fmla="*/ 19767 w 24119"/>
                  <a:gd name="connsiteY26" fmla="*/ 13944 h 39099"/>
                  <a:gd name="connsiteX27" fmla="*/ 17543 w 24119"/>
                  <a:gd name="connsiteY27" fmla="*/ 6369 h 39099"/>
                  <a:gd name="connsiteX28" fmla="*/ 12173 w 24119"/>
                  <a:gd name="connsiteY28" fmla="*/ 3825 h 39099"/>
                  <a:gd name="connsiteX29" fmla="*/ 6916 w 24119"/>
                  <a:gd name="connsiteY29" fmla="*/ 6331 h 39099"/>
                  <a:gd name="connsiteX30" fmla="*/ 4749 w 24119"/>
                  <a:gd name="connsiteY30" fmla="*/ 13793 h 39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4119" h="39099">
                    <a:moveTo>
                      <a:pt x="923" y="30225"/>
                    </a:moveTo>
                    <a:lnTo>
                      <a:pt x="5427" y="30903"/>
                    </a:lnTo>
                    <a:cubicBezTo>
                      <a:pt x="5615" y="32298"/>
                      <a:pt x="6143" y="33315"/>
                      <a:pt x="6991" y="33937"/>
                    </a:cubicBezTo>
                    <a:cubicBezTo>
                      <a:pt x="8140" y="34804"/>
                      <a:pt x="9704" y="35218"/>
                      <a:pt x="11702" y="35218"/>
                    </a:cubicBezTo>
                    <a:cubicBezTo>
                      <a:pt x="13850" y="35218"/>
                      <a:pt x="15508" y="34785"/>
                      <a:pt x="16676" y="33937"/>
                    </a:cubicBezTo>
                    <a:cubicBezTo>
                      <a:pt x="17845" y="33070"/>
                      <a:pt x="18636" y="31883"/>
                      <a:pt x="19051" y="30338"/>
                    </a:cubicBezTo>
                    <a:cubicBezTo>
                      <a:pt x="19296" y="29396"/>
                      <a:pt x="19409" y="27417"/>
                      <a:pt x="19390" y="24383"/>
                    </a:cubicBezTo>
                    <a:cubicBezTo>
                      <a:pt x="17355" y="26776"/>
                      <a:pt x="14830" y="27963"/>
                      <a:pt x="11815" y="27963"/>
                    </a:cubicBezTo>
                    <a:cubicBezTo>
                      <a:pt x="8046" y="27963"/>
                      <a:pt x="5144" y="26607"/>
                      <a:pt x="3090" y="23893"/>
                    </a:cubicBezTo>
                    <a:cubicBezTo>
                      <a:pt x="1036" y="21180"/>
                      <a:pt x="0" y="17920"/>
                      <a:pt x="0" y="14133"/>
                    </a:cubicBezTo>
                    <a:cubicBezTo>
                      <a:pt x="0" y="11513"/>
                      <a:pt x="471" y="9120"/>
                      <a:pt x="1413" y="6915"/>
                    </a:cubicBezTo>
                    <a:cubicBezTo>
                      <a:pt x="2355" y="4711"/>
                      <a:pt x="3731" y="2996"/>
                      <a:pt x="5521" y="1809"/>
                    </a:cubicBezTo>
                    <a:cubicBezTo>
                      <a:pt x="7311" y="603"/>
                      <a:pt x="9422" y="0"/>
                      <a:pt x="11853" y="0"/>
                    </a:cubicBezTo>
                    <a:cubicBezTo>
                      <a:pt x="15075" y="0"/>
                      <a:pt x="17751" y="1300"/>
                      <a:pt x="19842" y="3919"/>
                    </a:cubicBezTo>
                    <a:lnTo>
                      <a:pt x="19842" y="622"/>
                    </a:lnTo>
                    <a:lnTo>
                      <a:pt x="24120" y="622"/>
                    </a:lnTo>
                    <a:lnTo>
                      <a:pt x="24120" y="24270"/>
                    </a:lnTo>
                    <a:cubicBezTo>
                      <a:pt x="24120" y="28529"/>
                      <a:pt x="23686" y="31544"/>
                      <a:pt x="22819" y="33334"/>
                    </a:cubicBezTo>
                    <a:cubicBezTo>
                      <a:pt x="21953" y="35105"/>
                      <a:pt x="20577" y="36518"/>
                      <a:pt x="18693" y="37555"/>
                    </a:cubicBezTo>
                    <a:cubicBezTo>
                      <a:pt x="16808" y="38591"/>
                      <a:pt x="14491" y="39100"/>
                      <a:pt x="11758" y="39100"/>
                    </a:cubicBezTo>
                    <a:cubicBezTo>
                      <a:pt x="8498" y="39100"/>
                      <a:pt x="5860" y="38365"/>
                      <a:pt x="3844" y="36895"/>
                    </a:cubicBezTo>
                    <a:cubicBezTo>
                      <a:pt x="1828" y="35425"/>
                      <a:pt x="867" y="33221"/>
                      <a:pt x="942" y="30262"/>
                    </a:cubicBezTo>
                    <a:close/>
                    <a:moveTo>
                      <a:pt x="4767" y="13793"/>
                    </a:moveTo>
                    <a:cubicBezTo>
                      <a:pt x="4767" y="17392"/>
                      <a:pt x="5483" y="19993"/>
                      <a:pt x="6897" y="21651"/>
                    </a:cubicBezTo>
                    <a:cubicBezTo>
                      <a:pt x="8329" y="23309"/>
                      <a:pt x="10100" y="24119"/>
                      <a:pt x="12248" y="24119"/>
                    </a:cubicBezTo>
                    <a:cubicBezTo>
                      <a:pt x="14396" y="24119"/>
                      <a:pt x="16168" y="23290"/>
                      <a:pt x="17600" y="21651"/>
                    </a:cubicBezTo>
                    <a:cubicBezTo>
                      <a:pt x="19032" y="20012"/>
                      <a:pt x="19767" y="17430"/>
                      <a:pt x="19767" y="13944"/>
                    </a:cubicBezTo>
                    <a:cubicBezTo>
                      <a:pt x="19767" y="10458"/>
                      <a:pt x="19032" y="8065"/>
                      <a:pt x="17543" y="6369"/>
                    </a:cubicBezTo>
                    <a:cubicBezTo>
                      <a:pt x="16055" y="4673"/>
                      <a:pt x="14265" y="3825"/>
                      <a:pt x="12173" y="3825"/>
                    </a:cubicBezTo>
                    <a:cubicBezTo>
                      <a:pt x="10081" y="3825"/>
                      <a:pt x="8367" y="4654"/>
                      <a:pt x="6916" y="6331"/>
                    </a:cubicBezTo>
                    <a:cubicBezTo>
                      <a:pt x="5465" y="8008"/>
                      <a:pt x="4749" y="10496"/>
                      <a:pt x="4749" y="1379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23" name="Freihandform: Form 3022">
                <a:extLst>
                  <a:ext uri="{FF2B5EF4-FFF2-40B4-BE49-F238E27FC236}">
                    <a16:creationId xmlns:a16="http://schemas.microsoft.com/office/drawing/2014/main" id="{DAFB6925-F611-99B9-9C1C-0E1238EACA54}"/>
                  </a:ext>
                </a:extLst>
              </p:cNvPr>
              <p:cNvSpPr/>
              <p:nvPr/>
            </p:nvSpPr>
            <p:spPr>
              <a:xfrm>
                <a:off x="5162336" y="3142477"/>
                <a:ext cx="25645" cy="28604"/>
              </a:xfrm>
              <a:custGeom>
                <a:avLst/>
                <a:gdLst>
                  <a:gd name="connsiteX0" fmla="*/ 19 w 25645"/>
                  <a:gd name="connsiteY0" fmla="*/ 14283 h 28604"/>
                  <a:gd name="connsiteX1" fmla="*/ 4240 w 25645"/>
                  <a:gd name="connsiteY1" fmla="*/ 3034 h 28604"/>
                  <a:gd name="connsiteX2" fmla="*/ 12851 w 25645"/>
                  <a:gd name="connsiteY2" fmla="*/ 0 h 28604"/>
                  <a:gd name="connsiteX3" fmla="*/ 22066 w 25645"/>
                  <a:gd name="connsiteY3" fmla="*/ 3693 h 28604"/>
                  <a:gd name="connsiteX4" fmla="*/ 25646 w 25645"/>
                  <a:gd name="connsiteY4" fmla="*/ 13906 h 28604"/>
                  <a:gd name="connsiteX5" fmla="*/ 24063 w 25645"/>
                  <a:gd name="connsiteY5" fmla="*/ 22216 h 28604"/>
                  <a:gd name="connsiteX6" fmla="*/ 19446 w 25645"/>
                  <a:gd name="connsiteY6" fmla="*/ 26927 h 28604"/>
                  <a:gd name="connsiteX7" fmla="*/ 12832 w 25645"/>
                  <a:gd name="connsiteY7" fmla="*/ 28604 h 28604"/>
                  <a:gd name="connsiteX8" fmla="*/ 3543 w 25645"/>
                  <a:gd name="connsiteY8" fmla="*/ 24911 h 28604"/>
                  <a:gd name="connsiteX9" fmla="*/ 0 w 25645"/>
                  <a:gd name="connsiteY9" fmla="*/ 14302 h 28604"/>
                  <a:gd name="connsiteX10" fmla="*/ 4786 w 25645"/>
                  <a:gd name="connsiteY10" fmla="*/ 14283 h 28604"/>
                  <a:gd name="connsiteX11" fmla="*/ 7085 w 25645"/>
                  <a:gd name="connsiteY11" fmla="*/ 22160 h 28604"/>
                  <a:gd name="connsiteX12" fmla="*/ 12851 w 25645"/>
                  <a:gd name="connsiteY12" fmla="*/ 24779 h 28604"/>
                  <a:gd name="connsiteX13" fmla="*/ 18598 w 25645"/>
                  <a:gd name="connsiteY13" fmla="*/ 22160 h 28604"/>
                  <a:gd name="connsiteX14" fmla="*/ 20897 w 25645"/>
                  <a:gd name="connsiteY14" fmla="*/ 14151 h 28604"/>
                  <a:gd name="connsiteX15" fmla="*/ 18598 w 25645"/>
                  <a:gd name="connsiteY15" fmla="*/ 6463 h 28604"/>
                  <a:gd name="connsiteX16" fmla="*/ 12870 w 25645"/>
                  <a:gd name="connsiteY16" fmla="*/ 3844 h 28604"/>
                  <a:gd name="connsiteX17" fmla="*/ 7104 w 25645"/>
                  <a:gd name="connsiteY17" fmla="*/ 6444 h 28604"/>
                  <a:gd name="connsiteX18" fmla="*/ 4805 w 25645"/>
                  <a:gd name="connsiteY18" fmla="*/ 14302 h 2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645" h="28604">
                    <a:moveTo>
                      <a:pt x="19" y="14283"/>
                    </a:moveTo>
                    <a:cubicBezTo>
                      <a:pt x="19" y="9214"/>
                      <a:pt x="1432" y="5465"/>
                      <a:pt x="4240" y="3034"/>
                    </a:cubicBezTo>
                    <a:cubicBezTo>
                      <a:pt x="6595" y="999"/>
                      <a:pt x="9459" y="0"/>
                      <a:pt x="12851" y="0"/>
                    </a:cubicBezTo>
                    <a:cubicBezTo>
                      <a:pt x="16620" y="0"/>
                      <a:pt x="19691" y="1225"/>
                      <a:pt x="22066" y="3693"/>
                    </a:cubicBezTo>
                    <a:cubicBezTo>
                      <a:pt x="24459" y="6162"/>
                      <a:pt x="25646" y="9572"/>
                      <a:pt x="25646" y="13906"/>
                    </a:cubicBezTo>
                    <a:cubicBezTo>
                      <a:pt x="25646" y="17430"/>
                      <a:pt x="25118" y="20200"/>
                      <a:pt x="24063" y="22216"/>
                    </a:cubicBezTo>
                    <a:cubicBezTo>
                      <a:pt x="23008" y="24233"/>
                      <a:pt x="21463" y="25796"/>
                      <a:pt x="19446" y="26927"/>
                    </a:cubicBezTo>
                    <a:cubicBezTo>
                      <a:pt x="17430" y="28039"/>
                      <a:pt x="15226" y="28604"/>
                      <a:pt x="12832" y="28604"/>
                    </a:cubicBezTo>
                    <a:cubicBezTo>
                      <a:pt x="9007" y="28604"/>
                      <a:pt x="5898" y="27379"/>
                      <a:pt x="3543" y="24911"/>
                    </a:cubicBezTo>
                    <a:cubicBezTo>
                      <a:pt x="1187" y="22461"/>
                      <a:pt x="0" y="18919"/>
                      <a:pt x="0" y="14302"/>
                    </a:cubicBezTo>
                    <a:close/>
                    <a:moveTo>
                      <a:pt x="4786" y="14283"/>
                    </a:moveTo>
                    <a:cubicBezTo>
                      <a:pt x="4786" y="17788"/>
                      <a:pt x="5559" y="20407"/>
                      <a:pt x="7085" y="22160"/>
                    </a:cubicBezTo>
                    <a:cubicBezTo>
                      <a:pt x="8612" y="23893"/>
                      <a:pt x="10534" y="24779"/>
                      <a:pt x="12851" y="24779"/>
                    </a:cubicBezTo>
                    <a:cubicBezTo>
                      <a:pt x="15169" y="24779"/>
                      <a:pt x="17072" y="23912"/>
                      <a:pt x="18598" y="22160"/>
                    </a:cubicBezTo>
                    <a:cubicBezTo>
                      <a:pt x="20125" y="20407"/>
                      <a:pt x="20897" y="17731"/>
                      <a:pt x="20897" y="14151"/>
                    </a:cubicBezTo>
                    <a:cubicBezTo>
                      <a:pt x="20897" y="10759"/>
                      <a:pt x="20125" y="8197"/>
                      <a:pt x="18598" y="6463"/>
                    </a:cubicBezTo>
                    <a:cubicBezTo>
                      <a:pt x="17053" y="4730"/>
                      <a:pt x="15150" y="3844"/>
                      <a:pt x="12870" y="3844"/>
                    </a:cubicBezTo>
                    <a:cubicBezTo>
                      <a:pt x="10590" y="3844"/>
                      <a:pt x="8630" y="4711"/>
                      <a:pt x="7104" y="6444"/>
                    </a:cubicBezTo>
                    <a:cubicBezTo>
                      <a:pt x="5578" y="8178"/>
                      <a:pt x="4805" y="10797"/>
                      <a:pt x="4805" y="14302"/>
                    </a:cubicBez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884" name="Grafik 21">
              <a:extLst>
                <a:ext uri="{FF2B5EF4-FFF2-40B4-BE49-F238E27FC236}">
                  <a16:creationId xmlns:a16="http://schemas.microsoft.com/office/drawing/2014/main" id="{D34EE880-D909-CB11-88ED-13CCA8451581}"/>
                </a:ext>
              </a:extLst>
            </p:cNvPr>
            <p:cNvGrpSpPr/>
            <p:nvPr/>
          </p:nvGrpSpPr>
          <p:grpSpPr>
            <a:xfrm>
              <a:off x="8297572" y="969836"/>
              <a:ext cx="60562" cy="59846"/>
              <a:chOff x="8297572" y="969836"/>
              <a:chExt cx="60562" cy="59846"/>
            </a:xfrm>
            <a:solidFill>
              <a:srgbClr val="000000"/>
            </a:solidFill>
          </p:grpSpPr>
          <p:sp>
            <p:nvSpPr>
              <p:cNvPr id="3016" name="Freihandform: Form 3015">
                <a:extLst>
                  <a:ext uri="{FF2B5EF4-FFF2-40B4-BE49-F238E27FC236}">
                    <a16:creationId xmlns:a16="http://schemas.microsoft.com/office/drawing/2014/main" id="{327DB7E8-4C65-A2B9-2D7C-82DBF9F294DD}"/>
                  </a:ext>
                </a:extLst>
              </p:cNvPr>
              <p:cNvSpPr/>
              <p:nvPr/>
            </p:nvSpPr>
            <p:spPr>
              <a:xfrm>
                <a:off x="8303941" y="990959"/>
                <a:ext cx="47880" cy="26852"/>
              </a:xfrm>
              <a:custGeom>
                <a:avLst/>
                <a:gdLst>
                  <a:gd name="connsiteX0" fmla="*/ 41776 w 47880"/>
                  <a:gd name="connsiteY0" fmla="*/ 22613 h 26852"/>
                  <a:gd name="connsiteX1" fmla="*/ 41776 w 47880"/>
                  <a:gd name="connsiteY1" fmla="*/ 26853 h 26852"/>
                  <a:gd name="connsiteX2" fmla="*/ 0 w 47880"/>
                  <a:gd name="connsiteY2" fmla="*/ 1 h 26852"/>
                  <a:gd name="connsiteX3" fmla="*/ 14509 w 47880"/>
                  <a:gd name="connsiteY3" fmla="*/ 1 h 26852"/>
                  <a:gd name="connsiteX4" fmla="*/ 14509 w 47880"/>
                  <a:gd name="connsiteY4" fmla="*/ 2507 h 26852"/>
                  <a:gd name="connsiteX5" fmla="*/ 11664 w 47880"/>
                  <a:gd name="connsiteY5" fmla="*/ 3261 h 26852"/>
                  <a:gd name="connsiteX6" fmla="*/ 21029 w 47880"/>
                  <a:gd name="connsiteY6" fmla="*/ 9272 h 26852"/>
                  <a:gd name="connsiteX7" fmla="*/ 17618 w 47880"/>
                  <a:gd name="connsiteY7" fmla="*/ 1659 h 26852"/>
                  <a:gd name="connsiteX8" fmla="*/ 21255 w 47880"/>
                  <a:gd name="connsiteY8" fmla="*/ 1 h 26852"/>
                  <a:gd name="connsiteX9" fmla="*/ 47881 w 47880"/>
                  <a:gd name="connsiteY9" fmla="*/ 1 h 26852"/>
                  <a:gd name="connsiteX10" fmla="*/ 31939 w 47880"/>
                  <a:gd name="connsiteY10" fmla="*/ 12362 h 26852"/>
                  <a:gd name="connsiteX11" fmla="*/ 30112 w 47880"/>
                  <a:gd name="connsiteY11" fmla="*/ 10647 h 26852"/>
                  <a:gd name="connsiteX12" fmla="*/ 37894 w 47880"/>
                  <a:gd name="connsiteY12" fmla="*/ 3355 h 26852"/>
                  <a:gd name="connsiteX13" fmla="*/ 23083 w 47880"/>
                  <a:gd name="connsiteY13" fmla="*/ 3355 h 26852"/>
                  <a:gd name="connsiteX14" fmla="*/ 22009 w 47880"/>
                  <a:gd name="connsiteY14" fmla="*/ 3845 h 26852"/>
                  <a:gd name="connsiteX15" fmla="*/ 38101 w 47880"/>
                  <a:gd name="connsiteY15" fmla="*/ 20201 h 26852"/>
                  <a:gd name="connsiteX16" fmla="*/ 41776 w 47880"/>
                  <a:gd name="connsiteY16" fmla="*/ 22613 h 26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880" h="26852">
                    <a:moveTo>
                      <a:pt x="41776" y="22613"/>
                    </a:moveTo>
                    <a:lnTo>
                      <a:pt x="41776" y="26853"/>
                    </a:lnTo>
                    <a:lnTo>
                      <a:pt x="0" y="1"/>
                    </a:lnTo>
                    <a:lnTo>
                      <a:pt x="14509" y="1"/>
                    </a:lnTo>
                    <a:lnTo>
                      <a:pt x="14509" y="2507"/>
                    </a:lnTo>
                    <a:lnTo>
                      <a:pt x="11664" y="3261"/>
                    </a:lnTo>
                    <a:lnTo>
                      <a:pt x="21029" y="9272"/>
                    </a:lnTo>
                    <a:cubicBezTo>
                      <a:pt x="21029" y="9272"/>
                      <a:pt x="16017" y="4900"/>
                      <a:pt x="17618" y="1659"/>
                    </a:cubicBezTo>
                    <a:cubicBezTo>
                      <a:pt x="18485" y="-93"/>
                      <a:pt x="20728" y="1"/>
                      <a:pt x="21255" y="1"/>
                    </a:cubicBezTo>
                    <a:lnTo>
                      <a:pt x="47881" y="1"/>
                    </a:lnTo>
                    <a:lnTo>
                      <a:pt x="31939" y="12362"/>
                    </a:lnTo>
                    <a:lnTo>
                      <a:pt x="30112" y="10647"/>
                    </a:lnTo>
                    <a:lnTo>
                      <a:pt x="37894" y="3355"/>
                    </a:lnTo>
                    <a:lnTo>
                      <a:pt x="23083" y="3355"/>
                    </a:lnTo>
                    <a:cubicBezTo>
                      <a:pt x="22932" y="3355"/>
                      <a:pt x="22235" y="3317"/>
                      <a:pt x="22009" y="3845"/>
                    </a:cubicBezTo>
                    <a:cubicBezTo>
                      <a:pt x="20991" y="6125"/>
                      <a:pt x="29641" y="14661"/>
                      <a:pt x="38101" y="20201"/>
                    </a:cubicBezTo>
                    <a:lnTo>
                      <a:pt x="41776" y="22613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17" name="Freihandform: Form 3016">
                <a:extLst>
                  <a:ext uri="{FF2B5EF4-FFF2-40B4-BE49-F238E27FC236}">
                    <a16:creationId xmlns:a16="http://schemas.microsoft.com/office/drawing/2014/main" id="{4BCFCECF-1900-E951-74E6-C8FFF8BAAD8D}"/>
                  </a:ext>
                </a:extLst>
              </p:cNvPr>
              <p:cNvSpPr/>
              <p:nvPr/>
            </p:nvSpPr>
            <p:spPr>
              <a:xfrm>
                <a:off x="8297572" y="969836"/>
                <a:ext cx="60562" cy="59846"/>
              </a:xfrm>
              <a:custGeom>
                <a:avLst/>
                <a:gdLst>
                  <a:gd name="connsiteX0" fmla="*/ 30281 w 60562"/>
                  <a:gd name="connsiteY0" fmla="*/ 0 h 59846"/>
                  <a:gd name="connsiteX1" fmla="*/ 0 w 60562"/>
                  <a:gd name="connsiteY1" fmla="*/ 29923 h 59846"/>
                  <a:gd name="connsiteX2" fmla="*/ 30281 w 60562"/>
                  <a:gd name="connsiteY2" fmla="*/ 59847 h 59846"/>
                  <a:gd name="connsiteX3" fmla="*/ 60563 w 60562"/>
                  <a:gd name="connsiteY3" fmla="*/ 29923 h 59846"/>
                  <a:gd name="connsiteX4" fmla="*/ 30281 w 60562"/>
                  <a:gd name="connsiteY4" fmla="*/ 0 h 59846"/>
                  <a:gd name="connsiteX5" fmla="*/ 30281 w 60562"/>
                  <a:gd name="connsiteY5" fmla="*/ 57077 h 59846"/>
                  <a:gd name="connsiteX6" fmla="*/ 2808 w 60562"/>
                  <a:gd name="connsiteY6" fmla="*/ 29923 h 59846"/>
                  <a:gd name="connsiteX7" fmla="*/ 30281 w 60562"/>
                  <a:gd name="connsiteY7" fmla="*/ 2770 h 59846"/>
                  <a:gd name="connsiteX8" fmla="*/ 57755 w 60562"/>
                  <a:gd name="connsiteY8" fmla="*/ 29923 h 59846"/>
                  <a:gd name="connsiteX9" fmla="*/ 30281 w 60562"/>
                  <a:gd name="connsiteY9" fmla="*/ 57077 h 59846"/>
                  <a:gd name="connsiteX10" fmla="*/ 30281 w 60562"/>
                  <a:gd name="connsiteY10" fmla="*/ 57077 h 59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562" h="59846">
                    <a:moveTo>
                      <a:pt x="30281" y="0"/>
                    </a:moveTo>
                    <a:cubicBezTo>
                      <a:pt x="13568" y="0"/>
                      <a:pt x="0" y="13398"/>
                      <a:pt x="0" y="29923"/>
                    </a:cubicBezTo>
                    <a:cubicBezTo>
                      <a:pt x="0" y="46449"/>
                      <a:pt x="13549" y="59847"/>
                      <a:pt x="30281" y="59847"/>
                    </a:cubicBezTo>
                    <a:cubicBezTo>
                      <a:pt x="47015" y="59847"/>
                      <a:pt x="60563" y="46449"/>
                      <a:pt x="60563" y="29923"/>
                    </a:cubicBezTo>
                    <a:cubicBezTo>
                      <a:pt x="60563" y="13398"/>
                      <a:pt x="47015" y="0"/>
                      <a:pt x="30281" y="0"/>
                    </a:cubicBezTo>
                    <a:close/>
                    <a:moveTo>
                      <a:pt x="30281" y="57077"/>
                    </a:moveTo>
                    <a:cubicBezTo>
                      <a:pt x="15112" y="57077"/>
                      <a:pt x="2808" y="44923"/>
                      <a:pt x="2808" y="29923"/>
                    </a:cubicBezTo>
                    <a:cubicBezTo>
                      <a:pt x="2808" y="14924"/>
                      <a:pt x="15112" y="2770"/>
                      <a:pt x="30281" y="2770"/>
                    </a:cubicBezTo>
                    <a:cubicBezTo>
                      <a:pt x="45450" y="2770"/>
                      <a:pt x="57755" y="14924"/>
                      <a:pt x="57755" y="29923"/>
                    </a:cubicBezTo>
                    <a:cubicBezTo>
                      <a:pt x="57755" y="44923"/>
                      <a:pt x="45450" y="57077"/>
                      <a:pt x="30281" y="57077"/>
                    </a:cubicBezTo>
                    <a:lnTo>
                      <a:pt x="30281" y="57077"/>
                    </a:lnTo>
                    <a:close/>
                  </a:path>
                </a:pathLst>
              </a:custGeom>
              <a:solidFill>
                <a:srgbClr val="000000"/>
              </a:solidFill>
              <a:ln w="188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885" name="Freihandform: Form 2884">
              <a:extLst>
                <a:ext uri="{FF2B5EF4-FFF2-40B4-BE49-F238E27FC236}">
                  <a16:creationId xmlns:a16="http://schemas.microsoft.com/office/drawing/2014/main" id="{DF6B2781-6414-D705-3F8B-D03D7E66724A}"/>
                </a:ext>
              </a:extLst>
            </p:cNvPr>
            <p:cNvSpPr/>
            <p:nvPr/>
          </p:nvSpPr>
          <p:spPr>
            <a:xfrm>
              <a:off x="8132843" y="1091075"/>
              <a:ext cx="85039" cy="37291"/>
            </a:xfrm>
            <a:custGeom>
              <a:avLst/>
              <a:gdLst>
                <a:gd name="connsiteX0" fmla="*/ 85040 w 85039"/>
                <a:gd name="connsiteY0" fmla="*/ 0 h 37291"/>
                <a:gd name="connsiteX1" fmla="*/ 0 w 85039"/>
                <a:gd name="connsiteY1" fmla="*/ 37291 h 37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039" h="37291">
                  <a:moveTo>
                    <a:pt x="85040" y="0"/>
                  </a:moveTo>
                  <a:lnTo>
                    <a:pt x="0" y="37291"/>
                  </a:lnTo>
                </a:path>
              </a:pathLst>
            </a:custGeom>
            <a:noFill/>
            <a:ln w="6480" cap="flat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6" name="Freihandform: Form 2885">
              <a:extLst>
                <a:ext uri="{FF2B5EF4-FFF2-40B4-BE49-F238E27FC236}">
                  <a16:creationId xmlns:a16="http://schemas.microsoft.com/office/drawing/2014/main" id="{EE0C55EB-4109-69CC-7483-9DCBDAFEC836}"/>
                </a:ext>
              </a:extLst>
            </p:cNvPr>
            <p:cNvSpPr/>
            <p:nvPr/>
          </p:nvSpPr>
          <p:spPr>
            <a:xfrm>
              <a:off x="8038627" y="1047735"/>
              <a:ext cx="100548" cy="28886"/>
            </a:xfrm>
            <a:custGeom>
              <a:avLst/>
              <a:gdLst>
                <a:gd name="connsiteX0" fmla="*/ 100548 w 100548"/>
                <a:gd name="connsiteY0" fmla="*/ 0 h 28886"/>
                <a:gd name="connsiteX1" fmla="*/ 0 w 100548"/>
                <a:gd name="connsiteY1" fmla="*/ 28887 h 2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548" h="28886">
                  <a:moveTo>
                    <a:pt x="100548" y="0"/>
                  </a:moveTo>
                  <a:lnTo>
                    <a:pt x="0" y="28887"/>
                  </a:lnTo>
                </a:path>
              </a:pathLst>
            </a:custGeom>
            <a:noFill/>
            <a:ln w="6480" cap="flat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7" name="Freihandform: Form 2886">
              <a:extLst>
                <a:ext uri="{FF2B5EF4-FFF2-40B4-BE49-F238E27FC236}">
                  <a16:creationId xmlns:a16="http://schemas.microsoft.com/office/drawing/2014/main" id="{8F80EF68-6E7F-E18A-40EE-E30118120C7A}"/>
                </a:ext>
              </a:extLst>
            </p:cNvPr>
            <p:cNvSpPr/>
            <p:nvPr/>
          </p:nvSpPr>
          <p:spPr>
            <a:xfrm>
              <a:off x="8230829" y="853648"/>
              <a:ext cx="50462" cy="38591"/>
            </a:xfrm>
            <a:custGeom>
              <a:avLst/>
              <a:gdLst>
                <a:gd name="connsiteX0" fmla="*/ 50463 w 50462"/>
                <a:gd name="connsiteY0" fmla="*/ 0 h 38591"/>
                <a:gd name="connsiteX1" fmla="*/ 0 w 50462"/>
                <a:gd name="connsiteY1" fmla="*/ 38591 h 38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462" h="38591">
                  <a:moveTo>
                    <a:pt x="50463" y="0"/>
                  </a:moveTo>
                  <a:lnTo>
                    <a:pt x="0" y="38591"/>
                  </a:lnTo>
                </a:path>
              </a:pathLst>
            </a:custGeom>
            <a:noFill/>
            <a:ln w="6480" cap="flat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8" name="Freihandform: Form 2887">
              <a:extLst>
                <a:ext uri="{FF2B5EF4-FFF2-40B4-BE49-F238E27FC236}">
                  <a16:creationId xmlns:a16="http://schemas.microsoft.com/office/drawing/2014/main" id="{2C32FC1C-F744-2946-E37C-EED1B3104480}"/>
                </a:ext>
              </a:extLst>
            </p:cNvPr>
            <p:cNvSpPr/>
            <p:nvPr/>
          </p:nvSpPr>
          <p:spPr>
            <a:xfrm>
              <a:off x="8549282" y="1222978"/>
              <a:ext cx="19182" cy="54702"/>
            </a:xfrm>
            <a:custGeom>
              <a:avLst/>
              <a:gdLst>
                <a:gd name="connsiteX0" fmla="*/ 19182 w 19182"/>
                <a:gd name="connsiteY0" fmla="*/ 54702 h 54702"/>
                <a:gd name="connsiteX1" fmla="*/ 0 w 19182"/>
                <a:gd name="connsiteY1" fmla="*/ 0 h 54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182" h="54702">
                  <a:moveTo>
                    <a:pt x="19182" y="54702"/>
                  </a:moveTo>
                  <a:lnTo>
                    <a:pt x="0" y="0"/>
                  </a:lnTo>
                </a:path>
              </a:pathLst>
            </a:custGeom>
            <a:noFill/>
            <a:ln w="6480" cap="flat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89" name="Freihandform: Form 2888">
              <a:extLst>
                <a:ext uri="{FF2B5EF4-FFF2-40B4-BE49-F238E27FC236}">
                  <a16:creationId xmlns:a16="http://schemas.microsoft.com/office/drawing/2014/main" id="{126CDD27-FA66-BE87-0F52-C2008DDE43DA}"/>
                </a:ext>
              </a:extLst>
            </p:cNvPr>
            <p:cNvSpPr/>
            <p:nvPr/>
          </p:nvSpPr>
          <p:spPr>
            <a:xfrm>
              <a:off x="8549282" y="1047735"/>
              <a:ext cx="50462" cy="38591"/>
            </a:xfrm>
            <a:custGeom>
              <a:avLst/>
              <a:gdLst>
                <a:gd name="connsiteX0" fmla="*/ 50463 w 50462"/>
                <a:gd name="connsiteY0" fmla="*/ 0 h 38591"/>
                <a:gd name="connsiteX1" fmla="*/ 0 w 50462"/>
                <a:gd name="connsiteY1" fmla="*/ 38591 h 38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462" h="38591">
                  <a:moveTo>
                    <a:pt x="50463" y="0"/>
                  </a:moveTo>
                  <a:lnTo>
                    <a:pt x="0" y="38591"/>
                  </a:lnTo>
                </a:path>
              </a:pathLst>
            </a:custGeom>
            <a:noFill/>
            <a:ln w="6480" cap="flat">
              <a:solidFill>
                <a:srgbClr val="00000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890" name="Gruppieren 2889">
              <a:extLst>
                <a:ext uri="{FF2B5EF4-FFF2-40B4-BE49-F238E27FC236}">
                  <a16:creationId xmlns:a16="http://schemas.microsoft.com/office/drawing/2014/main" id="{570E2C9F-2F89-5A35-3846-715CC31A7AEF}"/>
                </a:ext>
              </a:extLst>
            </p:cNvPr>
            <p:cNvGrpSpPr/>
            <p:nvPr/>
          </p:nvGrpSpPr>
          <p:grpSpPr>
            <a:xfrm>
              <a:off x="6495278" y="2018683"/>
              <a:ext cx="195349" cy="160489"/>
              <a:chOff x="6495278" y="2018683"/>
              <a:chExt cx="195349" cy="160489"/>
            </a:xfrm>
          </p:grpSpPr>
          <p:grpSp>
            <p:nvGrpSpPr>
              <p:cNvPr id="3002" name="Gruppieren 3001">
                <a:extLst>
                  <a:ext uri="{FF2B5EF4-FFF2-40B4-BE49-F238E27FC236}">
                    <a16:creationId xmlns:a16="http://schemas.microsoft.com/office/drawing/2014/main" id="{BBA89E7E-4F9F-3C01-AC9F-B524AD74C42B}"/>
                  </a:ext>
                </a:extLst>
              </p:cNvPr>
              <p:cNvGrpSpPr/>
              <p:nvPr/>
            </p:nvGrpSpPr>
            <p:grpSpPr>
              <a:xfrm>
                <a:off x="6631045" y="2119326"/>
                <a:ext cx="59582" cy="59846"/>
                <a:chOff x="6747963" y="2282988"/>
                <a:chExt cx="59582" cy="59846"/>
              </a:xfrm>
            </p:grpSpPr>
            <p:sp>
              <p:nvSpPr>
                <p:cNvPr id="3014" name="Freihandform: Form 3013">
                  <a:extLst>
                    <a:ext uri="{FF2B5EF4-FFF2-40B4-BE49-F238E27FC236}">
                      <a16:creationId xmlns:a16="http://schemas.microsoft.com/office/drawing/2014/main" id="{765CF68A-49FF-7833-B471-34FD04FD57A4}"/>
                    </a:ext>
                  </a:extLst>
                </p:cNvPr>
                <p:cNvSpPr/>
                <p:nvPr/>
              </p:nvSpPr>
              <p:spPr>
                <a:xfrm>
                  <a:off x="6754219" y="2304111"/>
                  <a:ext cx="47089" cy="26852"/>
                </a:xfrm>
                <a:custGeom>
                  <a:avLst/>
                  <a:gdLst>
                    <a:gd name="connsiteX0" fmla="*/ 41098 w 47089"/>
                    <a:gd name="connsiteY0" fmla="*/ 22613 h 26852"/>
                    <a:gd name="connsiteX1" fmla="*/ 41098 w 47089"/>
                    <a:gd name="connsiteY1" fmla="*/ 26853 h 26852"/>
                    <a:gd name="connsiteX2" fmla="*/ 0 w 47089"/>
                    <a:gd name="connsiteY2" fmla="*/ 1 h 26852"/>
                    <a:gd name="connsiteX3" fmla="*/ 14265 w 47089"/>
                    <a:gd name="connsiteY3" fmla="*/ 1 h 26852"/>
                    <a:gd name="connsiteX4" fmla="*/ 14265 w 47089"/>
                    <a:gd name="connsiteY4" fmla="*/ 2507 h 26852"/>
                    <a:gd name="connsiteX5" fmla="*/ 11457 w 47089"/>
                    <a:gd name="connsiteY5" fmla="*/ 3261 h 26852"/>
                    <a:gd name="connsiteX6" fmla="*/ 20671 w 47089"/>
                    <a:gd name="connsiteY6" fmla="*/ 9272 h 26852"/>
                    <a:gd name="connsiteX7" fmla="*/ 17317 w 47089"/>
                    <a:gd name="connsiteY7" fmla="*/ 1659 h 26852"/>
                    <a:gd name="connsiteX8" fmla="*/ 20897 w 47089"/>
                    <a:gd name="connsiteY8" fmla="*/ 1 h 26852"/>
                    <a:gd name="connsiteX9" fmla="*/ 47090 w 47089"/>
                    <a:gd name="connsiteY9" fmla="*/ 1 h 26852"/>
                    <a:gd name="connsiteX10" fmla="*/ 31412 w 47089"/>
                    <a:gd name="connsiteY10" fmla="*/ 12362 h 26852"/>
                    <a:gd name="connsiteX11" fmla="*/ 29622 w 47089"/>
                    <a:gd name="connsiteY11" fmla="*/ 10647 h 26852"/>
                    <a:gd name="connsiteX12" fmla="*/ 37291 w 47089"/>
                    <a:gd name="connsiteY12" fmla="*/ 3355 h 26852"/>
                    <a:gd name="connsiteX13" fmla="*/ 22725 w 47089"/>
                    <a:gd name="connsiteY13" fmla="*/ 3355 h 26852"/>
                    <a:gd name="connsiteX14" fmla="*/ 21670 w 47089"/>
                    <a:gd name="connsiteY14" fmla="*/ 3845 h 26852"/>
                    <a:gd name="connsiteX15" fmla="*/ 37498 w 47089"/>
                    <a:gd name="connsiteY15" fmla="*/ 20220 h 26852"/>
                    <a:gd name="connsiteX16" fmla="*/ 41116 w 47089"/>
                    <a:gd name="connsiteY16" fmla="*/ 22632 h 268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7089" h="26852">
                      <a:moveTo>
                        <a:pt x="41098" y="22613"/>
                      </a:moveTo>
                      <a:lnTo>
                        <a:pt x="41098" y="26853"/>
                      </a:lnTo>
                      <a:lnTo>
                        <a:pt x="0" y="1"/>
                      </a:lnTo>
                      <a:lnTo>
                        <a:pt x="14265" y="1"/>
                      </a:lnTo>
                      <a:lnTo>
                        <a:pt x="14265" y="2507"/>
                      </a:lnTo>
                      <a:lnTo>
                        <a:pt x="11457" y="3261"/>
                      </a:lnTo>
                      <a:lnTo>
                        <a:pt x="20671" y="9272"/>
                      </a:lnTo>
                      <a:cubicBezTo>
                        <a:pt x="20671" y="9272"/>
                        <a:pt x="15734" y="4900"/>
                        <a:pt x="17317" y="1659"/>
                      </a:cubicBezTo>
                      <a:cubicBezTo>
                        <a:pt x="18165" y="-93"/>
                        <a:pt x="20370" y="1"/>
                        <a:pt x="20897" y="1"/>
                      </a:cubicBezTo>
                      <a:lnTo>
                        <a:pt x="47090" y="1"/>
                      </a:lnTo>
                      <a:lnTo>
                        <a:pt x="31412" y="12362"/>
                      </a:lnTo>
                      <a:lnTo>
                        <a:pt x="29622" y="10647"/>
                      </a:lnTo>
                      <a:lnTo>
                        <a:pt x="37291" y="3355"/>
                      </a:lnTo>
                      <a:lnTo>
                        <a:pt x="22725" y="3355"/>
                      </a:lnTo>
                      <a:cubicBezTo>
                        <a:pt x="22574" y="3355"/>
                        <a:pt x="21896" y="3317"/>
                        <a:pt x="21670" y="3845"/>
                      </a:cubicBezTo>
                      <a:cubicBezTo>
                        <a:pt x="20671" y="6125"/>
                        <a:pt x="29188" y="14661"/>
                        <a:pt x="37498" y="20220"/>
                      </a:cubicBezTo>
                      <a:lnTo>
                        <a:pt x="41116" y="2263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88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015" name="Freihandform: Form 3014">
                  <a:extLst>
                    <a:ext uri="{FF2B5EF4-FFF2-40B4-BE49-F238E27FC236}">
                      <a16:creationId xmlns:a16="http://schemas.microsoft.com/office/drawing/2014/main" id="{64319507-5B0B-2BBB-1DE9-52A9D73DA136}"/>
                    </a:ext>
                  </a:extLst>
                </p:cNvPr>
                <p:cNvSpPr/>
                <p:nvPr/>
              </p:nvSpPr>
              <p:spPr>
                <a:xfrm>
                  <a:off x="6747963" y="2282988"/>
                  <a:ext cx="59582" cy="59846"/>
                </a:xfrm>
                <a:custGeom>
                  <a:avLst/>
                  <a:gdLst>
                    <a:gd name="connsiteX0" fmla="*/ 29791 w 59582"/>
                    <a:gd name="connsiteY0" fmla="*/ 0 h 59846"/>
                    <a:gd name="connsiteX1" fmla="*/ 0 w 59582"/>
                    <a:gd name="connsiteY1" fmla="*/ 29923 h 59846"/>
                    <a:gd name="connsiteX2" fmla="*/ 29791 w 59582"/>
                    <a:gd name="connsiteY2" fmla="*/ 59847 h 59846"/>
                    <a:gd name="connsiteX3" fmla="*/ 59583 w 59582"/>
                    <a:gd name="connsiteY3" fmla="*/ 29923 h 59846"/>
                    <a:gd name="connsiteX4" fmla="*/ 29791 w 59582"/>
                    <a:gd name="connsiteY4" fmla="*/ 0 h 59846"/>
                    <a:gd name="connsiteX5" fmla="*/ 29791 w 59582"/>
                    <a:gd name="connsiteY5" fmla="*/ 57077 h 59846"/>
                    <a:gd name="connsiteX6" fmla="*/ 2770 w 59582"/>
                    <a:gd name="connsiteY6" fmla="*/ 29923 h 59846"/>
                    <a:gd name="connsiteX7" fmla="*/ 29791 w 59582"/>
                    <a:gd name="connsiteY7" fmla="*/ 2770 h 59846"/>
                    <a:gd name="connsiteX8" fmla="*/ 56813 w 59582"/>
                    <a:gd name="connsiteY8" fmla="*/ 29923 h 59846"/>
                    <a:gd name="connsiteX9" fmla="*/ 29791 w 59582"/>
                    <a:gd name="connsiteY9" fmla="*/ 57077 h 59846"/>
                    <a:gd name="connsiteX10" fmla="*/ 29791 w 59582"/>
                    <a:gd name="connsiteY10" fmla="*/ 57077 h 59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9582" h="59846">
                      <a:moveTo>
                        <a:pt x="29791" y="0"/>
                      </a:moveTo>
                      <a:cubicBezTo>
                        <a:pt x="13341" y="0"/>
                        <a:pt x="0" y="13398"/>
                        <a:pt x="0" y="29923"/>
                      </a:cubicBezTo>
                      <a:cubicBezTo>
                        <a:pt x="0" y="46449"/>
                        <a:pt x="13341" y="59847"/>
                        <a:pt x="29791" y="59847"/>
                      </a:cubicBezTo>
                      <a:cubicBezTo>
                        <a:pt x="46242" y="59847"/>
                        <a:pt x="59583" y="46449"/>
                        <a:pt x="59583" y="29923"/>
                      </a:cubicBezTo>
                      <a:cubicBezTo>
                        <a:pt x="59583" y="13398"/>
                        <a:pt x="46242" y="0"/>
                        <a:pt x="29791" y="0"/>
                      </a:cubicBezTo>
                      <a:close/>
                      <a:moveTo>
                        <a:pt x="29791" y="57077"/>
                      </a:moveTo>
                      <a:cubicBezTo>
                        <a:pt x="14868" y="57077"/>
                        <a:pt x="2770" y="44923"/>
                        <a:pt x="2770" y="29923"/>
                      </a:cubicBezTo>
                      <a:cubicBezTo>
                        <a:pt x="2770" y="14924"/>
                        <a:pt x="14868" y="2770"/>
                        <a:pt x="29791" y="2770"/>
                      </a:cubicBezTo>
                      <a:cubicBezTo>
                        <a:pt x="44715" y="2770"/>
                        <a:pt x="56813" y="14924"/>
                        <a:pt x="56813" y="29923"/>
                      </a:cubicBezTo>
                      <a:cubicBezTo>
                        <a:pt x="56813" y="44923"/>
                        <a:pt x="44715" y="57077"/>
                        <a:pt x="29791" y="57077"/>
                      </a:cubicBezTo>
                      <a:lnTo>
                        <a:pt x="29791" y="5707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88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003" name="Freihandform: Form 3002">
                <a:extLst>
                  <a:ext uri="{FF2B5EF4-FFF2-40B4-BE49-F238E27FC236}">
                    <a16:creationId xmlns:a16="http://schemas.microsoft.com/office/drawing/2014/main" id="{2F437D75-DF18-27FB-AF1D-069E70D58EE1}"/>
                  </a:ext>
                </a:extLst>
              </p:cNvPr>
              <p:cNvSpPr/>
              <p:nvPr/>
            </p:nvSpPr>
            <p:spPr>
              <a:xfrm>
                <a:off x="6629595" y="2064225"/>
                <a:ext cx="19860" cy="51988"/>
              </a:xfrm>
              <a:custGeom>
                <a:avLst/>
                <a:gdLst>
                  <a:gd name="connsiteX0" fmla="*/ 0 w 19860"/>
                  <a:gd name="connsiteY0" fmla="*/ 0 h 51988"/>
                  <a:gd name="connsiteX1" fmla="*/ 19861 w 19860"/>
                  <a:gd name="connsiteY1" fmla="*/ 51989 h 51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60" h="51988">
                    <a:moveTo>
                      <a:pt x="0" y="0"/>
                    </a:moveTo>
                    <a:lnTo>
                      <a:pt x="19861" y="51989"/>
                    </a:lnTo>
                  </a:path>
                </a:pathLst>
              </a:custGeom>
              <a:noFill/>
              <a:ln w="6480" cap="flat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3004" name="Gruppieren 3003">
                <a:extLst>
                  <a:ext uri="{FF2B5EF4-FFF2-40B4-BE49-F238E27FC236}">
                    <a16:creationId xmlns:a16="http://schemas.microsoft.com/office/drawing/2014/main" id="{727D5A07-045F-F54B-2854-6461EED4FF5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495278" y="2018683"/>
                <a:ext cx="181124" cy="39600"/>
                <a:chOff x="5864080" y="2874287"/>
                <a:chExt cx="507132" cy="110877"/>
              </a:xfrm>
            </p:grpSpPr>
            <p:sp>
              <p:nvSpPr>
                <p:cNvPr id="3005" name="Freihandform: Form 3004">
                  <a:extLst>
                    <a:ext uri="{FF2B5EF4-FFF2-40B4-BE49-F238E27FC236}">
                      <a16:creationId xmlns:a16="http://schemas.microsoft.com/office/drawing/2014/main" id="{B92C6166-09E2-D111-0973-1614DB853949}"/>
                    </a:ext>
                  </a:extLst>
                </p:cNvPr>
                <p:cNvSpPr/>
                <p:nvPr/>
              </p:nvSpPr>
              <p:spPr>
                <a:xfrm>
                  <a:off x="6264949" y="2874287"/>
                  <a:ext cx="13394" cy="154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94" h="15404">
                      <a:moveTo>
                        <a:pt x="0" y="0"/>
                      </a:moveTo>
                      <a:lnTo>
                        <a:pt x="13394" y="0"/>
                      </a:lnTo>
                      <a:lnTo>
                        <a:pt x="13394" y="15404"/>
                      </a:lnTo>
                      <a:lnTo>
                        <a:pt x="0" y="1540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3006" name="Gruppieren 3005">
                  <a:extLst>
                    <a:ext uri="{FF2B5EF4-FFF2-40B4-BE49-F238E27FC236}">
                      <a16:creationId xmlns:a16="http://schemas.microsoft.com/office/drawing/2014/main" id="{4F394A3C-39CE-7D2D-3356-30D9680F1D8B}"/>
                    </a:ext>
                  </a:extLst>
                </p:cNvPr>
                <p:cNvGrpSpPr/>
                <p:nvPr/>
              </p:nvGrpSpPr>
              <p:grpSpPr>
                <a:xfrm>
                  <a:off x="5864080" y="2874287"/>
                  <a:ext cx="507132" cy="110877"/>
                  <a:chOff x="5864080" y="2874287"/>
                  <a:chExt cx="507132" cy="110877"/>
                </a:xfrm>
              </p:grpSpPr>
              <p:sp>
                <p:nvSpPr>
                  <p:cNvPr id="3007" name="Freihandform: Form 3006">
                    <a:extLst>
                      <a:ext uri="{FF2B5EF4-FFF2-40B4-BE49-F238E27FC236}">
                        <a16:creationId xmlns:a16="http://schemas.microsoft.com/office/drawing/2014/main" id="{9715D6F8-726F-A31A-AB7D-CBF971EA814C}"/>
                      </a:ext>
                    </a:extLst>
                  </p:cNvPr>
                  <p:cNvSpPr/>
                  <p:nvPr/>
                </p:nvSpPr>
                <p:spPr>
                  <a:xfrm>
                    <a:off x="5864080" y="2874287"/>
                    <a:ext cx="102096" cy="10909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2096" h="109091">
                        <a:moveTo>
                          <a:pt x="41895" y="0"/>
                        </a:moveTo>
                        <a:lnTo>
                          <a:pt x="57448" y="0"/>
                        </a:lnTo>
                        <a:lnTo>
                          <a:pt x="102096" y="109091"/>
                        </a:lnTo>
                        <a:lnTo>
                          <a:pt x="85651" y="109091"/>
                        </a:lnTo>
                        <a:lnTo>
                          <a:pt x="72926" y="76051"/>
                        </a:lnTo>
                        <a:lnTo>
                          <a:pt x="27310" y="76051"/>
                        </a:lnTo>
                        <a:lnTo>
                          <a:pt x="15329" y="109091"/>
                        </a:lnTo>
                        <a:lnTo>
                          <a:pt x="0" y="109091"/>
                        </a:lnTo>
                        <a:lnTo>
                          <a:pt x="41895" y="0"/>
                        </a:lnTo>
                        <a:close/>
                        <a:moveTo>
                          <a:pt x="49337" y="11460"/>
                        </a:moveTo>
                        <a:cubicBezTo>
                          <a:pt x="47947" y="18455"/>
                          <a:pt x="45988" y="25400"/>
                          <a:pt x="43458" y="32296"/>
                        </a:cubicBezTo>
                        <a:lnTo>
                          <a:pt x="31477" y="64294"/>
                        </a:lnTo>
                        <a:lnTo>
                          <a:pt x="68461" y="64294"/>
                        </a:lnTo>
                        <a:lnTo>
                          <a:pt x="57076" y="34082"/>
                        </a:lnTo>
                        <a:cubicBezTo>
                          <a:pt x="53603" y="24904"/>
                          <a:pt x="51023" y="17363"/>
                          <a:pt x="49337" y="11460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008" name="Freihandform: Form 3007">
                    <a:extLst>
                      <a:ext uri="{FF2B5EF4-FFF2-40B4-BE49-F238E27FC236}">
                        <a16:creationId xmlns:a16="http://schemas.microsoft.com/office/drawing/2014/main" id="{7CE33119-CDB7-18F9-1DA5-26B3D6E8E322}"/>
                      </a:ext>
                    </a:extLst>
                  </p:cNvPr>
                  <p:cNvSpPr/>
                  <p:nvPr/>
                </p:nvSpPr>
                <p:spPr>
                  <a:xfrm>
                    <a:off x="5978826" y="2874287"/>
                    <a:ext cx="13395" cy="10909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95" h="109091">
                        <a:moveTo>
                          <a:pt x="0" y="0"/>
                        </a:moveTo>
                        <a:lnTo>
                          <a:pt x="13395" y="0"/>
                        </a:lnTo>
                        <a:lnTo>
                          <a:pt x="13395" y="109091"/>
                        </a:lnTo>
                        <a:lnTo>
                          <a:pt x="0" y="10909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009" name="Freihandform: Form 3008">
                    <a:extLst>
                      <a:ext uri="{FF2B5EF4-FFF2-40B4-BE49-F238E27FC236}">
                        <a16:creationId xmlns:a16="http://schemas.microsoft.com/office/drawing/2014/main" id="{B896255E-B000-5B7A-C6C2-DD0906BB53C3}"/>
                      </a:ext>
                    </a:extLst>
                  </p:cNvPr>
                  <p:cNvSpPr/>
                  <p:nvPr/>
                </p:nvSpPr>
                <p:spPr>
                  <a:xfrm>
                    <a:off x="6007699" y="2902564"/>
                    <a:ext cx="107082" cy="808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7082" h="80814">
                        <a:moveTo>
                          <a:pt x="35942" y="0"/>
                        </a:moveTo>
                        <a:cubicBezTo>
                          <a:pt x="41796" y="0"/>
                          <a:pt x="46596" y="1216"/>
                          <a:pt x="50341" y="3647"/>
                        </a:cubicBezTo>
                        <a:cubicBezTo>
                          <a:pt x="54087" y="6078"/>
                          <a:pt x="56728" y="9476"/>
                          <a:pt x="58266" y="13841"/>
                        </a:cubicBezTo>
                        <a:cubicBezTo>
                          <a:pt x="64517" y="4614"/>
                          <a:pt x="72653" y="0"/>
                          <a:pt x="82674" y="0"/>
                        </a:cubicBezTo>
                        <a:cubicBezTo>
                          <a:pt x="90512" y="0"/>
                          <a:pt x="96540" y="2171"/>
                          <a:pt x="100757" y="6512"/>
                        </a:cubicBezTo>
                        <a:cubicBezTo>
                          <a:pt x="104974" y="10853"/>
                          <a:pt x="107082" y="17537"/>
                          <a:pt x="107082" y="26566"/>
                        </a:cubicBezTo>
                        <a:lnTo>
                          <a:pt x="107082" y="80814"/>
                        </a:lnTo>
                        <a:lnTo>
                          <a:pt x="93762" y="80814"/>
                        </a:lnTo>
                        <a:lnTo>
                          <a:pt x="93762" y="31031"/>
                        </a:lnTo>
                        <a:cubicBezTo>
                          <a:pt x="93762" y="25673"/>
                          <a:pt x="93328" y="21816"/>
                          <a:pt x="92460" y="19460"/>
                        </a:cubicBezTo>
                        <a:cubicBezTo>
                          <a:pt x="91591" y="17103"/>
                          <a:pt x="90016" y="15206"/>
                          <a:pt x="87734" y="13767"/>
                        </a:cubicBezTo>
                        <a:cubicBezTo>
                          <a:pt x="85452" y="12328"/>
                          <a:pt x="82773" y="11609"/>
                          <a:pt x="79698" y="11609"/>
                        </a:cubicBezTo>
                        <a:cubicBezTo>
                          <a:pt x="74141" y="11609"/>
                          <a:pt x="69528" y="13457"/>
                          <a:pt x="65857" y="17153"/>
                        </a:cubicBezTo>
                        <a:cubicBezTo>
                          <a:pt x="62185" y="20849"/>
                          <a:pt x="60350" y="26765"/>
                          <a:pt x="60350" y="34901"/>
                        </a:cubicBezTo>
                        <a:lnTo>
                          <a:pt x="60350" y="80814"/>
                        </a:lnTo>
                        <a:lnTo>
                          <a:pt x="46955" y="80814"/>
                        </a:lnTo>
                        <a:lnTo>
                          <a:pt x="46955" y="29468"/>
                        </a:lnTo>
                        <a:cubicBezTo>
                          <a:pt x="46955" y="23515"/>
                          <a:pt x="45864" y="19050"/>
                          <a:pt x="43681" y="16074"/>
                        </a:cubicBezTo>
                        <a:cubicBezTo>
                          <a:pt x="41498" y="13097"/>
                          <a:pt x="37927" y="11609"/>
                          <a:pt x="32966" y="11609"/>
                        </a:cubicBezTo>
                        <a:cubicBezTo>
                          <a:pt x="29195" y="11609"/>
                          <a:pt x="25710" y="12601"/>
                          <a:pt x="22510" y="14586"/>
                        </a:cubicBezTo>
                        <a:cubicBezTo>
                          <a:pt x="19311" y="16570"/>
                          <a:pt x="16991" y="19472"/>
                          <a:pt x="15553" y="23292"/>
                        </a:cubicBezTo>
                        <a:cubicBezTo>
                          <a:pt x="14114" y="27112"/>
                          <a:pt x="13395" y="32619"/>
                          <a:pt x="13395" y="39812"/>
                        </a:cubicBezTo>
                        <a:lnTo>
                          <a:pt x="13395" y="80814"/>
                        </a:lnTo>
                        <a:lnTo>
                          <a:pt x="0" y="80814"/>
                        </a:lnTo>
                        <a:lnTo>
                          <a:pt x="0" y="1786"/>
                        </a:lnTo>
                        <a:lnTo>
                          <a:pt x="11981" y="1786"/>
                        </a:lnTo>
                        <a:lnTo>
                          <a:pt x="11981" y="12874"/>
                        </a:lnTo>
                        <a:cubicBezTo>
                          <a:pt x="14461" y="9005"/>
                          <a:pt x="17760" y="5892"/>
                          <a:pt x="21878" y="3535"/>
                        </a:cubicBezTo>
                        <a:cubicBezTo>
                          <a:pt x="25995" y="1179"/>
                          <a:pt x="30684" y="0"/>
                          <a:pt x="35942" y="0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010" name="Freihandform: Form 3009">
                    <a:extLst>
                      <a:ext uri="{FF2B5EF4-FFF2-40B4-BE49-F238E27FC236}">
                        <a16:creationId xmlns:a16="http://schemas.microsoft.com/office/drawing/2014/main" id="{D1468081-2957-C53A-E1F4-3E70661EC64C}"/>
                      </a:ext>
                    </a:extLst>
                  </p:cNvPr>
                  <p:cNvSpPr/>
                  <p:nvPr/>
                </p:nvSpPr>
                <p:spPr>
                  <a:xfrm>
                    <a:off x="6127059" y="2902564"/>
                    <a:ext cx="72852" cy="826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2852" h="82600">
                        <a:moveTo>
                          <a:pt x="36910" y="0"/>
                        </a:moveTo>
                        <a:cubicBezTo>
                          <a:pt x="47476" y="0"/>
                          <a:pt x="56108" y="3597"/>
                          <a:pt x="62806" y="10790"/>
                        </a:cubicBezTo>
                        <a:cubicBezTo>
                          <a:pt x="69503" y="17984"/>
                          <a:pt x="72852" y="28104"/>
                          <a:pt x="72852" y="41151"/>
                        </a:cubicBezTo>
                        <a:cubicBezTo>
                          <a:pt x="72852" y="41945"/>
                          <a:pt x="72827" y="43136"/>
                          <a:pt x="72777" y="44723"/>
                        </a:cubicBezTo>
                        <a:lnTo>
                          <a:pt x="13841" y="44723"/>
                        </a:lnTo>
                        <a:cubicBezTo>
                          <a:pt x="14337" y="53405"/>
                          <a:pt x="16793" y="60053"/>
                          <a:pt x="21208" y="64666"/>
                        </a:cubicBezTo>
                        <a:cubicBezTo>
                          <a:pt x="25624" y="69280"/>
                          <a:pt x="31130" y="71587"/>
                          <a:pt x="37728" y="71587"/>
                        </a:cubicBezTo>
                        <a:cubicBezTo>
                          <a:pt x="42640" y="71587"/>
                          <a:pt x="46832" y="70297"/>
                          <a:pt x="50304" y="67717"/>
                        </a:cubicBezTo>
                        <a:cubicBezTo>
                          <a:pt x="53777" y="65138"/>
                          <a:pt x="56530" y="61020"/>
                          <a:pt x="58564" y="55365"/>
                        </a:cubicBezTo>
                        <a:lnTo>
                          <a:pt x="72405" y="57076"/>
                        </a:lnTo>
                        <a:cubicBezTo>
                          <a:pt x="70222" y="65162"/>
                          <a:pt x="66179" y="71438"/>
                          <a:pt x="60276" y="75903"/>
                        </a:cubicBezTo>
                        <a:cubicBezTo>
                          <a:pt x="54372" y="80368"/>
                          <a:pt x="46832" y="82600"/>
                          <a:pt x="37654" y="82600"/>
                        </a:cubicBezTo>
                        <a:cubicBezTo>
                          <a:pt x="26095" y="82600"/>
                          <a:pt x="16929" y="79041"/>
                          <a:pt x="10158" y="71922"/>
                        </a:cubicBezTo>
                        <a:cubicBezTo>
                          <a:pt x="3386" y="64803"/>
                          <a:pt x="0" y="54819"/>
                          <a:pt x="0" y="41970"/>
                        </a:cubicBezTo>
                        <a:cubicBezTo>
                          <a:pt x="0" y="28675"/>
                          <a:pt x="3423" y="18356"/>
                          <a:pt x="10269" y="11014"/>
                        </a:cubicBezTo>
                        <a:cubicBezTo>
                          <a:pt x="17116" y="3672"/>
                          <a:pt x="25996" y="0"/>
                          <a:pt x="36910" y="0"/>
                        </a:cubicBezTo>
                        <a:close/>
                        <a:moveTo>
                          <a:pt x="37058" y="11014"/>
                        </a:moveTo>
                        <a:cubicBezTo>
                          <a:pt x="30907" y="11014"/>
                          <a:pt x="25735" y="13073"/>
                          <a:pt x="21543" y="17190"/>
                        </a:cubicBezTo>
                        <a:cubicBezTo>
                          <a:pt x="17351" y="21308"/>
                          <a:pt x="15032" y="26814"/>
                          <a:pt x="14585" y="33710"/>
                        </a:cubicBezTo>
                        <a:lnTo>
                          <a:pt x="58713" y="33710"/>
                        </a:lnTo>
                        <a:cubicBezTo>
                          <a:pt x="58118" y="27062"/>
                          <a:pt x="56431" y="22077"/>
                          <a:pt x="53653" y="18753"/>
                        </a:cubicBezTo>
                        <a:cubicBezTo>
                          <a:pt x="49386" y="13593"/>
                          <a:pt x="43855" y="11014"/>
                          <a:pt x="37058" y="11014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011" name="Freihandform: Form 3010">
                    <a:extLst>
                      <a:ext uri="{FF2B5EF4-FFF2-40B4-BE49-F238E27FC236}">
                        <a16:creationId xmlns:a16="http://schemas.microsoft.com/office/drawing/2014/main" id="{E94D0BA9-0464-0CA3-1D5C-86D2C66B07DC}"/>
                      </a:ext>
                    </a:extLst>
                  </p:cNvPr>
                  <p:cNvSpPr/>
                  <p:nvPr/>
                </p:nvSpPr>
                <p:spPr>
                  <a:xfrm>
                    <a:off x="6217100" y="2902564"/>
                    <a:ext cx="42937" cy="808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2937" h="80814">
                        <a:moveTo>
                          <a:pt x="29171" y="0"/>
                        </a:moveTo>
                        <a:cubicBezTo>
                          <a:pt x="33685" y="0"/>
                          <a:pt x="38274" y="1439"/>
                          <a:pt x="42937" y="4316"/>
                        </a:cubicBezTo>
                        <a:lnTo>
                          <a:pt x="38324" y="16744"/>
                        </a:lnTo>
                        <a:cubicBezTo>
                          <a:pt x="35049" y="14809"/>
                          <a:pt x="31775" y="13841"/>
                          <a:pt x="28501" y="13841"/>
                        </a:cubicBezTo>
                        <a:cubicBezTo>
                          <a:pt x="25574" y="13841"/>
                          <a:pt x="22945" y="14722"/>
                          <a:pt x="20613" y="16483"/>
                        </a:cubicBezTo>
                        <a:cubicBezTo>
                          <a:pt x="18281" y="18244"/>
                          <a:pt x="16619" y="20688"/>
                          <a:pt x="15627" y="23813"/>
                        </a:cubicBezTo>
                        <a:cubicBezTo>
                          <a:pt x="14139" y="28575"/>
                          <a:pt x="13395" y="33784"/>
                          <a:pt x="13395" y="39440"/>
                        </a:cubicBezTo>
                        <a:lnTo>
                          <a:pt x="13395" y="80814"/>
                        </a:lnTo>
                        <a:lnTo>
                          <a:pt x="0" y="80814"/>
                        </a:lnTo>
                        <a:lnTo>
                          <a:pt x="0" y="1786"/>
                        </a:lnTo>
                        <a:lnTo>
                          <a:pt x="12055" y="1786"/>
                        </a:lnTo>
                        <a:lnTo>
                          <a:pt x="12055" y="13767"/>
                        </a:lnTo>
                        <a:cubicBezTo>
                          <a:pt x="15131" y="8161"/>
                          <a:pt x="17971" y="4465"/>
                          <a:pt x="20576" y="2679"/>
                        </a:cubicBezTo>
                        <a:cubicBezTo>
                          <a:pt x="23180" y="893"/>
                          <a:pt x="26045" y="0"/>
                          <a:pt x="29171" y="0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012" name="Freihandform: Form 3011">
                    <a:extLst>
                      <a:ext uri="{FF2B5EF4-FFF2-40B4-BE49-F238E27FC236}">
                        <a16:creationId xmlns:a16="http://schemas.microsoft.com/office/drawing/2014/main" id="{1E6320FF-1C08-7188-6407-38C1877734A7}"/>
                      </a:ext>
                    </a:extLst>
                  </p:cNvPr>
                  <p:cNvSpPr/>
                  <p:nvPr/>
                </p:nvSpPr>
                <p:spPr>
                  <a:xfrm>
                    <a:off x="6298435" y="2902564"/>
                    <a:ext cx="72777" cy="826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2777" h="82600">
                        <a:moveTo>
                          <a:pt x="37951" y="0"/>
                        </a:moveTo>
                        <a:cubicBezTo>
                          <a:pt x="44698" y="0"/>
                          <a:pt x="50180" y="794"/>
                          <a:pt x="54397" y="2382"/>
                        </a:cubicBezTo>
                        <a:cubicBezTo>
                          <a:pt x="58613" y="3969"/>
                          <a:pt x="61714" y="5966"/>
                          <a:pt x="63698" y="8372"/>
                        </a:cubicBezTo>
                        <a:cubicBezTo>
                          <a:pt x="65683" y="10778"/>
                          <a:pt x="67072" y="13817"/>
                          <a:pt x="67865" y="17488"/>
                        </a:cubicBezTo>
                        <a:cubicBezTo>
                          <a:pt x="68312" y="19770"/>
                          <a:pt x="68535" y="23887"/>
                          <a:pt x="68535" y="29840"/>
                        </a:cubicBezTo>
                        <a:lnTo>
                          <a:pt x="68535" y="47700"/>
                        </a:lnTo>
                        <a:cubicBezTo>
                          <a:pt x="68535" y="60152"/>
                          <a:pt x="68820" y="68027"/>
                          <a:pt x="69391" y="71326"/>
                        </a:cubicBezTo>
                        <a:cubicBezTo>
                          <a:pt x="69961" y="74625"/>
                          <a:pt x="71090" y="77788"/>
                          <a:pt x="72777" y="80814"/>
                        </a:cubicBezTo>
                        <a:lnTo>
                          <a:pt x="58787" y="80814"/>
                        </a:lnTo>
                        <a:cubicBezTo>
                          <a:pt x="57398" y="78036"/>
                          <a:pt x="56505" y="74787"/>
                          <a:pt x="56108" y="71066"/>
                        </a:cubicBezTo>
                        <a:cubicBezTo>
                          <a:pt x="51147" y="75283"/>
                          <a:pt x="46372" y="78259"/>
                          <a:pt x="41783" y="79996"/>
                        </a:cubicBezTo>
                        <a:cubicBezTo>
                          <a:pt x="37195" y="81732"/>
                          <a:pt x="32271" y="82600"/>
                          <a:pt x="27012" y="82600"/>
                        </a:cubicBezTo>
                        <a:cubicBezTo>
                          <a:pt x="18331" y="82600"/>
                          <a:pt x="11658" y="80479"/>
                          <a:pt x="6995" y="76238"/>
                        </a:cubicBezTo>
                        <a:cubicBezTo>
                          <a:pt x="2332" y="71996"/>
                          <a:pt x="0" y="66576"/>
                          <a:pt x="0" y="59978"/>
                        </a:cubicBezTo>
                        <a:cubicBezTo>
                          <a:pt x="0" y="56109"/>
                          <a:pt x="880" y="52574"/>
                          <a:pt x="2642" y="49374"/>
                        </a:cubicBezTo>
                        <a:cubicBezTo>
                          <a:pt x="4403" y="46174"/>
                          <a:pt x="6710" y="43607"/>
                          <a:pt x="9562" y="41672"/>
                        </a:cubicBezTo>
                        <a:cubicBezTo>
                          <a:pt x="12415" y="39738"/>
                          <a:pt x="15627" y="38274"/>
                          <a:pt x="19199" y="37282"/>
                        </a:cubicBezTo>
                        <a:cubicBezTo>
                          <a:pt x="21828" y="36587"/>
                          <a:pt x="25797" y="35918"/>
                          <a:pt x="31105" y="35273"/>
                        </a:cubicBezTo>
                        <a:cubicBezTo>
                          <a:pt x="41920" y="33983"/>
                          <a:pt x="49882" y="32445"/>
                          <a:pt x="54992" y="30659"/>
                        </a:cubicBezTo>
                        <a:cubicBezTo>
                          <a:pt x="55041" y="28823"/>
                          <a:pt x="55066" y="27658"/>
                          <a:pt x="55066" y="27162"/>
                        </a:cubicBezTo>
                        <a:cubicBezTo>
                          <a:pt x="55066" y="21705"/>
                          <a:pt x="53801" y="17860"/>
                          <a:pt x="51271" y="15627"/>
                        </a:cubicBezTo>
                        <a:cubicBezTo>
                          <a:pt x="47848" y="12601"/>
                          <a:pt x="42763" y="11088"/>
                          <a:pt x="36016" y="11088"/>
                        </a:cubicBezTo>
                        <a:cubicBezTo>
                          <a:pt x="29716" y="11088"/>
                          <a:pt x="25065" y="12192"/>
                          <a:pt x="22064" y="14400"/>
                        </a:cubicBezTo>
                        <a:cubicBezTo>
                          <a:pt x="19062" y="16607"/>
                          <a:pt x="16842" y="20514"/>
                          <a:pt x="15404" y="26120"/>
                        </a:cubicBezTo>
                        <a:lnTo>
                          <a:pt x="2307" y="24334"/>
                        </a:lnTo>
                        <a:cubicBezTo>
                          <a:pt x="3497" y="18728"/>
                          <a:pt x="5457" y="14201"/>
                          <a:pt x="8185" y="10753"/>
                        </a:cubicBezTo>
                        <a:cubicBezTo>
                          <a:pt x="10914" y="7305"/>
                          <a:pt x="14858" y="4651"/>
                          <a:pt x="20017" y="2791"/>
                        </a:cubicBezTo>
                        <a:cubicBezTo>
                          <a:pt x="25177" y="931"/>
                          <a:pt x="31155" y="0"/>
                          <a:pt x="37951" y="0"/>
                        </a:cubicBezTo>
                        <a:close/>
                        <a:moveTo>
                          <a:pt x="54992" y="41151"/>
                        </a:moveTo>
                        <a:cubicBezTo>
                          <a:pt x="50130" y="43136"/>
                          <a:pt x="42838" y="44823"/>
                          <a:pt x="33114" y="46212"/>
                        </a:cubicBezTo>
                        <a:cubicBezTo>
                          <a:pt x="27607" y="47005"/>
                          <a:pt x="23713" y="47898"/>
                          <a:pt x="21431" y="48890"/>
                        </a:cubicBezTo>
                        <a:cubicBezTo>
                          <a:pt x="19149" y="49883"/>
                          <a:pt x="17388" y="51334"/>
                          <a:pt x="16148" y="53244"/>
                        </a:cubicBezTo>
                        <a:cubicBezTo>
                          <a:pt x="14908" y="55154"/>
                          <a:pt x="14287" y="57274"/>
                          <a:pt x="14287" y="59606"/>
                        </a:cubicBezTo>
                        <a:cubicBezTo>
                          <a:pt x="14287" y="63178"/>
                          <a:pt x="15639" y="66155"/>
                          <a:pt x="18343" y="68536"/>
                        </a:cubicBezTo>
                        <a:cubicBezTo>
                          <a:pt x="21047" y="70917"/>
                          <a:pt x="25003" y="72108"/>
                          <a:pt x="30212" y="72108"/>
                        </a:cubicBezTo>
                        <a:cubicBezTo>
                          <a:pt x="35371" y="72108"/>
                          <a:pt x="39960" y="70979"/>
                          <a:pt x="43979" y="68722"/>
                        </a:cubicBezTo>
                        <a:cubicBezTo>
                          <a:pt x="47997" y="66465"/>
                          <a:pt x="50949" y="63376"/>
                          <a:pt x="52834" y="59457"/>
                        </a:cubicBezTo>
                        <a:cubicBezTo>
                          <a:pt x="54273" y="56431"/>
                          <a:pt x="54992" y="51966"/>
                          <a:pt x="54992" y="46063"/>
                        </a:cubicBezTo>
                        <a:lnTo>
                          <a:pt x="54992" y="41151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013" name="Freihandform: Form 3012">
                    <a:extLst>
                      <a:ext uri="{FF2B5EF4-FFF2-40B4-BE49-F238E27FC236}">
                        <a16:creationId xmlns:a16="http://schemas.microsoft.com/office/drawing/2014/main" id="{C657CB24-51A8-1167-4986-05541474E713}"/>
                      </a:ext>
                    </a:extLst>
                  </p:cNvPr>
                  <p:cNvSpPr/>
                  <p:nvPr/>
                </p:nvSpPr>
                <p:spPr>
                  <a:xfrm>
                    <a:off x="6264949" y="2904350"/>
                    <a:ext cx="13394" cy="7902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94" h="79028">
                        <a:moveTo>
                          <a:pt x="0" y="0"/>
                        </a:moveTo>
                        <a:lnTo>
                          <a:pt x="13394" y="0"/>
                        </a:lnTo>
                        <a:lnTo>
                          <a:pt x="13394" y="79028"/>
                        </a:lnTo>
                        <a:lnTo>
                          <a:pt x="0" y="790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  <p:grpSp>
          <p:nvGrpSpPr>
            <p:cNvPr id="2891" name="Gruppieren 2890">
              <a:extLst>
                <a:ext uri="{FF2B5EF4-FFF2-40B4-BE49-F238E27FC236}">
                  <a16:creationId xmlns:a16="http://schemas.microsoft.com/office/drawing/2014/main" id="{B412A5FD-D7CD-BB0A-8EB9-2D1808D61711}"/>
                </a:ext>
              </a:extLst>
            </p:cNvPr>
            <p:cNvGrpSpPr/>
            <p:nvPr/>
          </p:nvGrpSpPr>
          <p:grpSpPr>
            <a:xfrm>
              <a:off x="6421470" y="2401662"/>
              <a:ext cx="305560" cy="66718"/>
              <a:chOff x="6421470" y="2401662"/>
              <a:chExt cx="305560" cy="66718"/>
            </a:xfrm>
          </p:grpSpPr>
          <p:grpSp>
            <p:nvGrpSpPr>
              <p:cNvPr id="2989" name="Gruppieren 2988">
                <a:extLst>
                  <a:ext uri="{FF2B5EF4-FFF2-40B4-BE49-F238E27FC236}">
                    <a16:creationId xmlns:a16="http://schemas.microsoft.com/office/drawing/2014/main" id="{EE199100-CF9B-3AFE-A4DF-F770C37A86E5}"/>
                  </a:ext>
                </a:extLst>
              </p:cNvPr>
              <p:cNvGrpSpPr/>
              <p:nvPr/>
            </p:nvGrpSpPr>
            <p:grpSpPr>
              <a:xfrm>
                <a:off x="6421470" y="2408534"/>
                <a:ext cx="59582" cy="59846"/>
                <a:chOff x="6747963" y="2282988"/>
                <a:chExt cx="59582" cy="59846"/>
              </a:xfrm>
            </p:grpSpPr>
            <p:sp>
              <p:nvSpPr>
                <p:cNvPr id="3000" name="Freihandform: Form 2999">
                  <a:extLst>
                    <a:ext uri="{FF2B5EF4-FFF2-40B4-BE49-F238E27FC236}">
                      <a16:creationId xmlns:a16="http://schemas.microsoft.com/office/drawing/2014/main" id="{F0DD38A7-5B8F-58CE-5594-F22344C50BEB}"/>
                    </a:ext>
                  </a:extLst>
                </p:cNvPr>
                <p:cNvSpPr/>
                <p:nvPr/>
              </p:nvSpPr>
              <p:spPr>
                <a:xfrm>
                  <a:off x="6754219" y="2304111"/>
                  <a:ext cx="47089" cy="26852"/>
                </a:xfrm>
                <a:custGeom>
                  <a:avLst/>
                  <a:gdLst>
                    <a:gd name="connsiteX0" fmla="*/ 41098 w 47089"/>
                    <a:gd name="connsiteY0" fmla="*/ 22613 h 26852"/>
                    <a:gd name="connsiteX1" fmla="*/ 41098 w 47089"/>
                    <a:gd name="connsiteY1" fmla="*/ 26853 h 26852"/>
                    <a:gd name="connsiteX2" fmla="*/ 0 w 47089"/>
                    <a:gd name="connsiteY2" fmla="*/ 1 h 26852"/>
                    <a:gd name="connsiteX3" fmla="*/ 14265 w 47089"/>
                    <a:gd name="connsiteY3" fmla="*/ 1 h 26852"/>
                    <a:gd name="connsiteX4" fmla="*/ 14265 w 47089"/>
                    <a:gd name="connsiteY4" fmla="*/ 2507 h 26852"/>
                    <a:gd name="connsiteX5" fmla="*/ 11457 w 47089"/>
                    <a:gd name="connsiteY5" fmla="*/ 3261 h 26852"/>
                    <a:gd name="connsiteX6" fmla="*/ 20671 w 47089"/>
                    <a:gd name="connsiteY6" fmla="*/ 9272 h 26852"/>
                    <a:gd name="connsiteX7" fmla="*/ 17317 w 47089"/>
                    <a:gd name="connsiteY7" fmla="*/ 1659 h 26852"/>
                    <a:gd name="connsiteX8" fmla="*/ 20897 w 47089"/>
                    <a:gd name="connsiteY8" fmla="*/ 1 h 26852"/>
                    <a:gd name="connsiteX9" fmla="*/ 47090 w 47089"/>
                    <a:gd name="connsiteY9" fmla="*/ 1 h 26852"/>
                    <a:gd name="connsiteX10" fmla="*/ 31412 w 47089"/>
                    <a:gd name="connsiteY10" fmla="*/ 12362 h 26852"/>
                    <a:gd name="connsiteX11" fmla="*/ 29622 w 47089"/>
                    <a:gd name="connsiteY11" fmla="*/ 10647 h 26852"/>
                    <a:gd name="connsiteX12" fmla="*/ 37291 w 47089"/>
                    <a:gd name="connsiteY12" fmla="*/ 3355 h 26852"/>
                    <a:gd name="connsiteX13" fmla="*/ 22725 w 47089"/>
                    <a:gd name="connsiteY13" fmla="*/ 3355 h 26852"/>
                    <a:gd name="connsiteX14" fmla="*/ 21670 w 47089"/>
                    <a:gd name="connsiteY14" fmla="*/ 3845 h 26852"/>
                    <a:gd name="connsiteX15" fmla="*/ 37498 w 47089"/>
                    <a:gd name="connsiteY15" fmla="*/ 20220 h 26852"/>
                    <a:gd name="connsiteX16" fmla="*/ 41116 w 47089"/>
                    <a:gd name="connsiteY16" fmla="*/ 22632 h 268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7089" h="26852">
                      <a:moveTo>
                        <a:pt x="41098" y="22613"/>
                      </a:moveTo>
                      <a:lnTo>
                        <a:pt x="41098" y="26853"/>
                      </a:lnTo>
                      <a:lnTo>
                        <a:pt x="0" y="1"/>
                      </a:lnTo>
                      <a:lnTo>
                        <a:pt x="14265" y="1"/>
                      </a:lnTo>
                      <a:lnTo>
                        <a:pt x="14265" y="2507"/>
                      </a:lnTo>
                      <a:lnTo>
                        <a:pt x="11457" y="3261"/>
                      </a:lnTo>
                      <a:lnTo>
                        <a:pt x="20671" y="9272"/>
                      </a:lnTo>
                      <a:cubicBezTo>
                        <a:pt x="20671" y="9272"/>
                        <a:pt x="15734" y="4900"/>
                        <a:pt x="17317" y="1659"/>
                      </a:cubicBezTo>
                      <a:cubicBezTo>
                        <a:pt x="18165" y="-93"/>
                        <a:pt x="20370" y="1"/>
                        <a:pt x="20897" y="1"/>
                      </a:cubicBezTo>
                      <a:lnTo>
                        <a:pt x="47090" y="1"/>
                      </a:lnTo>
                      <a:lnTo>
                        <a:pt x="31412" y="12362"/>
                      </a:lnTo>
                      <a:lnTo>
                        <a:pt x="29622" y="10647"/>
                      </a:lnTo>
                      <a:lnTo>
                        <a:pt x="37291" y="3355"/>
                      </a:lnTo>
                      <a:lnTo>
                        <a:pt x="22725" y="3355"/>
                      </a:lnTo>
                      <a:cubicBezTo>
                        <a:pt x="22574" y="3355"/>
                        <a:pt x="21896" y="3317"/>
                        <a:pt x="21670" y="3845"/>
                      </a:cubicBezTo>
                      <a:cubicBezTo>
                        <a:pt x="20671" y="6125"/>
                        <a:pt x="29188" y="14661"/>
                        <a:pt x="37498" y="20220"/>
                      </a:cubicBezTo>
                      <a:lnTo>
                        <a:pt x="41116" y="2263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88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001" name="Freihandform: Form 3000">
                  <a:extLst>
                    <a:ext uri="{FF2B5EF4-FFF2-40B4-BE49-F238E27FC236}">
                      <a16:creationId xmlns:a16="http://schemas.microsoft.com/office/drawing/2014/main" id="{430DA5B4-D9F3-783B-D798-DF9147D0FAC7}"/>
                    </a:ext>
                  </a:extLst>
                </p:cNvPr>
                <p:cNvSpPr/>
                <p:nvPr/>
              </p:nvSpPr>
              <p:spPr>
                <a:xfrm>
                  <a:off x="6747963" y="2282988"/>
                  <a:ext cx="59582" cy="59846"/>
                </a:xfrm>
                <a:custGeom>
                  <a:avLst/>
                  <a:gdLst>
                    <a:gd name="connsiteX0" fmla="*/ 29791 w 59582"/>
                    <a:gd name="connsiteY0" fmla="*/ 0 h 59846"/>
                    <a:gd name="connsiteX1" fmla="*/ 0 w 59582"/>
                    <a:gd name="connsiteY1" fmla="*/ 29923 h 59846"/>
                    <a:gd name="connsiteX2" fmla="*/ 29791 w 59582"/>
                    <a:gd name="connsiteY2" fmla="*/ 59847 h 59846"/>
                    <a:gd name="connsiteX3" fmla="*/ 59583 w 59582"/>
                    <a:gd name="connsiteY3" fmla="*/ 29923 h 59846"/>
                    <a:gd name="connsiteX4" fmla="*/ 29791 w 59582"/>
                    <a:gd name="connsiteY4" fmla="*/ 0 h 59846"/>
                    <a:gd name="connsiteX5" fmla="*/ 29791 w 59582"/>
                    <a:gd name="connsiteY5" fmla="*/ 57077 h 59846"/>
                    <a:gd name="connsiteX6" fmla="*/ 2770 w 59582"/>
                    <a:gd name="connsiteY6" fmla="*/ 29923 h 59846"/>
                    <a:gd name="connsiteX7" fmla="*/ 29791 w 59582"/>
                    <a:gd name="connsiteY7" fmla="*/ 2770 h 59846"/>
                    <a:gd name="connsiteX8" fmla="*/ 56813 w 59582"/>
                    <a:gd name="connsiteY8" fmla="*/ 29923 h 59846"/>
                    <a:gd name="connsiteX9" fmla="*/ 29791 w 59582"/>
                    <a:gd name="connsiteY9" fmla="*/ 57077 h 59846"/>
                    <a:gd name="connsiteX10" fmla="*/ 29791 w 59582"/>
                    <a:gd name="connsiteY10" fmla="*/ 57077 h 59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9582" h="59846">
                      <a:moveTo>
                        <a:pt x="29791" y="0"/>
                      </a:moveTo>
                      <a:cubicBezTo>
                        <a:pt x="13341" y="0"/>
                        <a:pt x="0" y="13398"/>
                        <a:pt x="0" y="29923"/>
                      </a:cubicBezTo>
                      <a:cubicBezTo>
                        <a:pt x="0" y="46449"/>
                        <a:pt x="13341" y="59847"/>
                        <a:pt x="29791" y="59847"/>
                      </a:cubicBezTo>
                      <a:cubicBezTo>
                        <a:pt x="46242" y="59847"/>
                        <a:pt x="59583" y="46449"/>
                        <a:pt x="59583" y="29923"/>
                      </a:cubicBezTo>
                      <a:cubicBezTo>
                        <a:pt x="59583" y="13398"/>
                        <a:pt x="46242" y="0"/>
                        <a:pt x="29791" y="0"/>
                      </a:cubicBezTo>
                      <a:close/>
                      <a:moveTo>
                        <a:pt x="29791" y="57077"/>
                      </a:moveTo>
                      <a:cubicBezTo>
                        <a:pt x="14868" y="57077"/>
                        <a:pt x="2770" y="44923"/>
                        <a:pt x="2770" y="29923"/>
                      </a:cubicBezTo>
                      <a:cubicBezTo>
                        <a:pt x="2770" y="14924"/>
                        <a:pt x="14868" y="2770"/>
                        <a:pt x="29791" y="2770"/>
                      </a:cubicBezTo>
                      <a:cubicBezTo>
                        <a:pt x="44715" y="2770"/>
                        <a:pt x="56813" y="14924"/>
                        <a:pt x="56813" y="29923"/>
                      </a:cubicBezTo>
                      <a:cubicBezTo>
                        <a:pt x="56813" y="44923"/>
                        <a:pt x="44715" y="57077"/>
                        <a:pt x="29791" y="57077"/>
                      </a:cubicBezTo>
                      <a:lnTo>
                        <a:pt x="29791" y="5707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88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990" name="Freihandform: Form 2989">
                <a:extLst>
                  <a:ext uri="{FF2B5EF4-FFF2-40B4-BE49-F238E27FC236}">
                    <a16:creationId xmlns:a16="http://schemas.microsoft.com/office/drawing/2014/main" id="{0B085D37-5C32-401F-E228-30BA2316A2C7}"/>
                  </a:ext>
                </a:extLst>
              </p:cNvPr>
              <p:cNvSpPr/>
              <p:nvPr/>
            </p:nvSpPr>
            <p:spPr>
              <a:xfrm rot="4013472" flipH="1">
                <a:off x="6511687" y="2399208"/>
                <a:ext cx="19860" cy="51988"/>
              </a:xfrm>
              <a:custGeom>
                <a:avLst/>
                <a:gdLst>
                  <a:gd name="connsiteX0" fmla="*/ 0 w 19860"/>
                  <a:gd name="connsiteY0" fmla="*/ 0 h 51988"/>
                  <a:gd name="connsiteX1" fmla="*/ 19861 w 19860"/>
                  <a:gd name="connsiteY1" fmla="*/ 51989 h 51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60" h="51988">
                    <a:moveTo>
                      <a:pt x="0" y="0"/>
                    </a:moveTo>
                    <a:lnTo>
                      <a:pt x="19861" y="51989"/>
                    </a:lnTo>
                  </a:path>
                </a:pathLst>
              </a:custGeom>
              <a:noFill/>
              <a:ln w="6480" cap="flat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991" name="Gruppieren 2990">
                <a:extLst>
                  <a:ext uri="{FF2B5EF4-FFF2-40B4-BE49-F238E27FC236}">
                    <a16:creationId xmlns:a16="http://schemas.microsoft.com/office/drawing/2014/main" id="{655A1A24-FA53-C508-9330-8824363C886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565213" y="2401662"/>
                <a:ext cx="161817" cy="50414"/>
                <a:chOff x="6678518" y="3231989"/>
                <a:chExt cx="453108" cy="141165"/>
              </a:xfrm>
            </p:grpSpPr>
            <p:sp>
              <p:nvSpPr>
                <p:cNvPr id="2992" name="Freihandform: Form 2991">
                  <a:extLst>
                    <a:ext uri="{FF2B5EF4-FFF2-40B4-BE49-F238E27FC236}">
                      <a16:creationId xmlns:a16="http://schemas.microsoft.com/office/drawing/2014/main" id="{92478875-2163-3D64-68C0-7CC61731ADE0}"/>
                    </a:ext>
                  </a:extLst>
                </p:cNvPr>
                <p:cNvSpPr/>
                <p:nvPr/>
              </p:nvSpPr>
              <p:spPr>
                <a:xfrm>
                  <a:off x="7050812" y="3231989"/>
                  <a:ext cx="13394" cy="154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94" h="15404">
                      <a:moveTo>
                        <a:pt x="0" y="0"/>
                      </a:moveTo>
                      <a:lnTo>
                        <a:pt x="13394" y="0"/>
                      </a:lnTo>
                      <a:lnTo>
                        <a:pt x="13394" y="15404"/>
                      </a:lnTo>
                      <a:lnTo>
                        <a:pt x="0" y="1540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993" name="Gruppieren 2992">
                  <a:extLst>
                    <a:ext uri="{FF2B5EF4-FFF2-40B4-BE49-F238E27FC236}">
                      <a16:creationId xmlns:a16="http://schemas.microsoft.com/office/drawing/2014/main" id="{1307CA26-C6E0-CD1E-1CD4-5D5729F53F26}"/>
                    </a:ext>
                  </a:extLst>
                </p:cNvPr>
                <p:cNvGrpSpPr/>
                <p:nvPr/>
              </p:nvGrpSpPr>
              <p:grpSpPr>
                <a:xfrm>
                  <a:off x="6678518" y="3231990"/>
                  <a:ext cx="453108" cy="141164"/>
                  <a:chOff x="6678518" y="3231990"/>
                  <a:chExt cx="453108" cy="141164"/>
                </a:xfrm>
              </p:grpSpPr>
              <p:sp>
                <p:nvSpPr>
                  <p:cNvPr id="2994" name="Freihandform: Form 2993">
                    <a:extLst>
                      <a:ext uri="{FF2B5EF4-FFF2-40B4-BE49-F238E27FC236}">
                        <a16:creationId xmlns:a16="http://schemas.microsoft.com/office/drawing/2014/main" id="{48C78153-7A01-B2D1-DD08-4F5A0837F0A8}"/>
                      </a:ext>
                    </a:extLst>
                  </p:cNvPr>
                  <p:cNvSpPr/>
                  <p:nvPr/>
                </p:nvSpPr>
                <p:spPr>
                  <a:xfrm>
                    <a:off x="6678518" y="3231990"/>
                    <a:ext cx="102096" cy="10909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2096" h="109091">
                        <a:moveTo>
                          <a:pt x="41895" y="0"/>
                        </a:moveTo>
                        <a:lnTo>
                          <a:pt x="57448" y="0"/>
                        </a:lnTo>
                        <a:lnTo>
                          <a:pt x="102096" y="109091"/>
                        </a:lnTo>
                        <a:lnTo>
                          <a:pt x="85651" y="109091"/>
                        </a:lnTo>
                        <a:lnTo>
                          <a:pt x="72926" y="76051"/>
                        </a:lnTo>
                        <a:lnTo>
                          <a:pt x="27310" y="76051"/>
                        </a:lnTo>
                        <a:lnTo>
                          <a:pt x="15329" y="109091"/>
                        </a:lnTo>
                        <a:lnTo>
                          <a:pt x="0" y="109091"/>
                        </a:lnTo>
                        <a:lnTo>
                          <a:pt x="41895" y="0"/>
                        </a:lnTo>
                        <a:close/>
                        <a:moveTo>
                          <a:pt x="49337" y="11460"/>
                        </a:moveTo>
                        <a:cubicBezTo>
                          <a:pt x="47947" y="18455"/>
                          <a:pt x="45988" y="25400"/>
                          <a:pt x="43458" y="32296"/>
                        </a:cubicBezTo>
                        <a:lnTo>
                          <a:pt x="31477" y="64294"/>
                        </a:lnTo>
                        <a:lnTo>
                          <a:pt x="68461" y="64294"/>
                        </a:lnTo>
                        <a:lnTo>
                          <a:pt x="57076" y="34082"/>
                        </a:lnTo>
                        <a:cubicBezTo>
                          <a:pt x="53603" y="24904"/>
                          <a:pt x="51023" y="17363"/>
                          <a:pt x="49337" y="11460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995" name="Freihandform: Form 2994">
                    <a:extLst>
                      <a:ext uri="{FF2B5EF4-FFF2-40B4-BE49-F238E27FC236}">
                        <a16:creationId xmlns:a16="http://schemas.microsoft.com/office/drawing/2014/main" id="{EF3C3CE3-9DE4-886C-F55F-CB5175371819}"/>
                      </a:ext>
                    </a:extLst>
                  </p:cNvPr>
                  <p:cNvSpPr/>
                  <p:nvPr/>
                </p:nvSpPr>
                <p:spPr>
                  <a:xfrm>
                    <a:off x="6960175" y="3231990"/>
                    <a:ext cx="68536" cy="11087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536" h="110877">
                        <a:moveTo>
                          <a:pt x="55215" y="0"/>
                        </a:moveTo>
                        <a:lnTo>
                          <a:pt x="68536" y="0"/>
                        </a:lnTo>
                        <a:lnTo>
                          <a:pt x="68536" y="109091"/>
                        </a:lnTo>
                        <a:lnTo>
                          <a:pt x="56108" y="109091"/>
                        </a:lnTo>
                        <a:lnTo>
                          <a:pt x="56108" y="99120"/>
                        </a:lnTo>
                        <a:cubicBezTo>
                          <a:pt x="51098" y="106958"/>
                          <a:pt x="43731" y="110877"/>
                          <a:pt x="34007" y="110877"/>
                        </a:cubicBezTo>
                        <a:cubicBezTo>
                          <a:pt x="27707" y="110877"/>
                          <a:pt x="21915" y="109141"/>
                          <a:pt x="16632" y="105668"/>
                        </a:cubicBezTo>
                        <a:cubicBezTo>
                          <a:pt x="11348" y="102195"/>
                          <a:pt x="7256" y="97346"/>
                          <a:pt x="4353" y="91120"/>
                        </a:cubicBezTo>
                        <a:cubicBezTo>
                          <a:pt x="1451" y="84894"/>
                          <a:pt x="0" y="77738"/>
                          <a:pt x="0" y="69652"/>
                        </a:cubicBezTo>
                        <a:cubicBezTo>
                          <a:pt x="0" y="61764"/>
                          <a:pt x="1315" y="54608"/>
                          <a:pt x="3944" y="48183"/>
                        </a:cubicBezTo>
                        <a:cubicBezTo>
                          <a:pt x="6573" y="41759"/>
                          <a:pt x="10517" y="36835"/>
                          <a:pt x="15776" y="33412"/>
                        </a:cubicBezTo>
                        <a:cubicBezTo>
                          <a:pt x="21035" y="29989"/>
                          <a:pt x="26913" y="28277"/>
                          <a:pt x="33412" y="28277"/>
                        </a:cubicBezTo>
                        <a:cubicBezTo>
                          <a:pt x="38175" y="28277"/>
                          <a:pt x="42416" y="29282"/>
                          <a:pt x="46137" y="31291"/>
                        </a:cubicBezTo>
                        <a:cubicBezTo>
                          <a:pt x="49858" y="33300"/>
                          <a:pt x="52884" y="35917"/>
                          <a:pt x="55215" y="39142"/>
                        </a:cubicBezTo>
                        <a:lnTo>
                          <a:pt x="55215" y="0"/>
                        </a:lnTo>
                        <a:close/>
                        <a:moveTo>
                          <a:pt x="34677" y="39365"/>
                        </a:moveTo>
                        <a:cubicBezTo>
                          <a:pt x="28724" y="39365"/>
                          <a:pt x="23751" y="41796"/>
                          <a:pt x="19757" y="46658"/>
                        </a:cubicBezTo>
                        <a:cubicBezTo>
                          <a:pt x="15764" y="51519"/>
                          <a:pt x="13767" y="59184"/>
                          <a:pt x="13767" y="69652"/>
                        </a:cubicBezTo>
                        <a:cubicBezTo>
                          <a:pt x="13767" y="79772"/>
                          <a:pt x="15900" y="87337"/>
                          <a:pt x="20166" y="92348"/>
                        </a:cubicBezTo>
                        <a:cubicBezTo>
                          <a:pt x="24433" y="97359"/>
                          <a:pt x="29468" y="99864"/>
                          <a:pt x="35272" y="99864"/>
                        </a:cubicBezTo>
                        <a:cubicBezTo>
                          <a:pt x="41126" y="99864"/>
                          <a:pt x="46100" y="97470"/>
                          <a:pt x="50193" y="92683"/>
                        </a:cubicBezTo>
                        <a:cubicBezTo>
                          <a:pt x="54285" y="87896"/>
                          <a:pt x="56332" y="80591"/>
                          <a:pt x="56332" y="70768"/>
                        </a:cubicBezTo>
                        <a:cubicBezTo>
                          <a:pt x="56332" y="59953"/>
                          <a:pt x="54248" y="52016"/>
                          <a:pt x="50081" y="46955"/>
                        </a:cubicBezTo>
                        <a:cubicBezTo>
                          <a:pt x="45914" y="41895"/>
                          <a:pt x="40779" y="39365"/>
                          <a:pt x="34677" y="39365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996" name="Freihandform: Form 2995">
                    <a:extLst>
                      <a:ext uri="{FF2B5EF4-FFF2-40B4-BE49-F238E27FC236}">
                        <a16:creationId xmlns:a16="http://schemas.microsoft.com/office/drawing/2014/main" id="{54FCE99B-B1A9-5057-F9BC-30189C307303}"/>
                      </a:ext>
                    </a:extLst>
                  </p:cNvPr>
                  <p:cNvSpPr/>
                  <p:nvPr/>
                </p:nvSpPr>
                <p:spPr>
                  <a:xfrm>
                    <a:off x="6788429" y="3260267"/>
                    <a:ext cx="69651" cy="11288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9651" h="112887">
                        <a:moveTo>
                          <a:pt x="34230" y="0"/>
                        </a:moveTo>
                        <a:cubicBezTo>
                          <a:pt x="43557" y="0"/>
                          <a:pt x="51246" y="3771"/>
                          <a:pt x="57298" y="11311"/>
                        </a:cubicBezTo>
                        <a:lnTo>
                          <a:pt x="57298" y="1786"/>
                        </a:lnTo>
                        <a:lnTo>
                          <a:pt x="69651" y="1786"/>
                        </a:lnTo>
                        <a:lnTo>
                          <a:pt x="69651" y="70099"/>
                        </a:lnTo>
                        <a:cubicBezTo>
                          <a:pt x="69651" y="82402"/>
                          <a:pt x="68399" y="91120"/>
                          <a:pt x="65893" y="96255"/>
                        </a:cubicBezTo>
                        <a:cubicBezTo>
                          <a:pt x="63388" y="101390"/>
                          <a:pt x="59419" y="105445"/>
                          <a:pt x="53987" y="108422"/>
                        </a:cubicBezTo>
                        <a:cubicBezTo>
                          <a:pt x="48555" y="111398"/>
                          <a:pt x="41870" y="112887"/>
                          <a:pt x="33932" y="112887"/>
                        </a:cubicBezTo>
                        <a:cubicBezTo>
                          <a:pt x="24507" y="112887"/>
                          <a:pt x="16892" y="110766"/>
                          <a:pt x="11087" y="106524"/>
                        </a:cubicBezTo>
                        <a:cubicBezTo>
                          <a:pt x="5283" y="102283"/>
                          <a:pt x="2480" y="95895"/>
                          <a:pt x="2678" y="87363"/>
                        </a:cubicBezTo>
                        <a:lnTo>
                          <a:pt x="15701" y="89297"/>
                        </a:lnTo>
                        <a:cubicBezTo>
                          <a:pt x="16247" y="93316"/>
                          <a:pt x="17760" y="96243"/>
                          <a:pt x="20240" y="98078"/>
                        </a:cubicBezTo>
                        <a:cubicBezTo>
                          <a:pt x="23564" y="100559"/>
                          <a:pt x="28103" y="101799"/>
                          <a:pt x="33858" y="101799"/>
                        </a:cubicBezTo>
                        <a:cubicBezTo>
                          <a:pt x="40059" y="101799"/>
                          <a:pt x="44846" y="100559"/>
                          <a:pt x="48220" y="98078"/>
                        </a:cubicBezTo>
                        <a:cubicBezTo>
                          <a:pt x="51593" y="95598"/>
                          <a:pt x="53875" y="92125"/>
                          <a:pt x="55066" y="87660"/>
                        </a:cubicBezTo>
                        <a:cubicBezTo>
                          <a:pt x="55761" y="84932"/>
                          <a:pt x="56083" y="79202"/>
                          <a:pt x="56033" y="70471"/>
                        </a:cubicBezTo>
                        <a:cubicBezTo>
                          <a:pt x="50179" y="77366"/>
                          <a:pt x="42887" y="80814"/>
                          <a:pt x="34156" y="80814"/>
                        </a:cubicBezTo>
                        <a:cubicBezTo>
                          <a:pt x="23291" y="80814"/>
                          <a:pt x="14882" y="76895"/>
                          <a:pt x="8929" y="69057"/>
                        </a:cubicBezTo>
                        <a:cubicBezTo>
                          <a:pt x="2976" y="61218"/>
                          <a:pt x="0" y="51817"/>
                          <a:pt x="0" y="40854"/>
                        </a:cubicBezTo>
                        <a:cubicBezTo>
                          <a:pt x="0" y="33313"/>
                          <a:pt x="1364" y="26355"/>
                          <a:pt x="4092" y="19981"/>
                        </a:cubicBezTo>
                        <a:cubicBezTo>
                          <a:pt x="6821" y="13606"/>
                          <a:pt x="10777" y="8682"/>
                          <a:pt x="15961" y="5209"/>
                        </a:cubicBezTo>
                        <a:cubicBezTo>
                          <a:pt x="21146" y="1737"/>
                          <a:pt x="27235" y="0"/>
                          <a:pt x="34230" y="0"/>
                        </a:cubicBezTo>
                        <a:close/>
                        <a:moveTo>
                          <a:pt x="35197" y="11088"/>
                        </a:moveTo>
                        <a:cubicBezTo>
                          <a:pt x="29244" y="11088"/>
                          <a:pt x="24184" y="13507"/>
                          <a:pt x="20017" y="18344"/>
                        </a:cubicBezTo>
                        <a:cubicBezTo>
                          <a:pt x="15850" y="23180"/>
                          <a:pt x="13766" y="30361"/>
                          <a:pt x="13766" y="39886"/>
                        </a:cubicBezTo>
                        <a:cubicBezTo>
                          <a:pt x="13766" y="50255"/>
                          <a:pt x="15825" y="57820"/>
                          <a:pt x="19943" y="62583"/>
                        </a:cubicBezTo>
                        <a:cubicBezTo>
                          <a:pt x="24060" y="67345"/>
                          <a:pt x="29219" y="69726"/>
                          <a:pt x="35421" y="69726"/>
                        </a:cubicBezTo>
                        <a:cubicBezTo>
                          <a:pt x="41572" y="69726"/>
                          <a:pt x="46732" y="67358"/>
                          <a:pt x="50899" y="62620"/>
                        </a:cubicBezTo>
                        <a:cubicBezTo>
                          <a:pt x="55066" y="57882"/>
                          <a:pt x="57150" y="50453"/>
                          <a:pt x="57150" y="40333"/>
                        </a:cubicBezTo>
                        <a:cubicBezTo>
                          <a:pt x="57150" y="30659"/>
                          <a:pt x="55004" y="23366"/>
                          <a:pt x="50713" y="18455"/>
                        </a:cubicBezTo>
                        <a:cubicBezTo>
                          <a:pt x="46422" y="13544"/>
                          <a:pt x="41250" y="11088"/>
                          <a:pt x="35197" y="11088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997" name="Freihandform: Form 2996">
                    <a:extLst>
                      <a:ext uri="{FF2B5EF4-FFF2-40B4-BE49-F238E27FC236}">
                        <a16:creationId xmlns:a16="http://schemas.microsoft.com/office/drawing/2014/main" id="{ED436044-6C3C-BF81-4F0A-29E23B4D3F62}"/>
                      </a:ext>
                    </a:extLst>
                  </p:cNvPr>
                  <p:cNvSpPr/>
                  <p:nvPr/>
                </p:nvSpPr>
                <p:spPr>
                  <a:xfrm>
                    <a:off x="6874749" y="3260266"/>
                    <a:ext cx="72777" cy="826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2777" h="82600">
                        <a:moveTo>
                          <a:pt x="37951" y="0"/>
                        </a:moveTo>
                        <a:cubicBezTo>
                          <a:pt x="44698" y="0"/>
                          <a:pt x="50180" y="794"/>
                          <a:pt x="54397" y="2382"/>
                        </a:cubicBezTo>
                        <a:cubicBezTo>
                          <a:pt x="58613" y="3969"/>
                          <a:pt x="61714" y="5966"/>
                          <a:pt x="63698" y="8372"/>
                        </a:cubicBezTo>
                        <a:cubicBezTo>
                          <a:pt x="65683" y="10778"/>
                          <a:pt x="67072" y="13817"/>
                          <a:pt x="67865" y="17488"/>
                        </a:cubicBezTo>
                        <a:cubicBezTo>
                          <a:pt x="68312" y="19770"/>
                          <a:pt x="68535" y="23887"/>
                          <a:pt x="68535" y="29840"/>
                        </a:cubicBezTo>
                        <a:lnTo>
                          <a:pt x="68535" y="47700"/>
                        </a:lnTo>
                        <a:cubicBezTo>
                          <a:pt x="68535" y="60152"/>
                          <a:pt x="68820" y="68027"/>
                          <a:pt x="69391" y="71326"/>
                        </a:cubicBezTo>
                        <a:cubicBezTo>
                          <a:pt x="69962" y="74625"/>
                          <a:pt x="71090" y="77788"/>
                          <a:pt x="72777" y="80814"/>
                        </a:cubicBezTo>
                        <a:lnTo>
                          <a:pt x="58787" y="80814"/>
                        </a:lnTo>
                        <a:cubicBezTo>
                          <a:pt x="57398" y="78036"/>
                          <a:pt x="56505" y="74787"/>
                          <a:pt x="56108" y="71066"/>
                        </a:cubicBezTo>
                        <a:cubicBezTo>
                          <a:pt x="51147" y="75283"/>
                          <a:pt x="46372" y="78259"/>
                          <a:pt x="41783" y="79996"/>
                        </a:cubicBezTo>
                        <a:cubicBezTo>
                          <a:pt x="37195" y="81732"/>
                          <a:pt x="32271" y="82600"/>
                          <a:pt x="27012" y="82600"/>
                        </a:cubicBezTo>
                        <a:cubicBezTo>
                          <a:pt x="18331" y="82600"/>
                          <a:pt x="11658" y="80479"/>
                          <a:pt x="6995" y="76238"/>
                        </a:cubicBezTo>
                        <a:cubicBezTo>
                          <a:pt x="2332" y="71996"/>
                          <a:pt x="0" y="66576"/>
                          <a:pt x="0" y="59978"/>
                        </a:cubicBezTo>
                        <a:cubicBezTo>
                          <a:pt x="0" y="56109"/>
                          <a:pt x="880" y="52574"/>
                          <a:pt x="2642" y="49374"/>
                        </a:cubicBezTo>
                        <a:cubicBezTo>
                          <a:pt x="4403" y="46174"/>
                          <a:pt x="6710" y="43607"/>
                          <a:pt x="9562" y="41672"/>
                        </a:cubicBezTo>
                        <a:cubicBezTo>
                          <a:pt x="12415" y="39738"/>
                          <a:pt x="15627" y="38274"/>
                          <a:pt x="19199" y="37282"/>
                        </a:cubicBezTo>
                        <a:cubicBezTo>
                          <a:pt x="21828" y="36587"/>
                          <a:pt x="25797" y="35918"/>
                          <a:pt x="31105" y="35273"/>
                        </a:cubicBezTo>
                        <a:cubicBezTo>
                          <a:pt x="41920" y="33983"/>
                          <a:pt x="49882" y="32445"/>
                          <a:pt x="54992" y="30659"/>
                        </a:cubicBezTo>
                        <a:cubicBezTo>
                          <a:pt x="55041" y="28823"/>
                          <a:pt x="55066" y="27658"/>
                          <a:pt x="55066" y="27162"/>
                        </a:cubicBezTo>
                        <a:cubicBezTo>
                          <a:pt x="55066" y="21705"/>
                          <a:pt x="53801" y="17860"/>
                          <a:pt x="51271" y="15627"/>
                        </a:cubicBezTo>
                        <a:cubicBezTo>
                          <a:pt x="47848" y="12601"/>
                          <a:pt x="42763" y="11088"/>
                          <a:pt x="36016" y="11088"/>
                        </a:cubicBezTo>
                        <a:cubicBezTo>
                          <a:pt x="29716" y="11088"/>
                          <a:pt x="25065" y="12192"/>
                          <a:pt x="22064" y="14400"/>
                        </a:cubicBezTo>
                        <a:cubicBezTo>
                          <a:pt x="19062" y="16607"/>
                          <a:pt x="16842" y="20514"/>
                          <a:pt x="15404" y="26120"/>
                        </a:cubicBezTo>
                        <a:lnTo>
                          <a:pt x="2307" y="24334"/>
                        </a:lnTo>
                        <a:cubicBezTo>
                          <a:pt x="3497" y="18728"/>
                          <a:pt x="5457" y="14201"/>
                          <a:pt x="8185" y="10753"/>
                        </a:cubicBezTo>
                        <a:cubicBezTo>
                          <a:pt x="10914" y="7305"/>
                          <a:pt x="14858" y="4651"/>
                          <a:pt x="20017" y="2791"/>
                        </a:cubicBezTo>
                        <a:cubicBezTo>
                          <a:pt x="25177" y="931"/>
                          <a:pt x="31155" y="0"/>
                          <a:pt x="37951" y="0"/>
                        </a:cubicBezTo>
                        <a:close/>
                        <a:moveTo>
                          <a:pt x="54992" y="41151"/>
                        </a:moveTo>
                        <a:cubicBezTo>
                          <a:pt x="50130" y="43136"/>
                          <a:pt x="42838" y="44823"/>
                          <a:pt x="33114" y="46212"/>
                        </a:cubicBezTo>
                        <a:cubicBezTo>
                          <a:pt x="27608" y="47005"/>
                          <a:pt x="23713" y="47898"/>
                          <a:pt x="21431" y="48890"/>
                        </a:cubicBezTo>
                        <a:cubicBezTo>
                          <a:pt x="19149" y="49883"/>
                          <a:pt x="17388" y="51334"/>
                          <a:pt x="16148" y="53244"/>
                        </a:cubicBezTo>
                        <a:cubicBezTo>
                          <a:pt x="14907" y="55154"/>
                          <a:pt x="14287" y="57274"/>
                          <a:pt x="14287" y="59606"/>
                        </a:cubicBezTo>
                        <a:cubicBezTo>
                          <a:pt x="14287" y="63178"/>
                          <a:pt x="15639" y="66155"/>
                          <a:pt x="18343" y="68536"/>
                        </a:cubicBezTo>
                        <a:cubicBezTo>
                          <a:pt x="21047" y="70917"/>
                          <a:pt x="25003" y="72108"/>
                          <a:pt x="30212" y="72108"/>
                        </a:cubicBezTo>
                        <a:cubicBezTo>
                          <a:pt x="35371" y="72108"/>
                          <a:pt x="39960" y="70979"/>
                          <a:pt x="43979" y="68722"/>
                        </a:cubicBezTo>
                        <a:cubicBezTo>
                          <a:pt x="47997" y="66465"/>
                          <a:pt x="50949" y="63376"/>
                          <a:pt x="52834" y="59457"/>
                        </a:cubicBezTo>
                        <a:cubicBezTo>
                          <a:pt x="54273" y="56431"/>
                          <a:pt x="54992" y="51966"/>
                          <a:pt x="54992" y="46063"/>
                        </a:cubicBezTo>
                        <a:lnTo>
                          <a:pt x="54992" y="41151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998" name="Freihandform: Form 2997">
                    <a:extLst>
                      <a:ext uri="{FF2B5EF4-FFF2-40B4-BE49-F238E27FC236}">
                        <a16:creationId xmlns:a16="http://schemas.microsoft.com/office/drawing/2014/main" id="{809AC9D0-5904-0743-0251-F57EAA30E63B}"/>
                      </a:ext>
                    </a:extLst>
                  </p:cNvPr>
                  <p:cNvSpPr/>
                  <p:nvPr/>
                </p:nvSpPr>
                <p:spPr>
                  <a:xfrm>
                    <a:off x="7088689" y="3260266"/>
                    <a:ext cx="42937" cy="808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2937" h="80814">
                        <a:moveTo>
                          <a:pt x="29171" y="0"/>
                        </a:moveTo>
                        <a:cubicBezTo>
                          <a:pt x="33685" y="0"/>
                          <a:pt x="38274" y="1439"/>
                          <a:pt x="42937" y="4316"/>
                        </a:cubicBezTo>
                        <a:lnTo>
                          <a:pt x="38324" y="16744"/>
                        </a:lnTo>
                        <a:cubicBezTo>
                          <a:pt x="35049" y="14809"/>
                          <a:pt x="31775" y="13841"/>
                          <a:pt x="28501" y="13841"/>
                        </a:cubicBezTo>
                        <a:cubicBezTo>
                          <a:pt x="25574" y="13841"/>
                          <a:pt x="22945" y="14722"/>
                          <a:pt x="20613" y="16483"/>
                        </a:cubicBezTo>
                        <a:cubicBezTo>
                          <a:pt x="18281" y="18244"/>
                          <a:pt x="16619" y="20688"/>
                          <a:pt x="15627" y="23813"/>
                        </a:cubicBezTo>
                        <a:cubicBezTo>
                          <a:pt x="14139" y="28575"/>
                          <a:pt x="13395" y="33784"/>
                          <a:pt x="13395" y="39440"/>
                        </a:cubicBezTo>
                        <a:lnTo>
                          <a:pt x="13395" y="80814"/>
                        </a:lnTo>
                        <a:lnTo>
                          <a:pt x="0" y="80814"/>
                        </a:lnTo>
                        <a:lnTo>
                          <a:pt x="0" y="1786"/>
                        </a:lnTo>
                        <a:lnTo>
                          <a:pt x="12055" y="1786"/>
                        </a:lnTo>
                        <a:lnTo>
                          <a:pt x="12055" y="13767"/>
                        </a:lnTo>
                        <a:cubicBezTo>
                          <a:pt x="15131" y="8161"/>
                          <a:pt x="17971" y="4465"/>
                          <a:pt x="20576" y="2679"/>
                        </a:cubicBezTo>
                        <a:cubicBezTo>
                          <a:pt x="23180" y="893"/>
                          <a:pt x="26045" y="0"/>
                          <a:pt x="29171" y="0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999" name="Freihandform: Form 2998">
                    <a:extLst>
                      <a:ext uri="{FF2B5EF4-FFF2-40B4-BE49-F238E27FC236}">
                        <a16:creationId xmlns:a16="http://schemas.microsoft.com/office/drawing/2014/main" id="{F64AD891-BB5B-AE56-ABA1-E224C4B1E4F6}"/>
                      </a:ext>
                    </a:extLst>
                  </p:cNvPr>
                  <p:cNvSpPr/>
                  <p:nvPr/>
                </p:nvSpPr>
                <p:spPr>
                  <a:xfrm>
                    <a:off x="7050812" y="3262052"/>
                    <a:ext cx="13394" cy="7902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94" h="79028">
                        <a:moveTo>
                          <a:pt x="0" y="0"/>
                        </a:moveTo>
                        <a:lnTo>
                          <a:pt x="13394" y="0"/>
                        </a:lnTo>
                        <a:lnTo>
                          <a:pt x="13394" y="79028"/>
                        </a:lnTo>
                        <a:lnTo>
                          <a:pt x="0" y="790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  <p:grpSp>
          <p:nvGrpSpPr>
            <p:cNvPr id="2892" name="Gruppieren 2891">
              <a:extLst>
                <a:ext uri="{FF2B5EF4-FFF2-40B4-BE49-F238E27FC236}">
                  <a16:creationId xmlns:a16="http://schemas.microsoft.com/office/drawing/2014/main" id="{F1AD2DEC-9EF2-B591-F51A-BFF106FC45C6}"/>
                </a:ext>
              </a:extLst>
            </p:cNvPr>
            <p:cNvGrpSpPr/>
            <p:nvPr/>
          </p:nvGrpSpPr>
          <p:grpSpPr>
            <a:xfrm>
              <a:off x="8329476" y="2601759"/>
              <a:ext cx="274181" cy="64293"/>
              <a:chOff x="6648807" y="3263398"/>
              <a:chExt cx="274181" cy="64293"/>
            </a:xfrm>
          </p:grpSpPr>
          <p:grpSp>
            <p:nvGrpSpPr>
              <p:cNvPr id="2977" name="Gruppieren 2976">
                <a:extLst>
                  <a:ext uri="{FF2B5EF4-FFF2-40B4-BE49-F238E27FC236}">
                    <a16:creationId xmlns:a16="http://schemas.microsoft.com/office/drawing/2014/main" id="{7C3FF919-1DAB-D5EC-F7CC-D5AA31DABBF1}"/>
                  </a:ext>
                </a:extLst>
              </p:cNvPr>
              <p:cNvGrpSpPr/>
              <p:nvPr/>
            </p:nvGrpSpPr>
            <p:grpSpPr>
              <a:xfrm>
                <a:off x="6648807" y="3267845"/>
                <a:ext cx="59582" cy="59846"/>
                <a:chOff x="6747963" y="2282988"/>
                <a:chExt cx="59582" cy="59846"/>
              </a:xfrm>
            </p:grpSpPr>
            <p:sp>
              <p:nvSpPr>
                <p:cNvPr id="2987" name="Freihandform: Form 2986">
                  <a:extLst>
                    <a:ext uri="{FF2B5EF4-FFF2-40B4-BE49-F238E27FC236}">
                      <a16:creationId xmlns:a16="http://schemas.microsoft.com/office/drawing/2014/main" id="{48140B6E-473A-5B6A-C8B1-96213439E56C}"/>
                    </a:ext>
                  </a:extLst>
                </p:cNvPr>
                <p:cNvSpPr/>
                <p:nvPr/>
              </p:nvSpPr>
              <p:spPr>
                <a:xfrm>
                  <a:off x="6754219" y="2304111"/>
                  <a:ext cx="47089" cy="26852"/>
                </a:xfrm>
                <a:custGeom>
                  <a:avLst/>
                  <a:gdLst>
                    <a:gd name="connsiteX0" fmla="*/ 41098 w 47089"/>
                    <a:gd name="connsiteY0" fmla="*/ 22613 h 26852"/>
                    <a:gd name="connsiteX1" fmla="*/ 41098 w 47089"/>
                    <a:gd name="connsiteY1" fmla="*/ 26853 h 26852"/>
                    <a:gd name="connsiteX2" fmla="*/ 0 w 47089"/>
                    <a:gd name="connsiteY2" fmla="*/ 1 h 26852"/>
                    <a:gd name="connsiteX3" fmla="*/ 14265 w 47089"/>
                    <a:gd name="connsiteY3" fmla="*/ 1 h 26852"/>
                    <a:gd name="connsiteX4" fmla="*/ 14265 w 47089"/>
                    <a:gd name="connsiteY4" fmla="*/ 2507 h 26852"/>
                    <a:gd name="connsiteX5" fmla="*/ 11457 w 47089"/>
                    <a:gd name="connsiteY5" fmla="*/ 3261 h 26852"/>
                    <a:gd name="connsiteX6" fmla="*/ 20671 w 47089"/>
                    <a:gd name="connsiteY6" fmla="*/ 9272 h 26852"/>
                    <a:gd name="connsiteX7" fmla="*/ 17317 w 47089"/>
                    <a:gd name="connsiteY7" fmla="*/ 1659 h 26852"/>
                    <a:gd name="connsiteX8" fmla="*/ 20897 w 47089"/>
                    <a:gd name="connsiteY8" fmla="*/ 1 h 26852"/>
                    <a:gd name="connsiteX9" fmla="*/ 47090 w 47089"/>
                    <a:gd name="connsiteY9" fmla="*/ 1 h 26852"/>
                    <a:gd name="connsiteX10" fmla="*/ 31412 w 47089"/>
                    <a:gd name="connsiteY10" fmla="*/ 12362 h 26852"/>
                    <a:gd name="connsiteX11" fmla="*/ 29622 w 47089"/>
                    <a:gd name="connsiteY11" fmla="*/ 10647 h 26852"/>
                    <a:gd name="connsiteX12" fmla="*/ 37291 w 47089"/>
                    <a:gd name="connsiteY12" fmla="*/ 3355 h 26852"/>
                    <a:gd name="connsiteX13" fmla="*/ 22725 w 47089"/>
                    <a:gd name="connsiteY13" fmla="*/ 3355 h 26852"/>
                    <a:gd name="connsiteX14" fmla="*/ 21670 w 47089"/>
                    <a:gd name="connsiteY14" fmla="*/ 3845 h 26852"/>
                    <a:gd name="connsiteX15" fmla="*/ 37498 w 47089"/>
                    <a:gd name="connsiteY15" fmla="*/ 20220 h 26852"/>
                    <a:gd name="connsiteX16" fmla="*/ 41116 w 47089"/>
                    <a:gd name="connsiteY16" fmla="*/ 22632 h 268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7089" h="26852">
                      <a:moveTo>
                        <a:pt x="41098" y="22613"/>
                      </a:moveTo>
                      <a:lnTo>
                        <a:pt x="41098" y="26853"/>
                      </a:lnTo>
                      <a:lnTo>
                        <a:pt x="0" y="1"/>
                      </a:lnTo>
                      <a:lnTo>
                        <a:pt x="14265" y="1"/>
                      </a:lnTo>
                      <a:lnTo>
                        <a:pt x="14265" y="2507"/>
                      </a:lnTo>
                      <a:lnTo>
                        <a:pt x="11457" y="3261"/>
                      </a:lnTo>
                      <a:lnTo>
                        <a:pt x="20671" y="9272"/>
                      </a:lnTo>
                      <a:cubicBezTo>
                        <a:pt x="20671" y="9272"/>
                        <a:pt x="15734" y="4900"/>
                        <a:pt x="17317" y="1659"/>
                      </a:cubicBezTo>
                      <a:cubicBezTo>
                        <a:pt x="18165" y="-93"/>
                        <a:pt x="20370" y="1"/>
                        <a:pt x="20897" y="1"/>
                      </a:cubicBezTo>
                      <a:lnTo>
                        <a:pt x="47090" y="1"/>
                      </a:lnTo>
                      <a:lnTo>
                        <a:pt x="31412" y="12362"/>
                      </a:lnTo>
                      <a:lnTo>
                        <a:pt x="29622" y="10647"/>
                      </a:lnTo>
                      <a:lnTo>
                        <a:pt x="37291" y="3355"/>
                      </a:lnTo>
                      <a:lnTo>
                        <a:pt x="22725" y="3355"/>
                      </a:lnTo>
                      <a:cubicBezTo>
                        <a:pt x="22574" y="3355"/>
                        <a:pt x="21896" y="3317"/>
                        <a:pt x="21670" y="3845"/>
                      </a:cubicBezTo>
                      <a:cubicBezTo>
                        <a:pt x="20671" y="6125"/>
                        <a:pt x="29188" y="14661"/>
                        <a:pt x="37498" y="20220"/>
                      </a:cubicBezTo>
                      <a:lnTo>
                        <a:pt x="41116" y="2263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88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988" name="Freihandform: Form 2987">
                  <a:extLst>
                    <a:ext uri="{FF2B5EF4-FFF2-40B4-BE49-F238E27FC236}">
                      <a16:creationId xmlns:a16="http://schemas.microsoft.com/office/drawing/2014/main" id="{BA336C47-FD46-F304-A0C1-17F0EA294150}"/>
                    </a:ext>
                  </a:extLst>
                </p:cNvPr>
                <p:cNvSpPr/>
                <p:nvPr/>
              </p:nvSpPr>
              <p:spPr>
                <a:xfrm>
                  <a:off x="6747963" y="2282988"/>
                  <a:ext cx="59582" cy="59846"/>
                </a:xfrm>
                <a:custGeom>
                  <a:avLst/>
                  <a:gdLst>
                    <a:gd name="connsiteX0" fmla="*/ 29791 w 59582"/>
                    <a:gd name="connsiteY0" fmla="*/ 0 h 59846"/>
                    <a:gd name="connsiteX1" fmla="*/ 0 w 59582"/>
                    <a:gd name="connsiteY1" fmla="*/ 29923 h 59846"/>
                    <a:gd name="connsiteX2" fmla="*/ 29791 w 59582"/>
                    <a:gd name="connsiteY2" fmla="*/ 59847 h 59846"/>
                    <a:gd name="connsiteX3" fmla="*/ 59583 w 59582"/>
                    <a:gd name="connsiteY3" fmla="*/ 29923 h 59846"/>
                    <a:gd name="connsiteX4" fmla="*/ 29791 w 59582"/>
                    <a:gd name="connsiteY4" fmla="*/ 0 h 59846"/>
                    <a:gd name="connsiteX5" fmla="*/ 29791 w 59582"/>
                    <a:gd name="connsiteY5" fmla="*/ 57077 h 59846"/>
                    <a:gd name="connsiteX6" fmla="*/ 2770 w 59582"/>
                    <a:gd name="connsiteY6" fmla="*/ 29923 h 59846"/>
                    <a:gd name="connsiteX7" fmla="*/ 29791 w 59582"/>
                    <a:gd name="connsiteY7" fmla="*/ 2770 h 59846"/>
                    <a:gd name="connsiteX8" fmla="*/ 56813 w 59582"/>
                    <a:gd name="connsiteY8" fmla="*/ 29923 h 59846"/>
                    <a:gd name="connsiteX9" fmla="*/ 29791 w 59582"/>
                    <a:gd name="connsiteY9" fmla="*/ 57077 h 59846"/>
                    <a:gd name="connsiteX10" fmla="*/ 29791 w 59582"/>
                    <a:gd name="connsiteY10" fmla="*/ 57077 h 59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9582" h="59846">
                      <a:moveTo>
                        <a:pt x="29791" y="0"/>
                      </a:moveTo>
                      <a:cubicBezTo>
                        <a:pt x="13341" y="0"/>
                        <a:pt x="0" y="13398"/>
                        <a:pt x="0" y="29923"/>
                      </a:cubicBezTo>
                      <a:cubicBezTo>
                        <a:pt x="0" y="46449"/>
                        <a:pt x="13341" y="59847"/>
                        <a:pt x="29791" y="59847"/>
                      </a:cubicBezTo>
                      <a:cubicBezTo>
                        <a:pt x="46242" y="59847"/>
                        <a:pt x="59583" y="46449"/>
                        <a:pt x="59583" y="29923"/>
                      </a:cubicBezTo>
                      <a:cubicBezTo>
                        <a:pt x="59583" y="13398"/>
                        <a:pt x="46242" y="0"/>
                        <a:pt x="29791" y="0"/>
                      </a:cubicBezTo>
                      <a:close/>
                      <a:moveTo>
                        <a:pt x="29791" y="57077"/>
                      </a:moveTo>
                      <a:cubicBezTo>
                        <a:pt x="14868" y="57077"/>
                        <a:pt x="2770" y="44923"/>
                        <a:pt x="2770" y="29923"/>
                      </a:cubicBezTo>
                      <a:cubicBezTo>
                        <a:pt x="2770" y="14924"/>
                        <a:pt x="14868" y="2770"/>
                        <a:pt x="29791" y="2770"/>
                      </a:cubicBezTo>
                      <a:cubicBezTo>
                        <a:pt x="44715" y="2770"/>
                        <a:pt x="56813" y="14924"/>
                        <a:pt x="56813" y="29923"/>
                      </a:cubicBezTo>
                      <a:cubicBezTo>
                        <a:pt x="56813" y="44923"/>
                        <a:pt x="44715" y="57077"/>
                        <a:pt x="29791" y="57077"/>
                      </a:cubicBezTo>
                      <a:lnTo>
                        <a:pt x="29791" y="5707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88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978" name="Freihandform: Form 2977">
                <a:extLst>
                  <a:ext uri="{FF2B5EF4-FFF2-40B4-BE49-F238E27FC236}">
                    <a16:creationId xmlns:a16="http://schemas.microsoft.com/office/drawing/2014/main" id="{8D70D163-7205-AA44-19C1-6EA475546BDB}"/>
                  </a:ext>
                </a:extLst>
              </p:cNvPr>
              <p:cNvSpPr/>
              <p:nvPr/>
            </p:nvSpPr>
            <p:spPr>
              <a:xfrm rot="4013472" flipH="1">
                <a:off x="6739024" y="3258519"/>
                <a:ext cx="19860" cy="51988"/>
              </a:xfrm>
              <a:custGeom>
                <a:avLst/>
                <a:gdLst>
                  <a:gd name="connsiteX0" fmla="*/ 0 w 19860"/>
                  <a:gd name="connsiteY0" fmla="*/ 0 h 51988"/>
                  <a:gd name="connsiteX1" fmla="*/ 19861 w 19860"/>
                  <a:gd name="connsiteY1" fmla="*/ 51989 h 51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860" h="51988">
                    <a:moveTo>
                      <a:pt x="0" y="0"/>
                    </a:moveTo>
                    <a:lnTo>
                      <a:pt x="19861" y="51989"/>
                    </a:lnTo>
                  </a:path>
                </a:pathLst>
              </a:custGeom>
              <a:noFill/>
              <a:ln w="6480" cap="flat">
                <a:solidFill>
                  <a:srgbClr val="0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979" name="Gruppieren 2978">
                <a:extLst>
                  <a:ext uri="{FF2B5EF4-FFF2-40B4-BE49-F238E27FC236}">
                    <a16:creationId xmlns:a16="http://schemas.microsoft.com/office/drawing/2014/main" id="{01E53CE3-B9BC-106E-A93C-B7B9B583DA8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789519" y="3263398"/>
                <a:ext cx="133469" cy="39600"/>
                <a:chOff x="6505569" y="3470509"/>
                <a:chExt cx="373707" cy="110878"/>
              </a:xfrm>
            </p:grpSpPr>
            <p:sp>
              <p:nvSpPr>
                <p:cNvPr id="2980" name="Freihandform: Form 2979">
                  <a:extLst>
                    <a:ext uri="{FF2B5EF4-FFF2-40B4-BE49-F238E27FC236}">
                      <a16:creationId xmlns:a16="http://schemas.microsoft.com/office/drawing/2014/main" id="{D0AE783A-AD0B-AC15-FC54-F0DBB043119E}"/>
                    </a:ext>
                  </a:extLst>
                </p:cNvPr>
                <p:cNvSpPr/>
                <p:nvPr/>
              </p:nvSpPr>
              <p:spPr>
                <a:xfrm>
                  <a:off x="6865882" y="3470509"/>
                  <a:ext cx="13394" cy="154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94" h="15404">
                      <a:moveTo>
                        <a:pt x="0" y="0"/>
                      </a:moveTo>
                      <a:lnTo>
                        <a:pt x="13394" y="0"/>
                      </a:lnTo>
                      <a:lnTo>
                        <a:pt x="13394" y="15404"/>
                      </a:lnTo>
                      <a:lnTo>
                        <a:pt x="0" y="1540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981" name="Gruppieren 2980">
                  <a:extLst>
                    <a:ext uri="{FF2B5EF4-FFF2-40B4-BE49-F238E27FC236}">
                      <a16:creationId xmlns:a16="http://schemas.microsoft.com/office/drawing/2014/main" id="{16544A4D-7EE3-04F9-AAB2-34664D521D58}"/>
                    </a:ext>
                  </a:extLst>
                </p:cNvPr>
                <p:cNvGrpSpPr/>
                <p:nvPr/>
              </p:nvGrpSpPr>
              <p:grpSpPr>
                <a:xfrm>
                  <a:off x="6505569" y="3470510"/>
                  <a:ext cx="373707" cy="110877"/>
                  <a:chOff x="6505569" y="3470510"/>
                  <a:chExt cx="373707" cy="110877"/>
                </a:xfrm>
              </p:grpSpPr>
              <p:sp>
                <p:nvSpPr>
                  <p:cNvPr id="2982" name="Freihandform: Form 2981">
                    <a:extLst>
                      <a:ext uri="{FF2B5EF4-FFF2-40B4-BE49-F238E27FC236}">
                        <a16:creationId xmlns:a16="http://schemas.microsoft.com/office/drawing/2014/main" id="{1612C98D-0A3A-2644-92ED-6CFCF7B4C57C}"/>
                      </a:ext>
                    </a:extLst>
                  </p:cNvPr>
                  <p:cNvSpPr/>
                  <p:nvPr/>
                </p:nvSpPr>
                <p:spPr>
                  <a:xfrm>
                    <a:off x="6505569" y="3470510"/>
                    <a:ext cx="90190" cy="10909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0190" h="109091">
                        <a:moveTo>
                          <a:pt x="0" y="0"/>
                        </a:moveTo>
                        <a:lnTo>
                          <a:pt x="37579" y="0"/>
                        </a:lnTo>
                        <a:cubicBezTo>
                          <a:pt x="46062" y="0"/>
                          <a:pt x="52536" y="521"/>
                          <a:pt x="57001" y="1563"/>
                        </a:cubicBezTo>
                        <a:cubicBezTo>
                          <a:pt x="63252" y="3001"/>
                          <a:pt x="68585" y="5606"/>
                          <a:pt x="73000" y="9376"/>
                        </a:cubicBezTo>
                        <a:cubicBezTo>
                          <a:pt x="78755" y="14238"/>
                          <a:pt x="83058" y="20452"/>
                          <a:pt x="85911" y="28017"/>
                        </a:cubicBezTo>
                        <a:cubicBezTo>
                          <a:pt x="88763" y="35582"/>
                          <a:pt x="90190" y="44227"/>
                          <a:pt x="90190" y="53950"/>
                        </a:cubicBezTo>
                        <a:cubicBezTo>
                          <a:pt x="90190" y="62235"/>
                          <a:pt x="89222" y="69577"/>
                          <a:pt x="87287" y="75977"/>
                        </a:cubicBezTo>
                        <a:cubicBezTo>
                          <a:pt x="85353" y="82376"/>
                          <a:pt x="82872" y="87672"/>
                          <a:pt x="79846" y="91864"/>
                        </a:cubicBezTo>
                        <a:cubicBezTo>
                          <a:pt x="76820" y="96056"/>
                          <a:pt x="73508" y="99355"/>
                          <a:pt x="69912" y="101761"/>
                        </a:cubicBezTo>
                        <a:cubicBezTo>
                          <a:pt x="66315" y="104167"/>
                          <a:pt x="61974" y="105991"/>
                          <a:pt x="56889" y="107231"/>
                        </a:cubicBezTo>
                        <a:cubicBezTo>
                          <a:pt x="51804" y="108471"/>
                          <a:pt x="45963" y="109091"/>
                          <a:pt x="39365" y="109091"/>
                        </a:cubicBezTo>
                        <a:lnTo>
                          <a:pt x="0" y="109091"/>
                        </a:lnTo>
                        <a:lnTo>
                          <a:pt x="0" y="0"/>
                        </a:lnTo>
                        <a:close/>
                        <a:moveTo>
                          <a:pt x="14436" y="12874"/>
                        </a:moveTo>
                        <a:lnTo>
                          <a:pt x="14436" y="96218"/>
                        </a:lnTo>
                        <a:lnTo>
                          <a:pt x="37728" y="96218"/>
                        </a:lnTo>
                        <a:cubicBezTo>
                          <a:pt x="44921" y="96218"/>
                          <a:pt x="50564" y="95548"/>
                          <a:pt x="54657" y="94208"/>
                        </a:cubicBezTo>
                        <a:cubicBezTo>
                          <a:pt x="58750" y="92869"/>
                          <a:pt x="62011" y="90984"/>
                          <a:pt x="64442" y="88553"/>
                        </a:cubicBezTo>
                        <a:cubicBezTo>
                          <a:pt x="67865" y="85130"/>
                          <a:pt x="70532" y="80529"/>
                          <a:pt x="72442" y="74749"/>
                        </a:cubicBezTo>
                        <a:cubicBezTo>
                          <a:pt x="74352" y="68970"/>
                          <a:pt x="75307" y="61962"/>
                          <a:pt x="75307" y="53727"/>
                        </a:cubicBezTo>
                        <a:cubicBezTo>
                          <a:pt x="75307" y="42317"/>
                          <a:pt x="73434" y="33548"/>
                          <a:pt x="69688" y="27422"/>
                        </a:cubicBezTo>
                        <a:cubicBezTo>
                          <a:pt x="65943" y="21295"/>
                          <a:pt x="61391" y="17190"/>
                          <a:pt x="56033" y="15106"/>
                        </a:cubicBezTo>
                        <a:cubicBezTo>
                          <a:pt x="52164" y="13618"/>
                          <a:pt x="45938" y="12874"/>
                          <a:pt x="37356" y="12874"/>
                        </a:cubicBezTo>
                        <a:lnTo>
                          <a:pt x="14436" y="1287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983" name="Freihandform: Form 2982">
                    <a:extLst>
                      <a:ext uri="{FF2B5EF4-FFF2-40B4-BE49-F238E27FC236}">
                        <a16:creationId xmlns:a16="http://schemas.microsoft.com/office/drawing/2014/main" id="{8FAE9E0B-13E6-D9E8-A5A7-DF20877D1A92}"/>
                      </a:ext>
                    </a:extLst>
                  </p:cNvPr>
                  <p:cNvSpPr/>
                  <p:nvPr/>
                </p:nvSpPr>
                <p:spPr>
                  <a:xfrm>
                    <a:off x="6694284" y="3470510"/>
                    <a:ext cx="68535" cy="11087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8535" h="110877">
                        <a:moveTo>
                          <a:pt x="0" y="0"/>
                        </a:moveTo>
                        <a:lnTo>
                          <a:pt x="13394" y="0"/>
                        </a:lnTo>
                        <a:lnTo>
                          <a:pt x="13394" y="38919"/>
                        </a:lnTo>
                        <a:cubicBezTo>
                          <a:pt x="19050" y="31825"/>
                          <a:pt x="26268" y="28277"/>
                          <a:pt x="35049" y="28277"/>
                        </a:cubicBezTo>
                        <a:cubicBezTo>
                          <a:pt x="39910" y="28277"/>
                          <a:pt x="44512" y="29257"/>
                          <a:pt x="48853" y="31217"/>
                        </a:cubicBezTo>
                        <a:cubicBezTo>
                          <a:pt x="53193" y="33176"/>
                          <a:pt x="56765" y="35930"/>
                          <a:pt x="59568" y="39477"/>
                        </a:cubicBezTo>
                        <a:cubicBezTo>
                          <a:pt x="62371" y="43024"/>
                          <a:pt x="64566" y="47303"/>
                          <a:pt x="66154" y="52313"/>
                        </a:cubicBezTo>
                        <a:cubicBezTo>
                          <a:pt x="67741" y="57324"/>
                          <a:pt x="68535" y="62682"/>
                          <a:pt x="68535" y="68387"/>
                        </a:cubicBezTo>
                        <a:cubicBezTo>
                          <a:pt x="68535" y="81930"/>
                          <a:pt x="65186" y="92398"/>
                          <a:pt x="58489" y="99789"/>
                        </a:cubicBezTo>
                        <a:cubicBezTo>
                          <a:pt x="51792" y="107181"/>
                          <a:pt x="43755" y="110877"/>
                          <a:pt x="34379" y="110877"/>
                        </a:cubicBezTo>
                        <a:cubicBezTo>
                          <a:pt x="25052" y="110877"/>
                          <a:pt x="17735" y="106983"/>
                          <a:pt x="12427" y="99194"/>
                        </a:cubicBezTo>
                        <a:lnTo>
                          <a:pt x="12427" y="109091"/>
                        </a:lnTo>
                        <a:lnTo>
                          <a:pt x="0" y="109091"/>
                        </a:lnTo>
                        <a:lnTo>
                          <a:pt x="0" y="0"/>
                        </a:lnTo>
                        <a:close/>
                        <a:moveTo>
                          <a:pt x="33858" y="39291"/>
                        </a:moveTo>
                        <a:cubicBezTo>
                          <a:pt x="28004" y="39291"/>
                          <a:pt x="22944" y="41833"/>
                          <a:pt x="18678" y="46918"/>
                        </a:cubicBezTo>
                        <a:cubicBezTo>
                          <a:pt x="14411" y="52003"/>
                          <a:pt x="12278" y="59358"/>
                          <a:pt x="12278" y="68982"/>
                        </a:cubicBezTo>
                        <a:cubicBezTo>
                          <a:pt x="12278" y="78457"/>
                          <a:pt x="13568" y="85303"/>
                          <a:pt x="16148" y="89520"/>
                        </a:cubicBezTo>
                        <a:cubicBezTo>
                          <a:pt x="20364" y="96416"/>
                          <a:pt x="26069" y="99864"/>
                          <a:pt x="33263" y="99864"/>
                        </a:cubicBezTo>
                        <a:cubicBezTo>
                          <a:pt x="39117" y="99864"/>
                          <a:pt x="44177" y="97321"/>
                          <a:pt x="48443" y="92236"/>
                        </a:cubicBezTo>
                        <a:cubicBezTo>
                          <a:pt x="52710" y="87151"/>
                          <a:pt x="54843" y="79574"/>
                          <a:pt x="54843" y="69503"/>
                        </a:cubicBezTo>
                        <a:cubicBezTo>
                          <a:pt x="54843" y="59184"/>
                          <a:pt x="52797" y="51569"/>
                          <a:pt x="48704" y="46658"/>
                        </a:cubicBezTo>
                        <a:cubicBezTo>
                          <a:pt x="44611" y="41746"/>
                          <a:pt x="39662" y="39291"/>
                          <a:pt x="33858" y="39291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984" name="Freihandform: Form 2983">
                    <a:extLst>
                      <a:ext uri="{FF2B5EF4-FFF2-40B4-BE49-F238E27FC236}">
                        <a16:creationId xmlns:a16="http://schemas.microsoft.com/office/drawing/2014/main" id="{6D9DF5A9-FC16-6460-4601-F1845A72712D}"/>
                      </a:ext>
                    </a:extLst>
                  </p:cNvPr>
                  <p:cNvSpPr/>
                  <p:nvPr/>
                </p:nvSpPr>
                <p:spPr>
                  <a:xfrm>
                    <a:off x="6775544" y="3498786"/>
                    <a:ext cx="72777" cy="826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2777" h="82600">
                        <a:moveTo>
                          <a:pt x="37951" y="0"/>
                        </a:moveTo>
                        <a:cubicBezTo>
                          <a:pt x="44698" y="0"/>
                          <a:pt x="50180" y="794"/>
                          <a:pt x="54397" y="2382"/>
                        </a:cubicBezTo>
                        <a:cubicBezTo>
                          <a:pt x="58613" y="3969"/>
                          <a:pt x="61714" y="5966"/>
                          <a:pt x="63698" y="8372"/>
                        </a:cubicBezTo>
                        <a:cubicBezTo>
                          <a:pt x="65683" y="10778"/>
                          <a:pt x="67072" y="13817"/>
                          <a:pt x="67865" y="17488"/>
                        </a:cubicBezTo>
                        <a:cubicBezTo>
                          <a:pt x="68312" y="19770"/>
                          <a:pt x="68535" y="23887"/>
                          <a:pt x="68535" y="29840"/>
                        </a:cubicBezTo>
                        <a:lnTo>
                          <a:pt x="68535" y="47700"/>
                        </a:lnTo>
                        <a:cubicBezTo>
                          <a:pt x="68535" y="60152"/>
                          <a:pt x="68820" y="68027"/>
                          <a:pt x="69391" y="71326"/>
                        </a:cubicBezTo>
                        <a:cubicBezTo>
                          <a:pt x="69961" y="74625"/>
                          <a:pt x="71090" y="77788"/>
                          <a:pt x="72777" y="80814"/>
                        </a:cubicBezTo>
                        <a:lnTo>
                          <a:pt x="58787" y="80814"/>
                        </a:lnTo>
                        <a:cubicBezTo>
                          <a:pt x="57398" y="78036"/>
                          <a:pt x="56505" y="74787"/>
                          <a:pt x="56108" y="71066"/>
                        </a:cubicBezTo>
                        <a:cubicBezTo>
                          <a:pt x="51147" y="75283"/>
                          <a:pt x="46372" y="78259"/>
                          <a:pt x="41783" y="79996"/>
                        </a:cubicBezTo>
                        <a:cubicBezTo>
                          <a:pt x="37195" y="81732"/>
                          <a:pt x="32271" y="82600"/>
                          <a:pt x="27012" y="82600"/>
                        </a:cubicBezTo>
                        <a:cubicBezTo>
                          <a:pt x="18331" y="82600"/>
                          <a:pt x="11658" y="80479"/>
                          <a:pt x="6995" y="76238"/>
                        </a:cubicBezTo>
                        <a:cubicBezTo>
                          <a:pt x="2332" y="71996"/>
                          <a:pt x="0" y="66576"/>
                          <a:pt x="0" y="59978"/>
                        </a:cubicBezTo>
                        <a:cubicBezTo>
                          <a:pt x="0" y="56109"/>
                          <a:pt x="880" y="52574"/>
                          <a:pt x="2642" y="49374"/>
                        </a:cubicBezTo>
                        <a:cubicBezTo>
                          <a:pt x="4403" y="46174"/>
                          <a:pt x="6710" y="43607"/>
                          <a:pt x="9562" y="41672"/>
                        </a:cubicBezTo>
                        <a:cubicBezTo>
                          <a:pt x="12415" y="39738"/>
                          <a:pt x="15627" y="38274"/>
                          <a:pt x="19199" y="37282"/>
                        </a:cubicBezTo>
                        <a:cubicBezTo>
                          <a:pt x="21828" y="36587"/>
                          <a:pt x="25797" y="35918"/>
                          <a:pt x="31105" y="35273"/>
                        </a:cubicBezTo>
                        <a:cubicBezTo>
                          <a:pt x="41920" y="33983"/>
                          <a:pt x="49882" y="32445"/>
                          <a:pt x="54992" y="30659"/>
                        </a:cubicBezTo>
                        <a:cubicBezTo>
                          <a:pt x="55041" y="28823"/>
                          <a:pt x="55066" y="27658"/>
                          <a:pt x="55066" y="27162"/>
                        </a:cubicBezTo>
                        <a:cubicBezTo>
                          <a:pt x="55066" y="21705"/>
                          <a:pt x="53801" y="17860"/>
                          <a:pt x="51271" y="15627"/>
                        </a:cubicBezTo>
                        <a:cubicBezTo>
                          <a:pt x="47848" y="12601"/>
                          <a:pt x="42763" y="11088"/>
                          <a:pt x="36016" y="11088"/>
                        </a:cubicBezTo>
                        <a:cubicBezTo>
                          <a:pt x="29716" y="11088"/>
                          <a:pt x="25065" y="12192"/>
                          <a:pt x="22064" y="14400"/>
                        </a:cubicBezTo>
                        <a:cubicBezTo>
                          <a:pt x="19062" y="16607"/>
                          <a:pt x="16842" y="20514"/>
                          <a:pt x="15404" y="26120"/>
                        </a:cubicBezTo>
                        <a:lnTo>
                          <a:pt x="2307" y="24334"/>
                        </a:lnTo>
                        <a:cubicBezTo>
                          <a:pt x="3497" y="18728"/>
                          <a:pt x="5457" y="14201"/>
                          <a:pt x="8185" y="10753"/>
                        </a:cubicBezTo>
                        <a:cubicBezTo>
                          <a:pt x="10914" y="7305"/>
                          <a:pt x="14858" y="4651"/>
                          <a:pt x="20017" y="2791"/>
                        </a:cubicBezTo>
                        <a:cubicBezTo>
                          <a:pt x="25177" y="931"/>
                          <a:pt x="31155" y="0"/>
                          <a:pt x="37951" y="0"/>
                        </a:cubicBezTo>
                        <a:close/>
                        <a:moveTo>
                          <a:pt x="54992" y="41151"/>
                        </a:moveTo>
                        <a:cubicBezTo>
                          <a:pt x="50130" y="43136"/>
                          <a:pt x="42838" y="44823"/>
                          <a:pt x="33114" y="46212"/>
                        </a:cubicBezTo>
                        <a:cubicBezTo>
                          <a:pt x="27607" y="47005"/>
                          <a:pt x="23713" y="47898"/>
                          <a:pt x="21431" y="48890"/>
                        </a:cubicBezTo>
                        <a:cubicBezTo>
                          <a:pt x="19149" y="49883"/>
                          <a:pt x="17388" y="51334"/>
                          <a:pt x="16148" y="53244"/>
                        </a:cubicBezTo>
                        <a:cubicBezTo>
                          <a:pt x="14907" y="55154"/>
                          <a:pt x="14287" y="57274"/>
                          <a:pt x="14287" y="59606"/>
                        </a:cubicBezTo>
                        <a:cubicBezTo>
                          <a:pt x="14287" y="63178"/>
                          <a:pt x="15639" y="66155"/>
                          <a:pt x="18343" y="68536"/>
                        </a:cubicBezTo>
                        <a:cubicBezTo>
                          <a:pt x="21047" y="70917"/>
                          <a:pt x="25003" y="72108"/>
                          <a:pt x="30212" y="72108"/>
                        </a:cubicBezTo>
                        <a:cubicBezTo>
                          <a:pt x="35371" y="72108"/>
                          <a:pt x="39960" y="70979"/>
                          <a:pt x="43979" y="68722"/>
                        </a:cubicBezTo>
                        <a:cubicBezTo>
                          <a:pt x="47997" y="66465"/>
                          <a:pt x="50949" y="63376"/>
                          <a:pt x="52834" y="59457"/>
                        </a:cubicBezTo>
                        <a:cubicBezTo>
                          <a:pt x="54273" y="56431"/>
                          <a:pt x="54992" y="51966"/>
                          <a:pt x="54992" y="46063"/>
                        </a:cubicBezTo>
                        <a:lnTo>
                          <a:pt x="54992" y="41151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985" name="Freihandform: Form 2984">
                    <a:extLst>
                      <a:ext uri="{FF2B5EF4-FFF2-40B4-BE49-F238E27FC236}">
                        <a16:creationId xmlns:a16="http://schemas.microsoft.com/office/drawing/2014/main" id="{79081DF7-F09F-878F-F3E1-FCDA0FFAB7FE}"/>
                      </a:ext>
                    </a:extLst>
                  </p:cNvPr>
                  <p:cNvSpPr/>
                  <p:nvPr/>
                </p:nvSpPr>
                <p:spPr>
                  <a:xfrm>
                    <a:off x="6617860" y="3500572"/>
                    <a:ext cx="64071" cy="808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071" h="80814">
                        <a:moveTo>
                          <a:pt x="0" y="0"/>
                        </a:moveTo>
                        <a:lnTo>
                          <a:pt x="13395" y="0"/>
                        </a:lnTo>
                        <a:lnTo>
                          <a:pt x="13395" y="43830"/>
                        </a:lnTo>
                        <a:cubicBezTo>
                          <a:pt x="13395" y="50825"/>
                          <a:pt x="13668" y="55538"/>
                          <a:pt x="14214" y="57969"/>
                        </a:cubicBezTo>
                        <a:cubicBezTo>
                          <a:pt x="15057" y="61491"/>
                          <a:pt x="16843" y="64257"/>
                          <a:pt x="19571" y="66266"/>
                        </a:cubicBezTo>
                        <a:cubicBezTo>
                          <a:pt x="22300" y="68275"/>
                          <a:pt x="25673" y="69280"/>
                          <a:pt x="29692" y="69280"/>
                        </a:cubicBezTo>
                        <a:cubicBezTo>
                          <a:pt x="33710" y="69280"/>
                          <a:pt x="37480" y="68250"/>
                          <a:pt x="41003" y="66192"/>
                        </a:cubicBezTo>
                        <a:cubicBezTo>
                          <a:pt x="44525" y="64133"/>
                          <a:pt x="47018" y="61330"/>
                          <a:pt x="48481" y="57783"/>
                        </a:cubicBezTo>
                        <a:cubicBezTo>
                          <a:pt x="49945" y="54236"/>
                          <a:pt x="50676" y="49089"/>
                          <a:pt x="50676" y="42342"/>
                        </a:cubicBezTo>
                        <a:lnTo>
                          <a:pt x="50676" y="0"/>
                        </a:lnTo>
                        <a:lnTo>
                          <a:pt x="64071" y="0"/>
                        </a:lnTo>
                        <a:lnTo>
                          <a:pt x="64071" y="79028"/>
                        </a:lnTo>
                        <a:lnTo>
                          <a:pt x="52090" y="79028"/>
                        </a:lnTo>
                        <a:lnTo>
                          <a:pt x="52090" y="67420"/>
                        </a:lnTo>
                        <a:cubicBezTo>
                          <a:pt x="45939" y="76349"/>
                          <a:pt x="37580" y="80814"/>
                          <a:pt x="27013" y="80814"/>
                        </a:cubicBezTo>
                        <a:cubicBezTo>
                          <a:pt x="22350" y="80814"/>
                          <a:pt x="17996" y="79921"/>
                          <a:pt x="13953" y="78135"/>
                        </a:cubicBezTo>
                        <a:cubicBezTo>
                          <a:pt x="9910" y="76349"/>
                          <a:pt x="6909" y="74104"/>
                          <a:pt x="4949" y="71401"/>
                        </a:cubicBezTo>
                        <a:cubicBezTo>
                          <a:pt x="2989" y="68697"/>
                          <a:pt x="1613" y="65386"/>
                          <a:pt x="819" y="61466"/>
                        </a:cubicBezTo>
                        <a:cubicBezTo>
                          <a:pt x="273" y="58837"/>
                          <a:pt x="0" y="54670"/>
                          <a:pt x="0" y="48965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986" name="Freihandform: Form 2985">
                    <a:extLst>
                      <a:ext uri="{FF2B5EF4-FFF2-40B4-BE49-F238E27FC236}">
                        <a16:creationId xmlns:a16="http://schemas.microsoft.com/office/drawing/2014/main" id="{5B36089D-9EBD-FC9F-9A77-CBBE6767DE59}"/>
                      </a:ext>
                    </a:extLst>
                  </p:cNvPr>
                  <p:cNvSpPr/>
                  <p:nvPr/>
                </p:nvSpPr>
                <p:spPr>
                  <a:xfrm>
                    <a:off x="6865882" y="3500572"/>
                    <a:ext cx="13394" cy="7902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94" h="79028">
                        <a:moveTo>
                          <a:pt x="0" y="0"/>
                        </a:moveTo>
                        <a:lnTo>
                          <a:pt x="13394" y="0"/>
                        </a:lnTo>
                        <a:lnTo>
                          <a:pt x="13394" y="79028"/>
                        </a:lnTo>
                        <a:lnTo>
                          <a:pt x="0" y="7902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  <p:grpSp>
          <p:nvGrpSpPr>
            <p:cNvPr id="2893" name="Gruppieren 2892">
              <a:extLst>
                <a:ext uri="{FF2B5EF4-FFF2-40B4-BE49-F238E27FC236}">
                  <a16:creationId xmlns:a16="http://schemas.microsoft.com/office/drawing/2014/main" id="{DE3F0B12-7302-6198-1FBE-257E4493A505}"/>
                </a:ext>
              </a:extLst>
            </p:cNvPr>
            <p:cNvGrpSpPr/>
            <p:nvPr/>
          </p:nvGrpSpPr>
          <p:grpSpPr>
            <a:xfrm>
              <a:off x="7965929" y="3783981"/>
              <a:ext cx="189294" cy="36587"/>
              <a:chOff x="9417560" y="4535744"/>
              <a:chExt cx="573659" cy="110878"/>
            </a:xfrm>
          </p:grpSpPr>
          <p:sp>
            <p:nvSpPr>
              <p:cNvPr id="2968" name="Freihandform: Form 2967">
                <a:extLst>
                  <a:ext uri="{FF2B5EF4-FFF2-40B4-BE49-F238E27FC236}">
                    <a16:creationId xmlns:a16="http://schemas.microsoft.com/office/drawing/2014/main" id="{6309FDE1-CA70-0AD9-7120-AA273A83AD6B}"/>
                  </a:ext>
                </a:extLst>
              </p:cNvPr>
              <p:cNvSpPr/>
              <p:nvPr/>
            </p:nvSpPr>
            <p:spPr>
              <a:xfrm>
                <a:off x="9417560" y="4535745"/>
                <a:ext cx="86246" cy="109091"/>
              </a:xfrm>
              <a:custGeom>
                <a:avLst/>
                <a:gdLst/>
                <a:ahLst/>
                <a:cxnLst/>
                <a:rect l="l" t="t" r="r" b="b"/>
                <a:pathLst>
                  <a:path w="86246" h="109091">
                    <a:moveTo>
                      <a:pt x="6325" y="0"/>
                    </a:moveTo>
                    <a:lnTo>
                      <a:pt x="84460" y="0"/>
                    </a:lnTo>
                    <a:lnTo>
                      <a:pt x="84460" y="12874"/>
                    </a:lnTo>
                    <a:lnTo>
                      <a:pt x="23217" y="88553"/>
                    </a:lnTo>
                    <a:lnTo>
                      <a:pt x="16594" y="96217"/>
                    </a:lnTo>
                    <a:lnTo>
                      <a:pt x="86246" y="96217"/>
                    </a:lnTo>
                    <a:lnTo>
                      <a:pt x="86246" y="109091"/>
                    </a:lnTo>
                    <a:lnTo>
                      <a:pt x="0" y="109091"/>
                    </a:lnTo>
                    <a:lnTo>
                      <a:pt x="0" y="95697"/>
                    </a:lnTo>
                    <a:lnTo>
                      <a:pt x="55885" y="25822"/>
                    </a:lnTo>
                    <a:cubicBezTo>
                      <a:pt x="59854" y="20861"/>
                      <a:pt x="63624" y="16545"/>
                      <a:pt x="67196" y="12874"/>
                    </a:cubicBezTo>
                    <a:lnTo>
                      <a:pt x="6325" y="12874"/>
                    </a:lnTo>
                    <a:lnTo>
                      <a:pt x="6325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69" name="Freihandform: Form 2968">
                <a:extLst>
                  <a:ext uri="{FF2B5EF4-FFF2-40B4-BE49-F238E27FC236}">
                    <a16:creationId xmlns:a16="http://schemas.microsoft.com/office/drawing/2014/main" id="{5FC900F8-1FFD-EAAC-7DF1-D82882A87DB0}"/>
                  </a:ext>
                </a:extLst>
              </p:cNvPr>
              <p:cNvSpPr/>
              <p:nvPr/>
            </p:nvSpPr>
            <p:spPr>
              <a:xfrm>
                <a:off x="9738955" y="4535744"/>
                <a:ext cx="13395" cy="15404"/>
              </a:xfrm>
              <a:custGeom>
                <a:avLst/>
                <a:gdLst/>
                <a:ahLst/>
                <a:cxnLst/>
                <a:rect l="l" t="t" r="r" b="b"/>
                <a:pathLst>
                  <a:path w="13395" h="15404">
                    <a:moveTo>
                      <a:pt x="0" y="0"/>
                    </a:moveTo>
                    <a:lnTo>
                      <a:pt x="13395" y="0"/>
                    </a:lnTo>
                    <a:lnTo>
                      <a:pt x="13395" y="15404"/>
                    </a:lnTo>
                    <a:lnTo>
                      <a:pt x="0" y="1540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70" name="Freihandform: Form 2969">
                <a:extLst>
                  <a:ext uri="{FF2B5EF4-FFF2-40B4-BE49-F238E27FC236}">
                    <a16:creationId xmlns:a16="http://schemas.microsoft.com/office/drawing/2014/main" id="{60F1AB4C-8FA9-8F08-0FDF-C73FA4564E71}"/>
                  </a:ext>
                </a:extLst>
              </p:cNvPr>
              <p:cNvSpPr/>
              <p:nvPr/>
            </p:nvSpPr>
            <p:spPr>
              <a:xfrm>
                <a:off x="9776907" y="4535745"/>
                <a:ext cx="68535" cy="110877"/>
              </a:xfrm>
              <a:custGeom>
                <a:avLst/>
                <a:gdLst/>
                <a:ahLst/>
                <a:cxnLst/>
                <a:rect l="l" t="t" r="r" b="b"/>
                <a:pathLst>
                  <a:path w="68535" h="110877">
                    <a:moveTo>
                      <a:pt x="0" y="0"/>
                    </a:moveTo>
                    <a:lnTo>
                      <a:pt x="13394" y="0"/>
                    </a:lnTo>
                    <a:lnTo>
                      <a:pt x="13394" y="38919"/>
                    </a:lnTo>
                    <a:cubicBezTo>
                      <a:pt x="19050" y="31825"/>
                      <a:pt x="26268" y="28277"/>
                      <a:pt x="35048" y="28277"/>
                    </a:cubicBezTo>
                    <a:cubicBezTo>
                      <a:pt x="39910" y="28277"/>
                      <a:pt x="44511" y="29257"/>
                      <a:pt x="48852" y="31217"/>
                    </a:cubicBezTo>
                    <a:cubicBezTo>
                      <a:pt x="53193" y="33176"/>
                      <a:pt x="56765" y="35930"/>
                      <a:pt x="59568" y="39477"/>
                    </a:cubicBezTo>
                    <a:cubicBezTo>
                      <a:pt x="62371" y="43024"/>
                      <a:pt x="64566" y="47303"/>
                      <a:pt x="66154" y="52313"/>
                    </a:cubicBezTo>
                    <a:cubicBezTo>
                      <a:pt x="67741" y="57324"/>
                      <a:pt x="68535" y="62681"/>
                      <a:pt x="68535" y="68387"/>
                    </a:cubicBezTo>
                    <a:cubicBezTo>
                      <a:pt x="68535" y="81930"/>
                      <a:pt x="65186" y="92398"/>
                      <a:pt x="58489" y="99789"/>
                    </a:cubicBezTo>
                    <a:cubicBezTo>
                      <a:pt x="51792" y="107181"/>
                      <a:pt x="43755" y="110877"/>
                      <a:pt x="34379" y="110877"/>
                    </a:cubicBezTo>
                    <a:cubicBezTo>
                      <a:pt x="25052" y="110877"/>
                      <a:pt x="17735" y="106983"/>
                      <a:pt x="12427" y="99194"/>
                    </a:cubicBezTo>
                    <a:lnTo>
                      <a:pt x="12427" y="109091"/>
                    </a:lnTo>
                    <a:lnTo>
                      <a:pt x="0" y="109091"/>
                    </a:lnTo>
                    <a:lnTo>
                      <a:pt x="0" y="0"/>
                    </a:lnTo>
                    <a:close/>
                    <a:moveTo>
                      <a:pt x="33858" y="39291"/>
                    </a:moveTo>
                    <a:cubicBezTo>
                      <a:pt x="28004" y="39291"/>
                      <a:pt x="22944" y="41833"/>
                      <a:pt x="18677" y="46918"/>
                    </a:cubicBezTo>
                    <a:cubicBezTo>
                      <a:pt x="14411" y="52003"/>
                      <a:pt x="12278" y="59358"/>
                      <a:pt x="12278" y="68982"/>
                    </a:cubicBezTo>
                    <a:cubicBezTo>
                      <a:pt x="12278" y="78457"/>
                      <a:pt x="13568" y="85303"/>
                      <a:pt x="16147" y="89520"/>
                    </a:cubicBezTo>
                    <a:cubicBezTo>
                      <a:pt x="20364" y="96416"/>
                      <a:pt x="26069" y="99864"/>
                      <a:pt x="33263" y="99864"/>
                    </a:cubicBezTo>
                    <a:cubicBezTo>
                      <a:pt x="39116" y="99864"/>
                      <a:pt x="44177" y="97321"/>
                      <a:pt x="48443" y="92236"/>
                    </a:cubicBezTo>
                    <a:cubicBezTo>
                      <a:pt x="52709" y="87151"/>
                      <a:pt x="54843" y="79573"/>
                      <a:pt x="54843" y="69503"/>
                    </a:cubicBezTo>
                    <a:cubicBezTo>
                      <a:pt x="54843" y="59184"/>
                      <a:pt x="52796" y="51569"/>
                      <a:pt x="48704" y="46658"/>
                    </a:cubicBezTo>
                    <a:cubicBezTo>
                      <a:pt x="44611" y="41746"/>
                      <a:pt x="39662" y="39291"/>
                      <a:pt x="33858" y="3929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71" name="Freihandform: Form 2970">
                <a:extLst>
                  <a:ext uri="{FF2B5EF4-FFF2-40B4-BE49-F238E27FC236}">
                    <a16:creationId xmlns:a16="http://schemas.microsoft.com/office/drawing/2014/main" id="{ABDCCAD3-B692-4725-ED0D-7DED64889241}"/>
                  </a:ext>
                </a:extLst>
              </p:cNvPr>
              <p:cNvSpPr/>
              <p:nvPr/>
            </p:nvSpPr>
            <p:spPr>
              <a:xfrm>
                <a:off x="9505742" y="4564021"/>
                <a:ext cx="72777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2777" h="82600">
                    <a:moveTo>
                      <a:pt x="37951" y="0"/>
                    </a:moveTo>
                    <a:cubicBezTo>
                      <a:pt x="44698" y="0"/>
                      <a:pt x="50180" y="794"/>
                      <a:pt x="54396" y="2382"/>
                    </a:cubicBezTo>
                    <a:cubicBezTo>
                      <a:pt x="58613" y="3969"/>
                      <a:pt x="61714" y="5966"/>
                      <a:pt x="63698" y="8372"/>
                    </a:cubicBezTo>
                    <a:cubicBezTo>
                      <a:pt x="65682" y="10778"/>
                      <a:pt x="67072" y="13817"/>
                      <a:pt x="67865" y="17488"/>
                    </a:cubicBezTo>
                    <a:cubicBezTo>
                      <a:pt x="68312" y="19770"/>
                      <a:pt x="68535" y="23887"/>
                      <a:pt x="68535" y="29840"/>
                    </a:cubicBezTo>
                    <a:lnTo>
                      <a:pt x="68535" y="47700"/>
                    </a:lnTo>
                    <a:cubicBezTo>
                      <a:pt x="68535" y="60152"/>
                      <a:pt x="68820" y="68027"/>
                      <a:pt x="69391" y="71326"/>
                    </a:cubicBezTo>
                    <a:cubicBezTo>
                      <a:pt x="69961" y="74625"/>
                      <a:pt x="71090" y="77788"/>
                      <a:pt x="72777" y="80814"/>
                    </a:cubicBezTo>
                    <a:lnTo>
                      <a:pt x="58787" y="80814"/>
                    </a:lnTo>
                    <a:cubicBezTo>
                      <a:pt x="57398" y="78036"/>
                      <a:pt x="56505" y="74787"/>
                      <a:pt x="56108" y="71066"/>
                    </a:cubicBezTo>
                    <a:cubicBezTo>
                      <a:pt x="51147" y="75283"/>
                      <a:pt x="46372" y="78259"/>
                      <a:pt x="41783" y="79996"/>
                    </a:cubicBezTo>
                    <a:cubicBezTo>
                      <a:pt x="37194" y="81732"/>
                      <a:pt x="32271" y="82600"/>
                      <a:pt x="27012" y="82600"/>
                    </a:cubicBezTo>
                    <a:cubicBezTo>
                      <a:pt x="18330" y="82600"/>
                      <a:pt x="11658" y="80479"/>
                      <a:pt x="6995" y="76238"/>
                    </a:cubicBezTo>
                    <a:cubicBezTo>
                      <a:pt x="2331" y="71996"/>
                      <a:pt x="0" y="66576"/>
                      <a:pt x="0" y="59978"/>
                    </a:cubicBezTo>
                    <a:cubicBezTo>
                      <a:pt x="0" y="56109"/>
                      <a:pt x="880" y="52574"/>
                      <a:pt x="2641" y="49374"/>
                    </a:cubicBezTo>
                    <a:cubicBezTo>
                      <a:pt x="4402" y="46174"/>
                      <a:pt x="6709" y="43607"/>
                      <a:pt x="9562" y="41672"/>
                    </a:cubicBezTo>
                    <a:cubicBezTo>
                      <a:pt x="12414" y="39738"/>
                      <a:pt x="15627" y="38274"/>
                      <a:pt x="19198" y="37282"/>
                    </a:cubicBezTo>
                    <a:cubicBezTo>
                      <a:pt x="21828" y="36587"/>
                      <a:pt x="25797" y="35918"/>
                      <a:pt x="31105" y="35273"/>
                    </a:cubicBezTo>
                    <a:cubicBezTo>
                      <a:pt x="41920" y="33983"/>
                      <a:pt x="49882" y="32445"/>
                      <a:pt x="54992" y="30659"/>
                    </a:cubicBezTo>
                    <a:cubicBezTo>
                      <a:pt x="55041" y="28823"/>
                      <a:pt x="55066" y="27658"/>
                      <a:pt x="55066" y="27162"/>
                    </a:cubicBezTo>
                    <a:cubicBezTo>
                      <a:pt x="55066" y="21705"/>
                      <a:pt x="53801" y="17860"/>
                      <a:pt x="51271" y="15627"/>
                    </a:cubicBezTo>
                    <a:cubicBezTo>
                      <a:pt x="47848" y="12601"/>
                      <a:pt x="42763" y="11088"/>
                      <a:pt x="36016" y="11088"/>
                    </a:cubicBezTo>
                    <a:cubicBezTo>
                      <a:pt x="29716" y="11088"/>
                      <a:pt x="25065" y="12192"/>
                      <a:pt x="22063" y="14400"/>
                    </a:cubicBezTo>
                    <a:cubicBezTo>
                      <a:pt x="19062" y="16607"/>
                      <a:pt x="16842" y="20514"/>
                      <a:pt x="15403" y="26120"/>
                    </a:cubicBezTo>
                    <a:lnTo>
                      <a:pt x="2306" y="24334"/>
                    </a:lnTo>
                    <a:cubicBezTo>
                      <a:pt x="3497" y="18728"/>
                      <a:pt x="5457" y="14201"/>
                      <a:pt x="8185" y="10753"/>
                    </a:cubicBezTo>
                    <a:cubicBezTo>
                      <a:pt x="10914" y="7306"/>
                      <a:pt x="14858" y="4651"/>
                      <a:pt x="20017" y="2791"/>
                    </a:cubicBezTo>
                    <a:cubicBezTo>
                      <a:pt x="25176" y="931"/>
                      <a:pt x="31154" y="0"/>
                      <a:pt x="37951" y="0"/>
                    </a:cubicBezTo>
                    <a:close/>
                    <a:moveTo>
                      <a:pt x="54992" y="41151"/>
                    </a:moveTo>
                    <a:cubicBezTo>
                      <a:pt x="50130" y="43136"/>
                      <a:pt x="42837" y="44822"/>
                      <a:pt x="33114" y="46212"/>
                    </a:cubicBezTo>
                    <a:cubicBezTo>
                      <a:pt x="27607" y="47005"/>
                      <a:pt x="23713" y="47898"/>
                      <a:pt x="21431" y="48890"/>
                    </a:cubicBezTo>
                    <a:cubicBezTo>
                      <a:pt x="19149" y="49883"/>
                      <a:pt x="17388" y="51334"/>
                      <a:pt x="16147" y="53244"/>
                    </a:cubicBezTo>
                    <a:cubicBezTo>
                      <a:pt x="14907" y="55154"/>
                      <a:pt x="14287" y="57275"/>
                      <a:pt x="14287" y="59606"/>
                    </a:cubicBezTo>
                    <a:cubicBezTo>
                      <a:pt x="14287" y="63178"/>
                      <a:pt x="15639" y="66155"/>
                      <a:pt x="18343" y="68536"/>
                    </a:cubicBezTo>
                    <a:cubicBezTo>
                      <a:pt x="21046" y="70917"/>
                      <a:pt x="25003" y="72108"/>
                      <a:pt x="30212" y="72108"/>
                    </a:cubicBezTo>
                    <a:cubicBezTo>
                      <a:pt x="35371" y="72108"/>
                      <a:pt x="39960" y="70979"/>
                      <a:pt x="43978" y="68722"/>
                    </a:cubicBezTo>
                    <a:cubicBezTo>
                      <a:pt x="47997" y="66465"/>
                      <a:pt x="50948" y="63377"/>
                      <a:pt x="52834" y="59457"/>
                    </a:cubicBezTo>
                    <a:cubicBezTo>
                      <a:pt x="54272" y="56431"/>
                      <a:pt x="54992" y="51966"/>
                      <a:pt x="54992" y="46063"/>
                    </a:cubicBezTo>
                    <a:lnTo>
                      <a:pt x="54992" y="4115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72" name="Freihandform: Form 2971">
                <a:extLst>
                  <a:ext uri="{FF2B5EF4-FFF2-40B4-BE49-F238E27FC236}">
                    <a16:creationId xmlns:a16="http://schemas.microsoft.com/office/drawing/2014/main" id="{49645560-C100-91AE-CEDC-49EE8CF2A0F2}"/>
                  </a:ext>
                </a:extLst>
              </p:cNvPr>
              <p:cNvSpPr/>
              <p:nvPr/>
            </p:nvSpPr>
            <p:spPr>
              <a:xfrm>
                <a:off x="9596006" y="4564021"/>
                <a:ext cx="64219" cy="80814"/>
              </a:xfrm>
              <a:custGeom>
                <a:avLst/>
                <a:gdLst/>
                <a:ahLst/>
                <a:cxnLst/>
                <a:rect l="l" t="t" r="r" b="b"/>
                <a:pathLst>
                  <a:path w="64219" h="80814">
                    <a:moveTo>
                      <a:pt x="37207" y="0"/>
                    </a:moveTo>
                    <a:cubicBezTo>
                      <a:pt x="41969" y="0"/>
                      <a:pt x="46347" y="856"/>
                      <a:pt x="50341" y="2568"/>
                    </a:cubicBezTo>
                    <a:cubicBezTo>
                      <a:pt x="54335" y="4279"/>
                      <a:pt x="57324" y="6524"/>
                      <a:pt x="59308" y="9302"/>
                    </a:cubicBezTo>
                    <a:cubicBezTo>
                      <a:pt x="61292" y="12080"/>
                      <a:pt x="62681" y="15379"/>
                      <a:pt x="63475" y="19199"/>
                    </a:cubicBezTo>
                    <a:cubicBezTo>
                      <a:pt x="63971" y="21680"/>
                      <a:pt x="64219" y="26021"/>
                      <a:pt x="64219" y="32222"/>
                    </a:cubicBezTo>
                    <a:lnTo>
                      <a:pt x="64219" y="80814"/>
                    </a:lnTo>
                    <a:lnTo>
                      <a:pt x="50825" y="80814"/>
                    </a:lnTo>
                    <a:lnTo>
                      <a:pt x="50825" y="32743"/>
                    </a:lnTo>
                    <a:cubicBezTo>
                      <a:pt x="50825" y="27286"/>
                      <a:pt x="50304" y="23205"/>
                      <a:pt x="49262" y="20502"/>
                    </a:cubicBezTo>
                    <a:cubicBezTo>
                      <a:pt x="48220" y="17798"/>
                      <a:pt x="46372" y="15640"/>
                      <a:pt x="43718" y="14028"/>
                    </a:cubicBezTo>
                    <a:cubicBezTo>
                      <a:pt x="41064" y="12415"/>
                      <a:pt x="37951" y="11609"/>
                      <a:pt x="34379" y="11609"/>
                    </a:cubicBezTo>
                    <a:cubicBezTo>
                      <a:pt x="28674" y="11609"/>
                      <a:pt x="23750" y="13420"/>
                      <a:pt x="19608" y="17041"/>
                    </a:cubicBezTo>
                    <a:cubicBezTo>
                      <a:pt x="15466" y="20663"/>
                      <a:pt x="13394" y="27534"/>
                      <a:pt x="13394" y="37654"/>
                    </a:cubicBezTo>
                    <a:lnTo>
                      <a:pt x="13394" y="80814"/>
                    </a:lnTo>
                    <a:lnTo>
                      <a:pt x="0" y="80814"/>
                    </a:lnTo>
                    <a:lnTo>
                      <a:pt x="0" y="1786"/>
                    </a:lnTo>
                    <a:lnTo>
                      <a:pt x="12055" y="1786"/>
                    </a:lnTo>
                    <a:lnTo>
                      <a:pt x="12055" y="13023"/>
                    </a:lnTo>
                    <a:cubicBezTo>
                      <a:pt x="17859" y="4341"/>
                      <a:pt x="26243" y="0"/>
                      <a:pt x="3720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73" name="Freihandform: Form 2972">
                <a:extLst>
                  <a:ext uri="{FF2B5EF4-FFF2-40B4-BE49-F238E27FC236}">
                    <a16:creationId xmlns:a16="http://schemas.microsoft.com/office/drawing/2014/main" id="{33DE4E11-BAF2-1E87-6BE7-70897B1D8426}"/>
                  </a:ext>
                </a:extLst>
              </p:cNvPr>
              <p:cNvSpPr/>
              <p:nvPr/>
            </p:nvSpPr>
            <p:spPr>
              <a:xfrm>
                <a:off x="9858167" y="4564021"/>
                <a:ext cx="72777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2777" h="82600">
                    <a:moveTo>
                      <a:pt x="37951" y="0"/>
                    </a:moveTo>
                    <a:cubicBezTo>
                      <a:pt x="44698" y="0"/>
                      <a:pt x="50180" y="794"/>
                      <a:pt x="54396" y="2382"/>
                    </a:cubicBezTo>
                    <a:cubicBezTo>
                      <a:pt x="58613" y="3969"/>
                      <a:pt x="61714" y="5966"/>
                      <a:pt x="63698" y="8372"/>
                    </a:cubicBezTo>
                    <a:cubicBezTo>
                      <a:pt x="65682" y="10778"/>
                      <a:pt x="67072" y="13817"/>
                      <a:pt x="67865" y="17488"/>
                    </a:cubicBezTo>
                    <a:cubicBezTo>
                      <a:pt x="68312" y="19770"/>
                      <a:pt x="68535" y="23887"/>
                      <a:pt x="68535" y="29840"/>
                    </a:cubicBezTo>
                    <a:lnTo>
                      <a:pt x="68535" y="47700"/>
                    </a:lnTo>
                    <a:cubicBezTo>
                      <a:pt x="68535" y="60152"/>
                      <a:pt x="68820" y="68027"/>
                      <a:pt x="69391" y="71326"/>
                    </a:cubicBezTo>
                    <a:cubicBezTo>
                      <a:pt x="69961" y="74625"/>
                      <a:pt x="71090" y="77788"/>
                      <a:pt x="72777" y="80814"/>
                    </a:cubicBezTo>
                    <a:lnTo>
                      <a:pt x="58787" y="80814"/>
                    </a:lnTo>
                    <a:cubicBezTo>
                      <a:pt x="57398" y="78036"/>
                      <a:pt x="56505" y="74787"/>
                      <a:pt x="56108" y="71066"/>
                    </a:cubicBezTo>
                    <a:cubicBezTo>
                      <a:pt x="51147" y="75283"/>
                      <a:pt x="46372" y="78259"/>
                      <a:pt x="41783" y="79996"/>
                    </a:cubicBezTo>
                    <a:cubicBezTo>
                      <a:pt x="37194" y="81732"/>
                      <a:pt x="32271" y="82600"/>
                      <a:pt x="27012" y="82600"/>
                    </a:cubicBezTo>
                    <a:cubicBezTo>
                      <a:pt x="18330" y="82600"/>
                      <a:pt x="11658" y="80479"/>
                      <a:pt x="6995" y="76238"/>
                    </a:cubicBezTo>
                    <a:cubicBezTo>
                      <a:pt x="2331" y="71996"/>
                      <a:pt x="0" y="66576"/>
                      <a:pt x="0" y="59978"/>
                    </a:cubicBezTo>
                    <a:cubicBezTo>
                      <a:pt x="0" y="56109"/>
                      <a:pt x="880" y="52574"/>
                      <a:pt x="2641" y="49374"/>
                    </a:cubicBezTo>
                    <a:cubicBezTo>
                      <a:pt x="4402" y="46174"/>
                      <a:pt x="6709" y="43607"/>
                      <a:pt x="9562" y="41672"/>
                    </a:cubicBezTo>
                    <a:cubicBezTo>
                      <a:pt x="12414" y="39738"/>
                      <a:pt x="15627" y="38274"/>
                      <a:pt x="19198" y="37282"/>
                    </a:cubicBezTo>
                    <a:cubicBezTo>
                      <a:pt x="21828" y="36587"/>
                      <a:pt x="25796" y="35918"/>
                      <a:pt x="31105" y="35273"/>
                    </a:cubicBezTo>
                    <a:cubicBezTo>
                      <a:pt x="41920" y="33983"/>
                      <a:pt x="49882" y="32445"/>
                      <a:pt x="54992" y="30659"/>
                    </a:cubicBezTo>
                    <a:cubicBezTo>
                      <a:pt x="55041" y="28823"/>
                      <a:pt x="55066" y="27658"/>
                      <a:pt x="55066" y="27162"/>
                    </a:cubicBezTo>
                    <a:cubicBezTo>
                      <a:pt x="55066" y="21705"/>
                      <a:pt x="53801" y="17860"/>
                      <a:pt x="51271" y="15627"/>
                    </a:cubicBezTo>
                    <a:cubicBezTo>
                      <a:pt x="47848" y="12601"/>
                      <a:pt x="42763" y="11088"/>
                      <a:pt x="36016" y="11088"/>
                    </a:cubicBezTo>
                    <a:cubicBezTo>
                      <a:pt x="29716" y="11088"/>
                      <a:pt x="25065" y="12192"/>
                      <a:pt x="22063" y="14400"/>
                    </a:cubicBezTo>
                    <a:cubicBezTo>
                      <a:pt x="19062" y="16607"/>
                      <a:pt x="16842" y="20514"/>
                      <a:pt x="15403" y="26120"/>
                    </a:cubicBezTo>
                    <a:lnTo>
                      <a:pt x="2306" y="24334"/>
                    </a:lnTo>
                    <a:cubicBezTo>
                      <a:pt x="3497" y="18728"/>
                      <a:pt x="5457" y="14201"/>
                      <a:pt x="8185" y="10753"/>
                    </a:cubicBezTo>
                    <a:cubicBezTo>
                      <a:pt x="10914" y="7306"/>
                      <a:pt x="14858" y="4651"/>
                      <a:pt x="20017" y="2791"/>
                    </a:cubicBezTo>
                    <a:cubicBezTo>
                      <a:pt x="25176" y="931"/>
                      <a:pt x="31154" y="0"/>
                      <a:pt x="37951" y="0"/>
                    </a:cubicBezTo>
                    <a:close/>
                    <a:moveTo>
                      <a:pt x="54992" y="41151"/>
                    </a:moveTo>
                    <a:cubicBezTo>
                      <a:pt x="50130" y="43136"/>
                      <a:pt x="42837" y="44822"/>
                      <a:pt x="33114" y="46212"/>
                    </a:cubicBezTo>
                    <a:cubicBezTo>
                      <a:pt x="27607" y="47005"/>
                      <a:pt x="23713" y="47898"/>
                      <a:pt x="21431" y="48890"/>
                    </a:cubicBezTo>
                    <a:cubicBezTo>
                      <a:pt x="19149" y="49883"/>
                      <a:pt x="17388" y="51334"/>
                      <a:pt x="16148" y="53244"/>
                    </a:cubicBezTo>
                    <a:cubicBezTo>
                      <a:pt x="14907" y="55154"/>
                      <a:pt x="14287" y="57275"/>
                      <a:pt x="14287" y="59606"/>
                    </a:cubicBezTo>
                    <a:cubicBezTo>
                      <a:pt x="14287" y="63178"/>
                      <a:pt x="15639" y="66155"/>
                      <a:pt x="18343" y="68536"/>
                    </a:cubicBezTo>
                    <a:cubicBezTo>
                      <a:pt x="21046" y="70917"/>
                      <a:pt x="25003" y="72108"/>
                      <a:pt x="30212" y="72108"/>
                    </a:cubicBezTo>
                    <a:cubicBezTo>
                      <a:pt x="35371" y="72108"/>
                      <a:pt x="39960" y="70979"/>
                      <a:pt x="43978" y="68722"/>
                    </a:cubicBezTo>
                    <a:cubicBezTo>
                      <a:pt x="47997" y="66465"/>
                      <a:pt x="50948" y="63377"/>
                      <a:pt x="52834" y="59457"/>
                    </a:cubicBezTo>
                    <a:cubicBezTo>
                      <a:pt x="54272" y="56431"/>
                      <a:pt x="54992" y="51966"/>
                      <a:pt x="54992" y="46063"/>
                    </a:cubicBezTo>
                    <a:lnTo>
                      <a:pt x="54992" y="4115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74" name="Freihandform: Form 2973">
                <a:extLst>
                  <a:ext uri="{FF2B5EF4-FFF2-40B4-BE49-F238E27FC236}">
                    <a16:creationId xmlns:a16="http://schemas.microsoft.com/office/drawing/2014/main" id="{3BB120FA-4632-7EFC-6BD2-D62CFD9D3D49}"/>
                  </a:ext>
                </a:extLst>
              </p:cNvPr>
              <p:cNvSpPr/>
              <p:nvPr/>
            </p:nvSpPr>
            <p:spPr>
              <a:xfrm>
                <a:off x="9948282" y="4564021"/>
                <a:ext cx="42937" cy="80814"/>
              </a:xfrm>
              <a:custGeom>
                <a:avLst/>
                <a:gdLst/>
                <a:ahLst/>
                <a:cxnLst/>
                <a:rect l="l" t="t" r="r" b="b"/>
                <a:pathLst>
                  <a:path w="42937" h="80814">
                    <a:moveTo>
                      <a:pt x="29170" y="0"/>
                    </a:moveTo>
                    <a:cubicBezTo>
                      <a:pt x="33685" y="0"/>
                      <a:pt x="38274" y="1439"/>
                      <a:pt x="42937" y="4316"/>
                    </a:cubicBezTo>
                    <a:lnTo>
                      <a:pt x="38323" y="16744"/>
                    </a:lnTo>
                    <a:cubicBezTo>
                      <a:pt x="35049" y="14809"/>
                      <a:pt x="31775" y="13841"/>
                      <a:pt x="28501" y="13841"/>
                    </a:cubicBezTo>
                    <a:cubicBezTo>
                      <a:pt x="25574" y="13841"/>
                      <a:pt x="22944" y="14722"/>
                      <a:pt x="20613" y="16483"/>
                    </a:cubicBezTo>
                    <a:cubicBezTo>
                      <a:pt x="18281" y="18244"/>
                      <a:pt x="16619" y="20688"/>
                      <a:pt x="15627" y="23813"/>
                    </a:cubicBezTo>
                    <a:cubicBezTo>
                      <a:pt x="14139" y="28575"/>
                      <a:pt x="13395" y="33784"/>
                      <a:pt x="13395" y="39440"/>
                    </a:cubicBezTo>
                    <a:lnTo>
                      <a:pt x="13395" y="80814"/>
                    </a:lnTo>
                    <a:lnTo>
                      <a:pt x="0" y="80814"/>
                    </a:lnTo>
                    <a:lnTo>
                      <a:pt x="0" y="1786"/>
                    </a:lnTo>
                    <a:lnTo>
                      <a:pt x="12055" y="1786"/>
                    </a:lnTo>
                    <a:lnTo>
                      <a:pt x="12055" y="13767"/>
                    </a:lnTo>
                    <a:cubicBezTo>
                      <a:pt x="15131" y="8161"/>
                      <a:pt x="17971" y="4465"/>
                      <a:pt x="20576" y="2679"/>
                    </a:cubicBezTo>
                    <a:cubicBezTo>
                      <a:pt x="23180" y="893"/>
                      <a:pt x="26045" y="0"/>
                      <a:pt x="2917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75" name="Freihandform: Form 2974">
                <a:extLst>
                  <a:ext uri="{FF2B5EF4-FFF2-40B4-BE49-F238E27FC236}">
                    <a16:creationId xmlns:a16="http://schemas.microsoft.com/office/drawing/2014/main" id="{4D0310B4-A10B-CCCF-96AB-E69BC0C1C067}"/>
                  </a:ext>
                </a:extLst>
              </p:cNvPr>
              <p:cNvSpPr/>
              <p:nvPr/>
            </p:nvSpPr>
            <p:spPr>
              <a:xfrm>
                <a:off x="9665137" y="4565807"/>
                <a:ext cx="69949" cy="79028"/>
              </a:xfrm>
              <a:custGeom>
                <a:avLst/>
                <a:gdLst/>
                <a:ahLst/>
                <a:cxnLst/>
                <a:rect l="l" t="t" r="r" b="b"/>
                <a:pathLst>
                  <a:path w="69949" h="79028">
                    <a:moveTo>
                      <a:pt x="2976" y="0"/>
                    </a:moveTo>
                    <a:lnTo>
                      <a:pt x="67568" y="0"/>
                    </a:lnTo>
                    <a:lnTo>
                      <a:pt x="67568" y="8856"/>
                    </a:lnTo>
                    <a:lnTo>
                      <a:pt x="24779" y="59011"/>
                    </a:lnTo>
                    <a:lnTo>
                      <a:pt x="16520" y="68164"/>
                    </a:lnTo>
                    <a:cubicBezTo>
                      <a:pt x="22522" y="67717"/>
                      <a:pt x="28153" y="67494"/>
                      <a:pt x="33411" y="67494"/>
                    </a:cubicBezTo>
                    <a:lnTo>
                      <a:pt x="69949" y="67494"/>
                    </a:lnTo>
                    <a:lnTo>
                      <a:pt x="69949" y="79028"/>
                    </a:lnTo>
                    <a:lnTo>
                      <a:pt x="0" y="79028"/>
                    </a:lnTo>
                    <a:lnTo>
                      <a:pt x="0" y="68164"/>
                    </a:lnTo>
                    <a:lnTo>
                      <a:pt x="50303" y="10418"/>
                    </a:lnTo>
                    <a:cubicBezTo>
                      <a:pt x="44598" y="10716"/>
                      <a:pt x="39563" y="10865"/>
                      <a:pt x="35197" y="10865"/>
                    </a:cubicBezTo>
                    <a:lnTo>
                      <a:pt x="2976" y="10865"/>
                    </a:lnTo>
                    <a:lnTo>
                      <a:pt x="2976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76" name="Freihandform: Form 2975">
                <a:extLst>
                  <a:ext uri="{FF2B5EF4-FFF2-40B4-BE49-F238E27FC236}">
                    <a16:creationId xmlns:a16="http://schemas.microsoft.com/office/drawing/2014/main" id="{12862627-E113-1021-A8CC-C3F6F22EA014}"/>
                  </a:ext>
                </a:extLst>
              </p:cNvPr>
              <p:cNvSpPr/>
              <p:nvPr/>
            </p:nvSpPr>
            <p:spPr>
              <a:xfrm>
                <a:off x="9738955" y="4565807"/>
                <a:ext cx="13395" cy="79028"/>
              </a:xfrm>
              <a:custGeom>
                <a:avLst/>
                <a:gdLst/>
                <a:ahLst/>
                <a:cxnLst/>
                <a:rect l="l" t="t" r="r" b="b"/>
                <a:pathLst>
                  <a:path w="13395" h="79028">
                    <a:moveTo>
                      <a:pt x="0" y="0"/>
                    </a:moveTo>
                    <a:lnTo>
                      <a:pt x="13395" y="0"/>
                    </a:lnTo>
                    <a:lnTo>
                      <a:pt x="13395" y="79028"/>
                    </a:lnTo>
                    <a:lnTo>
                      <a:pt x="0" y="7902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894" name="Gruppieren 2893">
              <a:extLst>
                <a:ext uri="{FF2B5EF4-FFF2-40B4-BE49-F238E27FC236}">
                  <a16:creationId xmlns:a16="http://schemas.microsoft.com/office/drawing/2014/main" id="{061237A5-26AE-B4D8-657E-B259D8897D17}"/>
                </a:ext>
              </a:extLst>
            </p:cNvPr>
            <p:cNvGrpSpPr/>
            <p:nvPr/>
          </p:nvGrpSpPr>
          <p:grpSpPr>
            <a:xfrm>
              <a:off x="6985271" y="4843526"/>
              <a:ext cx="238869" cy="46605"/>
              <a:chOff x="9422100" y="4105260"/>
              <a:chExt cx="723900" cy="141238"/>
            </a:xfrm>
          </p:grpSpPr>
          <p:sp>
            <p:nvSpPr>
              <p:cNvPr id="2960" name="Freihandform: Form 2959">
                <a:extLst>
                  <a:ext uri="{FF2B5EF4-FFF2-40B4-BE49-F238E27FC236}">
                    <a16:creationId xmlns:a16="http://schemas.microsoft.com/office/drawing/2014/main" id="{2CBC505B-DEA6-1984-BA55-4E859B8192A7}"/>
                  </a:ext>
                </a:extLst>
              </p:cNvPr>
              <p:cNvSpPr/>
              <p:nvPr/>
            </p:nvSpPr>
            <p:spPr>
              <a:xfrm>
                <a:off x="9422100" y="4105260"/>
                <a:ext cx="96441" cy="112811"/>
              </a:xfrm>
              <a:custGeom>
                <a:avLst/>
                <a:gdLst/>
                <a:ahLst/>
                <a:cxnLst/>
                <a:rect l="l" t="t" r="r" b="b"/>
                <a:pathLst>
                  <a:path w="96441" h="112811">
                    <a:moveTo>
                      <a:pt x="51495" y="0"/>
                    </a:moveTo>
                    <a:cubicBezTo>
                      <a:pt x="62409" y="0"/>
                      <a:pt x="71587" y="2778"/>
                      <a:pt x="79028" y="8334"/>
                    </a:cubicBezTo>
                    <a:cubicBezTo>
                      <a:pt x="86469" y="13890"/>
                      <a:pt x="91654" y="21704"/>
                      <a:pt x="94581" y="31775"/>
                    </a:cubicBezTo>
                    <a:lnTo>
                      <a:pt x="80367" y="35123"/>
                    </a:lnTo>
                    <a:cubicBezTo>
                      <a:pt x="77837" y="27186"/>
                      <a:pt x="74166" y="21406"/>
                      <a:pt x="69354" y="17785"/>
                    </a:cubicBezTo>
                    <a:cubicBezTo>
                      <a:pt x="64542" y="14163"/>
                      <a:pt x="58490" y="12352"/>
                      <a:pt x="51197" y="12352"/>
                    </a:cubicBezTo>
                    <a:cubicBezTo>
                      <a:pt x="42813" y="12352"/>
                      <a:pt x="35806" y="14362"/>
                      <a:pt x="30175" y="18380"/>
                    </a:cubicBezTo>
                    <a:cubicBezTo>
                      <a:pt x="24544" y="22398"/>
                      <a:pt x="20588" y="27793"/>
                      <a:pt x="18306" y="34565"/>
                    </a:cubicBezTo>
                    <a:cubicBezTo>
                      <a:pt x="16024" y="41337"/>
                      <a:pt x="14883" y="48319"/>
                      <a:pt x="14883" y="55513"/>
                    </a:cubicBezTo>
                    <a:cubicBezTo>
                      <a:pt x="14883" y="64790"/>
                      <a:pt x="16235" y="72888"/>
                      <a:pt x="18939" y="79809"/>
                    </a:cubicBezTo>
                    <a:cubicBezTo>
                      <a:pt x="21642" y="86729"/>
                      <a:pt x="25847" y="91901"/>
                      <a:pt x="31552" y="95324"/>
                    </a:cubicBezTo>
                    <a:cubicBezTo>
                      <a:pt x="37257" y="98747"/>
                      <a:pt x="43433" y="100459"/>
                      <a:pt x="50081" y="100459"/>
                    </a:cubicBezTo>
                    <a:cubicBezTo>
                      <a:pt x="58167" y="100459"/>
                      <a:pt x="65013" y="98127"/>
                      <a:pt x="70619" y="93464"/>
                    </a:cubicBezTo>
                    <a:cubicBezTo>
                      <a:pt x="76225" y="88800"/>
                      <a:pt x="80020" y="81880"/>
                      <a:pt x="82005" y="72702"/>
                    </a:cubicBezTo>
                    <a:lnTo>
                      <a:pt x="96441" y="76349"/>
                    </a:lnTo>
                    <a:cubicBezTo>
                      <a:pt x="93415" y="88205"/>
                      <a:pt x="87970" y="97246"/>
                      <a:pt x="80107" y="103473"/>
                    </a:cubicBezTo>
                    <a:cubicBezTo>
                      <a:pt x="72244" y="109699"/>
                      <a:pt x="62632" y="112811"/>
                      <a:pt x="51272" y="112811"/>
                    </a:cubicBezTo>
                    <a:cubicBezTo>
                      <a:pt x="39514" y="112811"/>
                      <a:pt x="29952" y="110418"/>
                      <a:pt x="22585" y="105631"/>
                    </a:cubicBezTo>
                    <a:cubicBezTo>
                      <a:pt x="15218" y="100843"/>
                      <a:pt x="9612" y="93910"/>
                      <a:pt x="5767" y="84832"/>
                    </a:cubicBezTo>
                    <a:cubicBezTo>
                      <a:pt x="1923" y="75753"/>
                      <a:pt x="0" y="66005"/>
                      <a:pt x="0" y="55587"/>
                    </a:cubicBezTo>
                    <a:cubicBezTo>
                      <a:pt x="0" y="44226"/>
                      <a:pt x="2171" y="34317"/>
                      <a:pt x="6511" y="25859"/>
                    </a:cubicBezTo>
                    <a:cubicBezTo>
                      <a:pt x="10852" y="17400"/>
                      <a:pt x="17029" y="10976"/>
                      <a:pt x="25041" y="6585"/>
                    </a:cubicBezTo>
                    <a:cubicBezTo>
                      <a:pt x="33052" y="2195"/>
                      <a:pt x="41871" y="0"/>
                      <a:pt x="51495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61" name="Freihandform: Form 2960">
                <a:extLst>
                  <a:ext uri="{FF2B5EF4-FFF2-40B4-BE49-F238E27FC236}">
                    <a16:creationId xmlns:a16="http://schemas.microsoft.com/office/drawing/2014/main" id="{FB889030-1E88-D762-DB94-3BCE0E818EA9}"/>
                  </a:ext>
                </a:extLst>
              </p:cNvPr>
              <p:cNvSpPr/>
              <p:nvPr/>
            </p:nvSpPr>
            <p:spPr>
              <a:xfrm>
                <a:off x="9818132" y="4107120"/>
                <a:ext cx="86469" cy="109091"/>
              </a:xfrm>
              <a:custGeom>
                <a:avLst/>
                <a:gdLst/>
                <a:ahLst/>
                <a:cxnLst/>
                <a:rect l="l" t="t" r="r" b="b"/>
                <a:pathLst>
                  <a:path w="86469" h="109091">
                    <a:moveTo>
                      <a:pt x="0" y="0"/>
                    </a:moveTo>
                    <a:lnTo>
                      <a:pt x="86469" y="0"/>
                    </a:lnTo>
                    <a:lnTo>
                      <a:pt x="86469" y="12874"/>
                    </a:lnTo>
                    <a:lnTo>
                      <a:pt x="50378" y="12874"/>
                    </a:lnTo>
                    <a:lnTo>
                      <a:pt x="50378" y="109091"/>
                    </a:lnTo>
                    <a:lnTo>
                      <a:pt x="35942" y="109091"/>
                    </a:lnTo>
                    <a:lnTo>
                      <a:pt x="35942" y="12874"/>
                    </a:lnTo>
                    <a:lnTo>
                      <a:pt x="0" y="1287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62" name="Freihandform: Form 2961">
                <a:extLst>
                  <a:ext uri="{FF2B5EF4-FFF2-40B4-BE49-F238E27FC236}">
                    <a16:creationId xmlns:a16="http://schemas.microsoft.com/office/drawing/2014/main" id="{39BB56D4-FD69-E36C-EF52-B8A34F84A840}"/>
                  </a:ext>
                </a:extLst>
              </p:cNvPr>
              <p:cNvSpPr/>
              <p:nvPr/>
            </p:nvSpPr>
            <p:spPr>
              <a:xfrm>
                <a:off x="9534317" y="4135396"/>
                <a:ext cx="72777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2777" h="82600">
                    <a:moveTo>
                      <a:pt x="37951" y="0"/>
                    </a:moveTo>
                    <a:cubicBezTo>
                      <a:pt x="44698" y="0"/>
                      <a:pt x="50180" y="794"/>
                      <a:pt x="54396" y="2382"/>
                    </a:cubicBezTo>
                    <a:cubicBezTo>
                      <a:pt x="58613" y="3969"/>
                      <a:pt x="61714" y="5966"/>
                      <a:pt x="63698" y="8372"/>
                    </a:cubicBezTo>
                    <a:cubicBezTo>
                      <a:pt x="65682" y="10778"/>
                      <a:pt x="67072" y="13817"/>
                      <a:pt x="67865" y="17488"/>
                    </a:cubicBezTo>
                    <a:cubicBezTo>
                      <a:pt x="68312" y="19770"/>
                      <a:pt x="68535" y="23887"/>
                      <a:pt x="68535" y="29840"/>
                    </a:cubicBezTo>
                    <a:lnTo>
                      <a:pt x="68535" y="47700"/>
                    </a:lnTo>
                    <a:cubicBezTo>
                      <a:pt x="68535" y="60152"/>
                      <a:pt x="68820" y="68027"/>
                      <a:pt x="69391" y="71326"/>
                    </a:cubicBezTo>
                    <a:cubicBezTo>
                      <a:pt x="69961" y="74625"/>
                      <a:pt x="71090" y="77788"/>
                      <a:pt x="72777" y="80814"/>
                    </a:cubicBezTo>
                    <a:lnTo>
                      <a:pt x="58787" y="80814"/>
                    </a:lnTo>
                    <a:cubicBezTo>
                      <a:pt x="57398" y="78036"/>
                      <a:pt x="56505" y="74787"/>
                      <a:pt x="56108" y="71066"/>
                    </a:cubicBezTo>
                    <a:cubicBezTo>
                      <a:pt x="51147" y="75283"/>
                      <a:pt x="46372" y="78259"/>
                      <a:pt x="41783" y="79996"/>
                    </a:cubicBezTo>
                    <a:cubicBezTo>
                      <a:pt x="37194" y="81732"/>
                      <a:pt x="32271" y="82600"/>
                      <a:pt x="27012" y="82600"/>
                    </a:cubicBezTo>
                    <a:cubicBezTo>
                      <a:pt x="18330" y="82600"/>
                      <a:pt x="11658" y="80479"/>
                      <a:pt x="6995" y="76238"/>
                    </a:cubicBezTo>
                    <a:cubicBezTo>
                      <a:pt x="2331" y="71996"/>
                      <a:pt x="0" y="66576"/>
                      <a:pt x="0" y="59978"/>
                    </a:cubicBezTo>
                    <a:cubicBezTo>
                      <a:pt x="0" y="56109"/>
                      <a:pt x="880" y="52574"/>
                      <a:pt x="2641" y="49374"/>
                    </a:cubicBezTo>
                    <a:cubicBezTo>
                      <a:pt x="4402" y="46174"/>
                      <a:pt x="6709" y="43607"/>
                      <a:pt x="9562" y="41672"/>
                    </a:cubicBezTo>
                    <a:cubicBezTo>
                      <a:pt x="12414" y="39738"/>
                      <a:pt x="15627" y="38274"/>
                      <a:pt x="19198" y="37282"/>
                    </a:cubicBezTo>
                    <a:cubicBezTo>
                      <a:pt x="21828" y="36587"/>
                      <a:pt x="25797" y="35918"/>
                      <a:pt x="31105" y="35273"/>
                    </a:cubicBezTo>
                    <a:cubicBezTo>
                      <a:pt x="41920" y="33983"/>
                      <a:pt x="49882" y="32445"/>
                      <a:pt x="54992" y="30659"/>
                    </a:cubicBezTo>
                    <a:cubicBezTo>
                      <a:pt x="55041" y="28823"/>
                      <a:pt x="55066" y="27658"/>
                      <a:pt x="55066" y="27162"/>
                    </a:cubicBezTo>
                    <a:cubicBezTo>
                      <a:pt x="55066" y="21705"/>
                      <a:pt x="53801" y="17860"/>
                      <a:pt x="51271" y="15627"/>
                    </a:cubicBezTo>
                    <a:cubicBezTo>
                      <a:pt x="47848" y="12601"/>
                      <a:pt x="42763" y="11088"/>
                      <a:pt x="36016" y="11088"/>
                    </a:cubicBezTo>
                    <a:cubicBezTo>
                      <a:pt x="29716" y="11088"/>
                      <a:pt x="25065" y="12192"/>
                      <a:pt x="22063" y="14400"/>
                    </a:cubicBezTo>
                    <a:cubicBezTo>
                      <a:pt x="19062" y="16607"/>
                      <a:pt x="16842" y="20514"/>
                      <a:pt x="15403" y="26120"/>
                    </a:cubicBezTo>
                    <a:lnTo>
                      <a:pt x="2306" y="24334"/>
                    </a:lnTo>
                    <a:cubicBezTo>
                      <a:pt x="3497" y="18728"/>
                      <a:pt x="5457" y="14201"/>
                      <a:pt x="8185" y="10753"/>
                    </a:cubicBezTo>
                    <a:cubicBezTo>
                      <a:pt x="10914" y="7306"/>
                      <a:pt x="14858" y="4651"/>
                      <a:pt x="20017" y="2791"/>
                    </a:cubicBezTo>
                    <a:cubicBezTo>
                      <a:pt x="25176" y="931"/>
                      <a:pt x="31154" y="0"/>
                      <a:pt x="37951" y="0"/>
                    </a:cubicBezTo>
                    <a:close/>
                    <a:moveTo>
                      <a:pt x="54992" y="41151"/>
                    </a:moveTo>
                    <a:cubicBezTo>
                      <a:pt x="50130" y="43136"/>
                      <a:pt x="42837" y="44822"/>
                      <a:pt x="33114" y="46212"/>
                    </a:cubicBezTo>
                    <a:cubicBezTo>
                      <a:pt x="27607" y="47005"/>
                      <a:pt x="23713" y="47898"/>
                      <a:pt x="21431" y="48890"/>
                    </a:cubicBezTo>
                    <a:cubicBezTo>
                      <a:pt x="19149" y="49883"/>
                      <a:pt x="17388" y="51334"/>
                      <a:pt x="16148" y="53244"/>
                    </a:cubicBezTo>
                    <a:cubicBezTo>
                      <a:pt x="14907" y="55154"/>
                      <a:pt x="14287" y="57275"/>
                      <a:pt x="14287" y="59606"/>
                    </a:cubicBezTo>
                    <a:cubicBezTo>
                      <a:pt x="14287" y="63178"/>
                      <a:pt x="15639" y="66155"/>
                      <a:pt x="18343" y="68536"/>
                    </a:cubicBezTo>
                    <a:cubicBezTo>
                      <a:pt x="21046" y="70917"/>
                      <a:pt x="25003" y="72108"/>
                      <a:pt x="30212" y="72108"/>
                    </a:cubicBezTo>
                    <a:cubicBezTo>
                      <a:pt x="35371" y="72108"/>
                      <a:pt x="39960" y="70979"/>
                      <a:pt x="43978" y="68722"/>
                    </a:cubicBezTo>
                    <a:cubicBezTo>
                      <a:pt x="47997" y="66465"/>
                      <a:pt x="50948" y="63377"/>
                      <a:pt x="52834" y="59457"/>
                    </a:cubicBezTo>
                    <a:cubicBezTo>
                      <a:pt x="54272" y="56431"/>
                      <a:pt x="54992" y="51966"/>
                      <a:pt x="54992" y="46063"/>
                    </a:cubicBezTo>
                    <a:lnTo>
                      <a:pt x="54992" y="4115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63" name="Freihandform: Form 2962">
                <a:extLst>
                  <a:ext uri="{FF2B5EF4-FFF2-40B4-BE49-F238E27FC236}">
                    <a16:creationId xmlns:a16="http://schemas.microsoft.com/office/drawing/2014/main" id="{58188698-52FB-DCA0-B192-317C567931BE}"/>
                  </a:ext>
                </a:extLst>
              </p:cNvPr>
              <p:cNvSpPr/>
              <p:nvPr/>
            </p:nvSpPr>
            <p:spPr>
              <a:xfrm>
                <a:off x="9624580" y="4135397"/>
                <a:ext cx="68610" cy="111101"/>
              </a:xfrm>
              <a:custGeom>
                <a:avLst/>
                <a:gdLst/>
                <a:ahLst/>
                <a:cxnLst/>
                <a:rect l="l" t="t" r="r" b="b"/>
                <a:pathLst>
                  <a:path w="68610" h="111101">
                    <a:moveTo>
                      <a:pt x="35123" y="0"/>
                    </a:moveTo>
                    <a:cubicBezTo>
                      <a:pt x="41870" y="0"/>
                      <a:pt x="47823" y="1737"/>
                      <a:pt x="52983" y="5209"/>
                    </a:cubicBezTo>
                    <a:cubicBezTo>
                      <a:pt x="58142" y="8682"/>
                      <a:pt x="62036" y="13581"/>
                      <a:pt x="64666" y="19906"/>
                    </a:cubicBezTo>
                    <a:cubicBezTo>
                      <a:pt x="67295" y="26231"/>
                      <a:pt x="68610" y="33164"/>
                      <a:pt x="68610" y="40705"/>
                    </a:cubicBezTo>
                    <a:cubicBezTo>
                      <a:pt x="68610" y="48791"/>
                      <a:pt x="67159" y="56071"/>
                      <a:pt x="64256" y="62545"/>
                    </a:cubicBezTo>
                    <a:cubicBezTo>
                      <a:pt x="61354" y="69019"/>
                      <a:pt x="57138" y="73981"/>
                      <a:pt x="51606" y="77428"/>
                    </a:cubicBezTo>
                    <a:cubicBezTo>
                      <a:pt x="46075" y="80876"/>
                      <a:pt x="40258" y="82600"/>
                      <a:pt x="34156" y="82600"/>
                    </a:cubicBezTo>
                    <a:cubicBezTo>
                      <a:pt x="29691" y="82600"/>
                      <a:pt x="25685" y="81657"/>
                      <a:pt x="22138" y="79772"/>
                    </a:cubicBezTo>
                    <a:cubicBezTo>
                      <a:pt x="18591" y="77887"/>
                      <a:pt x="15676" y="75506"/>
                      <a:pt x="13394" y="72629"/>
                    </a:cubicBezTo>
                    <a:lnTo>
                      <a:pt x="13394" y="111101"/>
                    </a:lnTo>
                    <a:lnTo>
                      <a:pt x="0" y="111101"/>
                    </a:lnTo>
                    <a:lnTo>
                      <a:pt x="0" y="1786"/>
                    </a:lnTo>
                    <a:lnTo>
                      <a:pt x="12204" y="1786"/>
                    </a:lnTo>
                    <a:lnTo>
                      <a:pt x="12204" y="12056"/>
                    </a:lnTo>
                    <a:cubicBezTo>
                      <a:pt x="15081" y="8037"/>
                      <a:pt x="18331" y="5023"/>
                      <a:pt x="21952" y="3014"/>
                    </a:cubicBezTo>
                    <a:cubicBezTo>
                      <a:pt x="25574" y="1005"/>
                      <a:pt x="29964" y="0"/>
                      <a:pt x="35123" y="0"/>
                    </a:cubicBezTo>
                    <a:close/>
                    <a:moveTo>
                      <a:pt x="33858" y="10493"/>
                    </a:moveTo>
                    <a:cubicBezTo>
                      <a:pt x="28153" y="10493"/>
                      <a:pt x="23105" y="13159"/>
                      <a:pt x="18715" y="18492"/>
                    </a:cubicBezTo>
                    <a:cubicBezTo>
                      <a:pt x="14325" y="23825"/>
                      <a:pt x="12129" y="31577"/>
                      <a:pt x="12129" y="41747"/>
                    </a:cubicBezTo>
                    <a:cubicBezTo>
                      <a:pt x="12129" y="51917"/>
                      <a:pt x="14188" y="59433"/>
                      <a:pt x="18306" y="64294"/>
                    </a:cubicBezTo>
                    <a:cubicBezTo>
                      <a:pt x="22423" y="69156"/>
                      <a:pt x="27409" y="71587"/>
                      <a:pt x="33263" y="71587"/>
                    </a:cubicBezTo>
                    <a:cubicBezTo>
                      <a:pt x="39216" y="71587"/>
                      <a:pt x="44313" y="69069"/>
                      <a:pt x="48555" y="64034"/>
                    </a:cubicBezTo>
                    <a:cubicBezTo>
                      <a:pt x="52797" y="58998"/>
                      <a:pt x="54917" y="51197"/>
                      <a:pt x="54917" y="40631"/>
                    </a:cubicBezTo>
                    <a:cubicBezTo>
                      <a:pt x="54917" y="30560"/>
                      <a:pt x="52846" y="23019"/>
                      <a:pt x="48704" y="18009"/>
                    </a:cubicBezTo>
                    <a:cubicBezTo>
                      <a:pt x="44562" y="12998"/>
                      <a:pt x="39613" y="10493"/>
                      <a:pt x="33858" y="1049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64" name="Freihandform: Form 2963">
                <a:extLst>
                  <a:ext uri="{FF2B5EF4-FFF2-40B4-BE49-F238E27FC236}">
                    <a16:creationId xmlns:a16="http://schemas.microsoft.com/office/drawing/2014/main" id="{CF772DE2-2BDB-BF6C-86FC-456086940C6E}"/>
                  </a:ext>
                </a:extLst>
              </p:cNvPr>
              <p:cNvSpPr/>
              <p:nvPr/>
            </p:nvSpPr>
            <p:spPr>
              <a:xfrm>
                <a:off x="9705841" y="4135396"/>
                <a:ext cx="72851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2851" h="82600">
                    <a:moveTo>
                      <a:pt x="36909" y="0"/>
                    </a:moveTo>
                    <a:cubicBezTo>
                      <a:pt x="47476" y="0"/>
                      <a:pt x="56108" y="3597"/>
                      <a:pt x="62806" y="10790"/>
                    </a:cubicBezTo>
                    <a:cubicBezTo>
                      <a:pt x="69503" y="17984"/>
                      <a:pt x="72851" y="28104"/>
                      <a:pt x="72851" y="41151"/>
                    </a:cubicBezTo>
                    <a:cubicBezTo>
                      <a:pt x="72851" y="41945"/>
                      <a:pt x="72827" y="43136"/>
                      <a:pt x="72777" y="44723"/>
                    </a:cubicBezTo>
                    <a:lnTo>
                      <a:pt x="13841" y="44723"/>
                    </a:lnTo>
                    <a:cubicBezTo>
                      <a:pt x="14337" y="53405"/>
                      <a:pt x="16793" y="60053"/>
                      <a:pt x="21208" y="64666"/>
                    </a:cubicBezTo>
                    <a:cubicBezTo>
                      <a:pt x="25623" y="69280"/>
                      <a:pt x="31130" y="71587"/>
                      <a:pt x="37728" y="71587"/>
                    </a:cubicBezTo>
                    <a:cubicBezTo>
                      <a:pt x="42639" y="71587"/>
                      <a:pt x="46831" y="70297"/>
                      <a:pt x="50304" y="67717"/>
                    </a:cubicBezTo>
                    <a:cubicBezTo>
                      <a:pt x="53777" y="65137"/>
                      <a:pt x="56530" y="61020"/>
                      <a:pt x="58564" y="55365"/>
                    </a:cubicBezTo>
                    <a:lnTo>
                      <a:pt x="72405" y="57076"/>
                    </a:lnTo>
                    <a:cubicBezTo>
                      <a:pt x="70222" y="65162"/>
                      <a:pt x="66179" y="71438"/>
                      <a:pt x="60275" y="75903"/>
                    </a:cubicBezTo>
                    <a:cubicBezTo>
                      <a:pt x="54372" y="80368"/>
                      <a:pt x="46831" y="82600"/>
                      <a:pt x="37654" y="82600"/>
                    </a:cubicBezTo>
                    <a:cubicBezTo>
                      <a:pt x="26095" y="82600"/>
                      <a:pt x="16929" y="79041"/>
                      <a:pt x="10158" y="71922"/>
                    </a:cubicBezTo>
                    <a:cubicBezTo>
                      <a:pt x="3386" y="64803"/>
                      <a:pt x="0" y="54819"/>
                      <a:pt x="0" y="41970"/>
                    </a:cubicBezTo>
                    <a:cubicBezTo>
                      <a:pt x="0" y="28675"/>
                      <a:pt x="3423" y="18356"/>
                      <a:pt x="10269" y="11014"/>
                    </a:cubicBezTo>
                    <a:cubicBezTo>
                      <a:pt x="17115" y="3671"/>
                      <a:pt x="25995" y="0"/>
                      <a:pt x="36909" y="0"/>
                    </a:cubicBezTo>
                    <a:close/>
                    <a:moveTo>
                      <a:pt x="37058" y="11014"/>
                    </a:moveTo>
                    <a:cubicBezTo>
                      <a:pt x="30907" y="11014"/>
                      <a:pt x="25735" y="13073"/>
                      <a:pt x="21543" y="17190"/>
                    </a:cubicBezTo>
                    <a:cubicBezTo>
                      <a:pt x="17351" y="21308"/>
                      <a:pt x="15032" y="26814"/>
                      <a:pt x="14585" y="33710"/>
                    </a:cubicBezTo>
                    <a:lnTo>
                      <a:pt x="58713" y="33710"/>
                    </a:lnTo>
                    <a:cubicBezTo>
                      <a:pt x="58117" y="27062"/>
                      <a:pt x="56431" y="22077"/>
                      <a:pt x="53653" y="18753"/>
                    </a:cubicBezTo>
                    <a:cubicBezTo>
                      <a:pt x="49386" y="13594"/>
                      <a:pt x="43855" y="11014"/>
                      <a:pt x="37058" y="1101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65" name="Freihandform: Form 2964">
                <a:extLst>
                  <a:ext uri="{FF2B5EF4-FFF2-40B4-BE49-F238E27FC236}">
                    <a16:creationId xmlns:a16="http://schemas.microsoft.com/office/drawing/2014/main" id="{CF675088-A46C-4D20-995D-E8A003270496}"/>
                  </a:ext>
                </a:extLst>
              </p:cNvPr>
              <p:cNvSpPr/>
              <p:nvPr/>
            </p:nvSpPr>
            <p:spPr>
              <a:xfrm>
                <a:off x="9886294" y="4135396"/>
                <a:ext cx="74042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4042" h="82600">
                    <a:moveTo>
                      <a:pt x="37058" y="0"/>
                    </a:moveTo>
                    <a:cubicBezTo>
                      <a:pt x="47923" y="0"/>
                      <a:pt x="56803" y="3560"/>
                      <a:pt x="63699" y="10679"/>
                    </a:cubicBezTo>
                    <a:cubicBezTo>
                      <a:pt x="70594" y="17798"/>
                      <a:pt x="74042" y="27633"/>
                      <a:pt x="74042" y="40184"/>
                    </a:cubicBezTo>
                    <a:cubicBezTo>
                      <a:pt x="74042" y="50354"/>
                      <a:pt x="72517" y="58354"/>
                      <a:pt x="69466" y="64183"/>
                    </a:cubicBezTo>
                    <a:cubicBezTo>
                      <a:pt x="66415" y="70012"/>
                      <a:pt x="61975" y="74539"/>
                      <a:pt x="56146" y="77763"/>
                    </a:cubicBezTo>
                    <a:cubicBezTo>
                      <a:pt x="50316" y="80988"/>
                      <a:pt x="43954" y="82600"/>
                      <a:pt x="37058" y="82600"/>
                    </a:cubicBezTo>
                    <a:cubicBezTo>
                      <a:pt x="25995" y="82600"/>
                      <a:pt x="17053" y="79053"/>
                      <a:pt x="10232" y="71959"/>
                    </a:cubicBezTo>
                    <a:cubicBezTo>
                      <a:pt x="3411" y="64865"/>
                      <a:pt x="0" y="54645"/>
                      <a:pt x="0" y="41300"/>
                    </a:cubicBezTo>
                    <a:cubicBezTo>
                      <a:pt x="0" y="26665"/>
                      <a:pt x="4068" y="15826"/>
                      <a:pt x="12204" y="8781"/>
                    </a:cubicBezTo>
                    <a:cubicBezTo>
                      <a:pt x="19001" y="2927"/>
                      <a:pt x="27285" y="0"/>
                      <a:pt x="37058" y="0"/>
                    </a:cubicBezTo>
                    <a:close/>
                    <a:moveTo>
                      <a:pt x="37058" y="11088"/>
                    </a:moveTo>
                    <a:cubicBezTo>
                      <a:pt x="30361" y="11088"/>
                      <a:pt x="24805" y="13594"/>
                      <a:pt x="20390" y="18604"/>
                    </a:cubicBezTo>
                    <a:cubicBezTo>
                      <a:pt x="15974" y="23614"/>
                      <a:pt x="13767" y="31180"/>
                      <a:pt x="13767" y="41300"/>
                    </a:cubicBezTo>
                    <a:cubicBezTo>
                      <a:pt x="13767" y="51421"/>
                      <a:pt x="15974" y="58998"/>
                      <a:pt x="20390" y="64034"/>
                    </a:cubicBezTo>
                    <a:cubicBezTo>
                      <a:pt x="24805" y="69069"/>
                      <a:pt x="30361" y="71587"/>
                      <a:pt x="37058" y="71587"/>
                    </a:cubicBezTo>
                    <a:cubicBezTo>
                      <a:pt x="43706" y="71587"/>
                      <a:pt x="49237" y="69057"/>
                      <a:pt x="53653" y="63997"/>
                    </a:cubicBezTo>
                    <a:cubicBezTo>
                      <a:pt x="58068" y="58936"/>
                      <a:pt x="60276" y="51222"/>
                      <a:pt x="60276" y="40854"/>
                    </a:cubicBezTo>
                    <a:cubicBezTo>
                      <a:pt x="60276" y="31081"/>
                      <a:pt x="58056" y="23677"/>
                      <a:pt x="53616" y="18641"/>
                    </a:cubicBezTo>
                    <a:cubicBezTo>
                      <a:pt x="49175" y="13606"/>
                      <a:pt x="43656" y="11088"/>
                      <a:pt x="37058" y="11088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66" name="Freihandform: Form 2965">
                <a:extLst>
                  <a:ext uri="{FF2B5EF4-FFF2-40B4-BE49-F238E27FC236}">
                    <a16:creationId xmlns:a16="http://schemas.microsoft.com/office/drawing/2014/main" id="{CFA3F2D6-9A38-8AEB-25EB-860A9A23C644}"/>
                  </a:ext>
                </a:extLst>
              </p:cNvPr>
              <p:cNvSpPr/>
              <p:nvPr/>
            </p:nvSpPr>
            <p:spPr>
              <a:xfrm>
                <a:off x="10081781" y="4135396"/>
                <a:ext cx="64219" cy="80814"/>
              </a:xfrm>
              <a:custGeom>
                <a:avLst/>
                <a:gdLst/>
                <a:ahLst/>
                <a:cxnLst/>
                <a:rect l="l" t="t" r="r" b="b"/>
                <a:pathLst>
                  <a:path w="64219" h="80814">
                    <a:moveTo>
                      <a:pt x="37207" y="0"/>
                    </a:moveTo>
                    <a:cubicBezTo>
                      <a:pt x="41969" y="0"/>
                      <a:pt x="46347" y="856"/>
                      <a:pt x="50341" y="2568"/>
                    </a:cubicBezTo>
                    <a:cubicBezTo>
                      <a:pt x="54335" y="4279"/>
                      <a:pt x="57324" y="6524"/>
                      <a:pt x="59308" y="9302"/>
                    </a:cubicBezTo>
                    <a:cubicBezTo>
                      <a:pt x="61292" y="12080"/>
                      <a:pt x="62681" y="15379"/>
                      <a:pt x="63475" y="19199"/>
                    </a:cubicBezTo>
                    <a:cubicBezTo>
                      <a:pt x="63971" y="21680"/>
                      <a:pt x="64219" y="26021"/>
                      <a:pt x="64219" y="32222"/>
                    </a:cubicBezTo>
                    <a:lnTo>
                      <a:pt x="64219" y="80814"/>
                    </a:lnTo>
                    <a:lnTo>
                      <a:pt x="50825" y="80814"/>
                    </a:lnTo>
                    <a:lnTo>
                      <a:pt x="50825" y="32743"/>
                    </a:lnTo>
                    <a:cubicBezTo>
                      <a:pt x="50825" y="27286"/>
                      <a:pt x="50304" y="23205"/>
                      <a:pt x="49262" y="20502"/>
                    </a:cubicBezTo>
                    <a:cubicBezTo>
                      <a:pt x="48220" y="17798"/>
                      <a:pt x="46372" y="15640"/>
                      <a:pt x="43718" y="14028"/>
                    </a:cubicBezTo>
                    <a:cubicBezTo>
                      <a:pt x="41064" y="12415"/>
                      <a:pt x="37951" y="11609"/>
                      <a:pt x="34379" y="11609"/>
                    </a:cubicBezTo>
                    <a:cubicBezTo>
                      <a:pt x="28674" y="11609"/>
                      <a:pt x="23750" y="13420"/>
                      <a:pt x="19608" y="17041"/>
                    </a:cubicBezTo>
                    <a:cubicBezTo>
                      <a:pt x="15466" y="20663"/>
                      <a:pt x="13394" y="27534"/>
                      <a:pt x="13394" y="37654"/>
                    </a:cubicBezTo>
                    <a:lnTo>
                      <a:pt x="13394" y="80814"/>
                    </a:lnTo>
                    <a:lnTo>
                      <a:pt x="0" y="80814"/>
                    </a:lnTo>
                    <a:lnTo>
                      <a:pt x="0" y="1786"/>
                    </a:lnTo>
                    <a:lnTo>
                      <a:pt x="12055" y="1786"/>
                    </a:lnTo>
                    <a:lnTo>
                      <a:pt x="12055" y="13023"/>
                    </a:lnTo>
                    <a:cubicBezTo>
                      <a:pt x="17859" y="4341"/>
                      <a:pt x="26243" y="0"/>
                      <a:pt x="3720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67" name="Freihandform: Form 2966">
                <a:extLst>
                  <a:ext uri="{FF2B5EF4-FFF2-40B4-BE49-F238E27FC236}">
                    <a16:creationId xmlns:a16="http://schemas.microsoft.com/office/drawing/2014/main" id="{CB3A8922-33B3-DC65-1EE4-C17F7F9727B3}"/>
                  </a:ext>
                </a:extLst>
              </p:cNvPr>
              <p:cNvSpPr/>
              <p:nvPr/>
            </p:nvSpPr>
            <p:spPr>
              <a:xfrm>
                <a:off x="9967407" y="4137182"/>
                <a:ext cx="108421" cy="79028"/>
              </a:xfrm>
              <a:custGeom>
                <a:avLst/>
                <a:gdLst/>
                <a:ahLst/>
                <a:cxnLst/>
                <a:rect l="l" t="t" r="r" b="b"/>
                <a:pathLst>
                  <a:path w="108421" h="79028">
                    <a:moveTo>
                      <a:pt x="0" y="0"/>
                    </a:moveTo>
                    <a:lnTo>
                      <a:pt x="13840" y="0"/>
                    </a:lnTo>
                    <a:lnTo>
                      <a:pt x="26416" y="45616"/>
                    </a:lnTo>
                    <a:lnTo>
                      <a:pt x="31105" y="62583"/>
                    </a:lnTo>
                    <a:cubicBezTo>
                      <a:pt x="31303" y="61739"/>
                      <a:pt x="32667" y="56307"/>
                      <a:pt x="35197" y="46286"/>
                    </a:cubicBezTo>
                    <a:lnTo>
                      <a:pt x="47773" y="0"/>
                    </a:lnTo>
                    <a:lnTo>
                      <a:pt x="61540" y="0"/>
                    </a:lnTo>
                    <a:lnTo>
                      <a:pt x="73372" y="45839"/>
                    </a:lnTo>
                    <a:lnTo>
                      <a:pt x="77316" y="60946"/>
                    </a:lnTo>
                    <a:lnTo>
                      <a:pt x="81855" y="45691"/>
                    </a:lnTo>
                    <a:lnTo>
                      <a:pt x="95398" y="0"/>
                    </a:lnTo>
                    <a:lnTo>
                      <a:pt x="108421" y="0"/>
                    </a:lnTo>
                    <a:lnTo>
                      <a:pt x="83715" y="79028"/>
                    </a:lnTo>
                    <a:lnTo>
                      <a:pt x="69800" y="79028"/>
                    </a:lnTo>
                    <a:lnTo>
                      <a:pt x="57224" y="31701"/>
                    </a:lnTo>
                    <a:lnTo>
                      <a:pt x="54173" y="18232"/>
                    </a:lnTo>
                    <a:lnTo>
                      <a:pt x="38174" y="79028"/>
                    </a:lnTo>
                    <a:lnTo>
                      <a:pt x="24184" y="7902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895" name="Gruppieren 2894">
              <a:extLst>
                <a:ext uri="{FF2B5EF4-FFF2-40B4-BE49-F238E27FC236}">
                  <a16:creationId xmlns:a16="http://schemas.microsoft.com/office/drawing/2014/main" id="{BC86A992-09E2-6593-6632-47F62A5CCCE1}"/>
                </a:ext>
              </a:extLst>
            </p:cNvPr>
            <p:cNvGrpSpPr/>
            <p:nvPr/>
          </p:nvGrpSpPr>
          <p:grpSpPr>
            <a:xfrm>
              <a:off x="6208044" y="2657204"/>
              <a:ext cx="169281" cy="37200"/>
              <a:chOff x="9418082" y="3667110"/>
              <a:chExt cx="513010" cy="112736"/>
            </a:xfrm>
          </p:grpSpPr>
          <p:sp>
            <p:nvSpPr>
              <p:cNvPr id="2951" name="Freihandform: Form 2950">
                <a:extLst>
                  <a:ext uri="{FF2B5EF4-FFF2-40B4-BE49-F238E27FC236}">
                    <a16:creationId xmlns:a16="http://schemas.microsoft.com/office/drawing/2014/main" id="{B5712027-E518-63E0-8B4A-3A2A6EC578EB}"/>
                  </a:ext>
                </a:extLst>
              </p:cNvPr>
              <p:cNvSpPr/>
              <p:nvPr/>
            </p:nvSpPr>
            <p:spPr>
              <a:xfrm>
                <a:off x="9815974" y="3667110"/>
                <a:ext cx="46211" cy="110951"/>
              </a:xfrm>
              <a:custGeom>
                <a:avLst/>
                <a:gdLst/>
                <a:ahLst/>
                <a:cxnLst/>
                <a:rect l="l" t="t" r="r" b="b"/>
                <a:pathLst>
                  <a:path w="46211" h="110951">
                    <a:moveTo>
                      <a:pt x="33709" y="0"/>
                    </a:moveTo>
                    <a:cubicBezTo>
                      <a:pt x="37480" y="0"/>
                      <a:pt x="41647" y="446"/>
                      <a:pt x="46211" y="1339"/>
                    </a:cubicBezTo>
                    <a:lnTo>
                      <a:pt x="44202" y="13022"/>
                    </a:lnTo>
                    <a:cubicBezTo>
                      <a:pt x="41424" y="12526"/>
                      <a:pt x="38794" y="12278"/>
                      <a:pt x="36314" y="12278"/>
                    </a:cubicBezTo>
                    <a:cubicBezTo>
                      <a:pt x="32246" y="12278"/>
                      <a:pt x="29369" y="13146"/>
                      <a:pt x="27682" y="14883"/>
                    </a:cubicBezTo>
                    <a:cubicBezTo>
                      <a:pt x="25995" y="16619"/>
                      <a:pt x="25152" y="19868"/>
                      <a:pt x="25152" y="24631"/>
                    </a:cubicBezTo>
                    <a:lnTo>
                      <a:pt x="25152" y="31923"/>
                    </a:lnTo>
                    <a:lnTo>
                      <a:pt x="40556" y="31923"/>
                    </a:lnTo>
                    <a:lnTo>
                      <a:pt x="40556" y="42341"/>
                    </a:lnTo>
                    <a:lnTo>
                      <a:pt x="25152" y="42341"/>
                    </a:lnTo>
                    <a:lnTo>
                      <a:pt x="25152" y="110951"/>
                    </a:lnTo>
                    <a:lnTo>
                      <a:pt x="11832" y="110951"/>
                    </a:lnTo>
                    <a:lnTo>
                      <a:pt x="11832" y="42341"/>
                    </a:lnTo>
                    <a:lnTo>
                      <a:pt x="0" y="42341"/>
                    </a:lnTo>
                    <a:lnTo>
                      <a:pt x="0" y="31923"/>
                    </a:lnTo>
                    <a:lnTo>
                      <a:pt x="11832" y="31923"/>
                    </a:lnTo>
                    <a:lnTo>
                      <a:pt x="11832" y="23515"/>
                    </a:lnTo>
                    <a:cubicBezTo>
                      <a:pt x="11832" y="18206"/>
                      <a:pt x="12303" y="14263"/>
                      <a:pt x="13246" y="11683"/>
                    </a:cubicBezTo>
                    <a:cubicBezTo>
                      <a:pt x="14535" y="8210"/>
                      <a:pt x="16805" y="5395"/>
                      <a:pt x="20054" y="3237"/>
                    </a:cubicBezTo>
                    <a:cubicBezTo>
                      <a:pt x="23304" y="1079"/>
                      <a:pt x="27856" y="0"/>
                      <a:pt x="33709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52" name="Freihandform: Form 2951">
                <a:extLst>
                  <a:ext uri="{FF2B5EF4-FFF2-40B4-BE49-F238E27FC236}">
                    <a16:creationId xmlns:a16="http://schemas.microsoft.com/office/drawing/2014/main" id="{C2C2F350-9660-DA30-8981-AAD107C196D0}"/>
                  </a:ext>
                </a:extLst>
              </p:cNvPr>
              <p:cNvSpPr/>
              <p:nvPr/>
            </p:nvSpPr>
            <p:spPr>
              <a:xfrm>
                <a:off x="9418082" y="3668970"/>
                <a:ext cx="86469" cy="109091"/>
              </a:xfrm>
              <a:custGeom>
                <a:avLst/>
                <a:gdLst/>
                <a:ahLst/>
                <a:cxnLst/>
                <a:rect l="l" t="t" r="r" b="b"/>
                <a:pathLst>
                  <a:path w="86469" h="109091">
                    <a:moveTo>
                      <a:pt x="0" y="0"/>
                    </a:moveTo>
                    <a:lnTo>
                      <a:pt x="86469" y="0"/>
                    </a:lnTo>
                    <a:lnTo>
                      <a:pt x="86469" y="12874"/>
                    </a:lnTo>
                    <a:lnTo>
                      <a:pt x="50378" y="12874"/>
                    </a:lnTo>
                    <a:lnTo>
                      <a:pt x="50378" y="109091"/>
                    </a:lnTo>
                    <a:lnTo>
                      <a:pt x="35942" y="109091"/>
                    </a:lnTo>
                    <a:lnTo>
                      <a:pt x="35942" y="12874"/>
                    </a:lnTo>
                    <a:lnTo>
                      <a:pt x="0" y="1287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53" name="Freihandform: Form 2952">
                <a:extLst>
                  <a:ext uri="{FF2B5EF4-FFF2-40B4-BE49-F238E27FC236}">
                    <a16:creationId xmlns:a16="http://schemas.microsoft.com/office/drawing/2014/main" id="{91BEC009-381B-F06B-06C2-6C4DAD28129E}"/>
                  </a:ext>
                </a:extLst>
              </p:cNvPr>
              <p:cNvSpPr/>
              <p:nvPr/>
            </p:nvSpPr>
            <p:spPr>
              <a:xfrm>
                <a:off x="9786580" y="3668969"/>
                <a:ext cx="13395" cy="15404"/>
              </a:xfrm>
              <a:custGeom>
                <a:avLst/>
                <a:gdLst/>
                <a:ahLst/>
                <a:cxnLst/>
                <a:rect l="l" t="t" r="r" b="b"/>
                <a:pathLst>
                  <a:path w="13395" h="15404">
                    <a:moveTo>
                      <a:pt x="0" y="0"/>
                    </a:moveTo>
                    <a:lnTo>
                      <a:pt x="13395" y="0"/>
                    </a:lnTo>
                    <a:lnTo>
                      <a:pt x="13395" y="15404"/>
                    </a:lnTo>
                    <a:lnTo>
                      <a:pt x="0" y="1540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54" name="Freihandform: Form 2953">
                <a:extLst>
                  <a:ext uri="{FF2B5EF4-FFF2-40B4-BE49-F238E27FC236}">
                    <a16:creationId xmlns:a16="http://schemas.microsoft.com/office/drawing/2014/main" id="{D7EB60C7-5923-DB3B-8AAF-BFBDEE1A32DE}"/>
                  </a:ext>
                </a:extLst>
              </p:cNvPr>
              <p:cNvSpPr/>
              <p:nvPr/>
            </p:nvSpPr>
            <p:spPr>
              <a:xfrm>
                <a:off x="9486766" y="3697246"/>
                <a:ext cx="72851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2851" h="82600">
                    <a:moveTo>
                      <a:pt x="36909" y="0"/>
                    </a:moveTo>
                    <a:cubicBezTo>
                      <a:pt x="47476" y="0"/>
                      <a:pt x="56108" y="3597"/>
                      <a:pt x="62806" y="10790"/>
                    </a:cubicBezTo>
                    <a:cubicBezTo>
                      <a:pt x="69503" y="17984"/>
                      <a:pt x="72851" y="28104"/>
                      <a:pt x="72851" y="41151"/>
                    </a:cubicBezTo>
                    <a:cubicBezTo>
                      <a:pt x="72851" y="41945"/>
                      <a:pt x="72827" y="43136"/>
                      <a:pt x="72777" y="44723"/>
                    </a:cubicBezTo>
                    <a:lnTo>
                      <a:pt x="13841" y="44723"/>
                    </a:lnTo>
                    <a:cubicBezTo>
                      <a:pt x="14337" y="53405"/>
                      <a:pt x="16793" y="60053"/>
                      <a:pt x="21208" y="64666"/>
                    </a:cubicBezTo>
                    <a:cubicBezTo>
                      <a:pt x="25623" y="69280"/>
                      <a:pt x="31130" y="71587"/>
                      <a:pt x="37728" y="71587"/>
                    </a:cubicBezTo>
                    <a:cubicBezTo>
                      <a:pt x="42639" y="71587"/>
                      <a:pt x="46831" y="70297"/>
                      <a:pt x="50304" y="67717"/>
                    </a:cubicBezTo>
                    <a:cubicBezTo>
                      <a:pt x="53777" y="65137"/>
                      <a:pt x="56530" y="61020"/>
                      <a:pt x="58564" y="55365"/>
                    </a:cubicBezTo>
                    <a:lnTo>
                      <a:pt x="72405" y="57076"/>
                    </a:lnTo>
                    <a:cubicBezTo>
                      <a:pt x="70222" y="65162"/>
                      <a:pt x="66179" y="71438"/>
                      <a:pt x="60275" y="75903"/>
                    </a:cubicBezTo>
                    <a:cubicBezTo>
                      <a:pt x="54372" y="80368"/>
                      <a:pt x="46831" y="82600"/>
                      <a:pt x="37654" y="82600"/>
                    </a:cubicBezTo>
                    <a:cubicBezTo>
                      <a:pt x="26095" y="82600"/>
                      <a:pt x="16929" y="79041"/>
                      <a:pt x="10158" y="71922"/>
                    </a:cubicBezTo>
                    <a:cubicBezTo>
                      <a:pt x="3386" y="64803"/>
                      <a:pt x="0" y="54819"/>
                      <a:pt x="0" y="41970"/>
                    </a:cubicBezTo>
                    <a:cubicBezTo>
                      <a:pt x="0" y="28675"/>
                      <a:pt x="3423" y="18356"/>
                      <a:pt x="10269" y="11014"/>
                    </a:cubicBezTo>
                    <a:cubicBezTo>
                      <a:pt x="17115" y="3671"/>
                      <a:pt x="25995" y="0"/>
                      <a:pt x="36909" y="0"/>
                    </a:cubicBezTo>
                    <a:close/>
                    <a:moveTo>
                      <a:pt x="37058" y="11014"/>
                    </a:moveTo>
                    <a:cubicBezTo>
                      <a:pt x="30907" y="11014"/>
                      <a:pt x="25735" y="13073"/>
                      <a:pt x="21543" y="17190"/>
                    </a:cubicBezTo>
                    <a:cubicBezTo>
                      <a:pt x="17351" y="21308"/>
                      <a:pt x="15032" y="26814"/>
                      <a:pt x="14585" y="33710"/>
                    </a:cubicBezTo>
                    <a:lnTo>
                      <a:pt x="58713" y="33710"/>
                    </a:lnTo>
                    <a:cubicBezTo>
                      <a:pt x="58117" y="27062"/>
                      <a:pt x="56431" y="22077"/>
                      <a:pt x="53653" y="18753"/>
                    </a:cubicBezTo>
                    <a:cubicBezTo>
                      <a:pt x="49386" y="13594"/>
                      <a:pt x="43855" y="11014"/>
                      <a:pt x="37058" y="1101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55" name="Freihandform: Form 2954">
                <a:extLst>
                  <a:ext uri="{FF2B5EF4-FFF2-40B4-BE49-F238E27FC236}">
                    <a16:creationId xmlns:a16="http://schemas.microsoft.com/office/drawing/2014/main" id="{BF073EC4-9170-52F3-D7F3-6A48CA8CCFF3}"/>
                  </a:ext>
                </a:extLst>
              </p:cNvPr>
              <p:cNvSpPr/>
              <p:nvPr/>
            </p:nvSpPr>
            <p:spPr>
              <a:xfrm>
                <a:off x="9576956" y="3697246"/>
                <a:ext cx="64219" cy="80814"/>
              </a:xfrm>
              <a:custGeom>
                <a:avLst/>
                <a:gdLst/>
                <a:ahLst/>
                <a:cxnLst/>
                <a:rect l="l" t="t" r="r" b="b"/>
                <a:pathLst>
                  <a:path w="64219" h="80814">
                    <a:moveTo>
                      <a:pt x="37207" y="0"/>
                    </a:moveTo>
                    <a:cubicBezTo>
                      <a:pt x="41969" y="0"/>
                      <a:pt x="46347" y="856"/>
                      <a:pt x="50341" y="2568"/>
                    </a:cubicBezTo>
                    <a:cubicBezTo>
                      <a:pt x="54335" y="4279"/>
                      <a:pt x="57324" y="6524"/>
                      <a:pt x="59308" y="9302"/>
                    </a:cubicBezTo>
                    <a:cubicBezTo>
                      <a:pt x="61292" y="12080"/>
                      <a:pt x="62681" y="15379"/>
                      <a:pt x="63475" y="19199"/>
                    </a:cubicBezTo>
                    <a:cubicBezTo>
                      <a:pt x="63971" y="21680"/>
                      <a:pt x="64219" y="26021"/>
                      <a:pt x="64219" y="32222"/>
                    </a:cubicBezTo>
                    <a:lnTo>
                      <a:pt x="64219" y="80814"/>
                    </a:lnTo>
                    <a:lnTo>
                      <a:pt x="50825" y="80814"/>
                    </a:lnTo>
                    <a:lnTo>
                      <a:pt x="50825" y="32743"/>
                    </a:lnTo>
                    <a:cubicBezTo>
                      <a:pt x="50825" y="27286"/>
                      <a:pt x="50304" y="23205"/>
                      <a:pt x="49262" y="20502"/>
                    </a:cubicBezTo>
                    <a:cubicBezTo>
                      <a:pt x="48220" y="17798"/>
                      <a:pt x="46372" y="15640"/>
                      <a:pt x="43718" y="14028"/>
                    </a:cubicBezTo>
                    <a:cubicBezTo>
                      <a:pt x="41064" y="12415"/>
                      <a:pt x="37951" y="11609"/>
                      <a:pt x="34379" y="11609"/>
                    </a:cubicBezTo>
                    <a:cubicBezTo>
                      <a:pt x="28674" y="11609"/>
                      <a:pt x="23750" y="13420"/>
                      <a:pt x="19608" y="17041"/>
                    </a:cubicBezTo>
                    <a:cubicBezTo>
                      <a:pt x="15466" y="20663"/>
                      <a:pt x="13394" y="27534"/>
                      <a:pt x="13394" y="37654"/>
                    </a:cubicBezTo>
                    <a:lnTo>
                      <a:pt x="13394" y="80814"/>
                    </a:lnTo>
                    <a:lnTo>
                      <a:pt x="0" y="80814"/>
                    </a:lnTo>
                    <a:lnTo>
                      <a:pt x="0" y="1786"/>
                    </a:lnTo>
                    <a:lnTo>
                      <a:pt x="12055" y="1786"/>
                    </a:lnTo>
                    <a:lnTo>
                      <a:pt x="12055" y="13023"/>
                    </a:lnTo>
                    <a:cubicBezTo>
                      <a:pt x="17859" y="4341"/>
                      <a:pt x="26243" y="0"/>
                      <a:pt x="3720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56" name="Freihandform: Form 2955">
                <a:extLst>
                  <a:ext uri="{FF2B5EF4-FFF2-40B4-BE49-F238E27FC236}">
                    <a16:creationId xmlns:a16="http://schemas.microsoft.com/office/drawing/2014/main" id="{7C11FD7C-B686-AAB1-09D2-AFD161E20132}"/>
                  </a:ext>
                </a:extLst>
              </p:cNvPr>
              <p:cNvSpPr/>
              <p:nvPr/>
            </p:nvSpPr>
            <p:spPr>
              <a:xfrm>
                <a:off x="9648691" y="3697246"/>
                <a:ext cx="72851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2851" h="82600">
                    <a:moveTo>
                      <a:pt x="36909" y="0"/>
                    </a:moveTo>
                    <a:cubicBezTo>
                      <a:pt x="47476" y="0"/>
                      <a:pt x="56108" y="3597"/>
                      <a:pt x="62806" y="10790"/>
                    </a:cubicBezTo>
                    <a:cubicBezTo>
                      <a:pt x="69503" y="17984"/>
                      <a:pt x="72851" y="28104"/>
                      <a:pt x="72851" y="41151"/>
                    </a:cubicBezTo>
                    <a:cubicBezTo>
                      <a:pt x="72851" y="41945"/>
                      <a:pt x="72827" y="43136"/>
                      <a:pt x="72777" y="44723"/>
                    </a:cubicBezTo>
                    <a:lnTo>
                      <a:pt x="13841" y="44723"/>
                    </a:lnTo>
                    <a:cubicBezTo>
                      <a:pt x="14337" y="53405"/>
                      <a:pt x="16793" y="60053"/>
                      <a:pt x="21208" y="64666"/>
                    </a:cubicBezTo>
                    <a:cubicBezTo>
                      <a:pt x="25623" y="69280"/>
                      <a:pt x="31130" y="71587"/>
                      <a:pt x="37728" y="71587"/>
                    </a:cubicBezTo>
                    <a:cubicBezTo>
                      <a:pt x="42639" y="71587"/>
                      <a:pt x="46831" y="70297"/>
                      <a:pt x="50304" y="67717"/>
                    </a:cubicBezTo>
                    <a:cubicBezTo>
                      <a:pt x="53777" y="65137"/>
                      <a:pt x="56530" y="61020"/>
                      <a:pt x="58564" y="55365"/>
                    </a:cubicBezTo>
                    <a:lnTo>
                      <a:pt x="72405" y="57076"/>
                    </a:lnTo>
                    <a:cubicBezTo>
                      <a:pt x="70222" y="65162"/>
                      <a:pt x="66179" y="71438"/>
                      <a:pt x="60275" y="75903"/>
                    </a:cubicBezTo>
                    <a:cubicBezTo>
                      <a:pt x="54372" y="80368"/>
                      <a:pt x="46831" y="82600"/>
                      <a:pt x="37654" y="82600"/>
                    </a:cubicBezTo>
                    <a:cubicBezTo>
                      <a:pt x="26095" y="82600"/>
                      <a:pt x="16929" y="79041"/>
                      <a:pt x="10158" y="71922"/>
                    </a:cubicBezTo>
                    <a:cubicBezTo>
                      <a:pt x="3386" y="64803"/>
                      <a:pt x="0" y="54819"/>
                      <a:pt x="0" y="41970"/>
                    </a:cubicBezTo>
                    <a:cubicBezTo>
                      <a:pt x="0" y="28675"/>
                      <a:pt x="3423" y="18356"/>
                      <a:pt x="10269" y="11014"/>
                    </a:cubicBezTo>
                    <a:cubicBezTo>
                      <a:pt x="17115" y="3671"/>
                      <a:pt x="25995" y="0"/>
                      <a:pt x="36909" y="0"/>
                    </a:cubicBezTo>
                    <a:close/>
                    <a:moveTo>
                      <a:pt x="37058" y="11014"/>
                    </a:moveTo>
                    <a:cubicBezTo>
                      <a:pt x="30907" y="11014"/>
                      <a:pt x="25735" y="13073"/>
                      <a:pt x="21543" y="17190"/>
                    </a:cubicBezTo>
                    <a:cubicBezTo>
                      <a:pt x="17351" y="21308"/>
                      <a:pt x="15032" y="26814"/>
                      <a:pt x="14585" y="33710"/>
                    </a:cubicBezTo>
                    <a:lnTo>
                      <a:pt x="58713" y="33710"/>
                    </a:lnTo>
                    <a:cubicBezTo>
                      <a:pt x="58117" y="27062"/>
                      <a:pt x="56431" y="22077"/>
                      <a:pt x="53653" y="18753"/>
                    </a:cubicBezTo>
                    <a:cubicBezTo>
                      <a:pt x="49386" y="13594"/>
                      <a:pt x="43855" y="11014"/>
                      <a:pt x="37058" y="1101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57" name="Freihandform: Form 2956">
                <a:extLst>
                  <a:ext uri="{FF2B5EF4-FFF2-40B4-BE49-F238E27FC236}">
                    <a16:creationId xmlns:a16="http://schemas.microsoft.com/office/drawing/2014/main" id="{DAE4544B-9F4C-6D0D-EC65-6292AB7894BD}"/>
                  </a:ext>
                </a:extLst>
              </p:cNvPr>
              <p:cNvSpPr/>
              <p:nvPr/>
            </p:nvSpPr>
            <p:spPr>
              <a:xfrm>
                <a:off x="9738732" y="3697246"/>
                <a:ext cx="42937" cy="80814"/>
              </a:xfrm>
              <a:custGeom>
                <a:avLst/>
                <a:gdLst/>
                <a:ahLst/>
                <a:cxnLst/>
                <a:rect l="l" t="t" r="r" b="b"/>
                <a:pathLst>
                  <a:path w="42937" h="80814">
                    <a:moveTo>
                      <a:pt x="29170" y="0"/>
                    </a:moveTo>
                    <a:cubicBezTo>
                      <a:pt x="33685" y="0"/>
                      <a:pt x="38274" y="1439"/>
                      <a:pt x="42937" y="4316"/>
                    </a:cubicBezTo>
                    <a:lnTo>
                      <a:pt x="38323" y="16744"/>
                    </a:lnTo>
                    <a:cubicBezTo>
                      <a:pt x="35049" y="14809"/>
                      <a:pt x="31775" y="13841"/>
                      <a:pt x="28501" y="13841"/>
                    </a:cubicBezTo>
                    <a:cubicBezTo>
                      <a:pt x="25574" y="13841"/>
                      <a:pt x="22944" y="14722"/>
                      <a:pt x="20613" y="16483"/>
                    </a:cubicBezTo>
                    <a:cubicBezTo>
                      <a:pt x="18281" y="18244"/>
                      <a:pt x="16619" y="20688"/>
                      <a:pt x="15627" y="23813"/>
                    </a:cubicBezTo>
                    <a:cubicBezTo>
                      <a:pt x="14139" y="28575"/>
                      <a:pt x="13395" y="33784"/>
                      <a:pt x="13395" y="39440"/>
                    </a:cubicBezTo>
                    <a:lnTo>
                      <a:pt x="13395" y="80814"/>
                    </a:lnTo>
                    <a:lnTo>
                      <a:pt x="0" y="80814"/>
                    </a:lnTo>
                    <a:lnTo>
                      <a:pt x="0" y="1786"/>
                    </a:lnTo>
                    <a:lnTo>
                      <a:pt x="12055" y="1786"/>
                    </a:lnTo>
                    <a:lnTo>
                      <a:pt x="12055" y="13767"/>
                    </a:lnTo>
                    <a:cubicBezTo>
                      <a:pt x="15131" y="8161"/>
                      <a:pt x="17971" y="4465"/>
                      <a:pt x="20576" y="2679"/>
                    </a:cubicBezTo>
                    <a:cubicBezTo>
                      <a:pt x="23180" y="893"/>
                      <a:pt x="26045" y="0"/>
                      <a:pt x="2917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58" name="Freihandform: Form 2957">
                <a:extLst>
                  <a:ext uri="{FF2B5EF4-FFF2-40B4-BE49-F238E27FC236}">
                    <a16:creationId xmlns:a16="http://schemas.microsoft.com/office/drawing/2014/main" id="{14E9B047-2283-8742-79EF-615C7DB95765}"/>
                  </a:ext>
                </a:extLst>
              </p:cNvPr>
              <p:cNvSpPr/>
              <p:nvPr/>
            </p:nvSpPr>
            <p:spPr>
              <a:xfrm>
                <a:off x="9858241" y="3697246"/>
                <a:ext cx="72851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2851" h="82600">
                    <a:moveTo>
                      <a:pt x="36909" y="0"/>
                    </a:moveTo>
                    <a:cubicBezTo>
                      <a:pt x="47476" y="0"/>
                      <a:pt x="56108" y="3597"/>
                      <a:pt x="62806" y="10790"/>
                    </a:cubicBezTo>
                    <a:cubicBezTo>
                      <a:pt x="69503" y="17984"/>
                      <a:pt x="72851" y="28104"/>
                      <a:pt x="72851" y="41151"/>
                    </a:cubicBezTo>
                    <a:cubicBezTo>
                      <a:pt x="72851" y="41945"/>
                      <a:pt x="72827" y="43136"/>
                      <a:pt x="72777" y="44723"/>
                    </a:cubicBezTo>
                    <a:lnTo>
                      <a:pt x="13841" y="44723"/>
                    </a:lnTo>
                    <a:cubicBezTo>
                      <a:pt x="14337" y="53405"/>
                      <a:pt x="16793" y="60053"/>
                      <a:pt x="21208" y="64666"/>
                    </a:cubicBezTo>
                    <a:cubicBezTo>
                      <a:pt x="25623" y="69280"/>
                      <a:pt x="31130" y="71587"/>
                      <a:pt x="37728" y="71587"/>
                    </a:cubicBezTo>
                    <a:cubicBezTo>
                      <a:pt x="42639" y="71587"/>
                      <a:pt x="46831" y="70297"/>
                      <a:pt x="50304" y="67717"/>
                    </a:cubicBezTo>
                    <a:cubicBezTo>
                      <a:pt x="53777" y="65137"/>
                      <a:pt x="56530" y="61020"/>
                      <a:pt x="58564" y="55365"/>
                    </a:cubicBezTo>
                    <a:lnTo>
                      <a:pt x="72405" y="57076"/>
                    </a:lnTo>
                    <a:cubicBezTo>
                      <a:pt x="70222" y="65162"/>
                      <a:pt x="66179" y="71438"/>
                      <a:pt x="60275" y="75903"/>
                    </a:cubicBezTo>
                    <a:cubicBezTo>
                      <a:pt x="54372" y="80368"/>
                      <a:pt x="46831" y="82600"/>
                      <a:pt x="37654" y="82600"/>
                    </a:cubicBezTo>
                    <a:cubicBezTo>
                      <a:pt x="26095" y="82600"/>
                      <a:pt x="16929" y="79041"/>
                      <a:pt x="10158" y="71922"/>
                    </a:cubicBezTo>
                    <a:cubicBezTo>
                      <a:pt x="3386" y="64803"/>
                      <a:pt x="0" y="54819"/>
                      <a:pt x="0" y="41970"/>
                    </a:cubicBezTo>
                    <a:cubicBezTo>
                      <a:pt x="0" y="28675"/>
                      <a:pt x="3423" y="18356"/>
                      <a:pt x="10269" y="11014"/>
                    </a:cubicBezTo>
                    <a:cubicBezTo>
                      <a:pt x="17115" y="3671"/>
                      <a:pt x="25995" y="0"/>
                      <a:pt x="36909" y="0"/>
                    </a:cubicBezTo>
                    <a:close/>
                    <a:moveTo>
                      <a:pt x="37058" y="11014"/>
                    </a:moveTo>
                    <a:cubicBezTo>
                      <a:pt x="30907" y="11014"/>
                      <a:pt x="25735" y="13073"/>
                      <a:pt x="21543" y="17190"/>
                    </a:cubicBezTo>
                    <a:cubicBezTo>
                      <a:pt x="17351" y="21308"/>
                      <a:pt x="15032" y="26814"/>
                      <a:pt x="14585" y="33710"/>
                    </a:cubicBezTo>
                    <a:lnTo>
                      <a:pt x="58713" y="33710"/>
                    </a:lnTo>
                    <a:cubicBezTo>
                      <a:pt x="58117" y="27062"/>
                      <a:pt x="56431" y="22077"/>
                      <a:pt x="53653" y="18753"/>
                    </a:cubicBezTo>
                    <a:cubicBezTo>
                      <a:pt x="49386" y="13594"/>
                      <a:pt x="43855" y="11014"/>
                      <a:pt x="37058" y="1101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59" name="Freihandform: Form 2958">
                <a:extLst>
                  <a:ext uri="{FF2B5EF4-FFF2-40B4-BE49-F238E27FC236}">
                    <a16:creationId xmlns:a16="http://schemas.microsoft.com/office/drawing/2014/main" id="{0B52D81C-CB77-9DCF-58B9-EB78D1F5762D}"/>
                  </a:ext>
                </a:extLst>
              </p:cNvPr>
              <p:cNvSpPr/>
              <p:nvPr/>
            </p:nvSpPr>
            <p:spPr>
              <a:xfrm>
                <a:off x="9786580" y="3699032"/>
                <a:ext cx="13395" cy="79028"/>
              </a:xfrm>
              <a:custGeom>
                <a:avLst/>
                <a:gdLst/>
                <a:ahLst/>
                <a:cxnLst/>
                <a:rect l="l" t="t" r="r" b="b"/>
                <a:pathLst>
                  <a:path w="13395" h="79028">
                    <a:moveTo>
                      <a:pt x="0" y="0"/>
                    </a:moveTo>
                    <a:lnTo>
                      <a:pt x="13395" y="0"/>
                    </a:lnTo>
                    <a:lnTo>
                      <a:pt x="13395" y="79028"/>
                    </a:lnTo>
                    <a:lnTo>
                      <a:pt x="0" y="7902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896" name="Gruppieren 2895">
              <a:extLst>
                <a:ext uri="{FF2B5EF4-FFF2-40B4-BE49-F238E27FC236}">
                  <a16:creationId xmlns:a16="http://schemas.microsoft.com/office/drawing/2014/main" id="{8B77E9EE-4D84-8C02-DFC0-618C869ABBA8}"/>
                </a:ext>
              </a:extLst>
            </p:cNvPr>
            <p:cNvGrpSpPr/>
            <p:nvPr/>
          </p:nvGrpSpPr>
          <p:grpSpPr>
            <a:xfrm>
              <a:off x="7973579" y="846270"/>
              <a:ext cx="116145" cy="37225"/>
              <a:chOff x="9422100" y="1047735"/>
              <a:chExt cx="351979" cy="112811"/>
            </a:xfrm>
          </p:grpSpPr>
          <p:sp>
            <p:nvSpPr>
              <p:cNvPr id="2947" name="Freihandform: Form 2946">
                <a:extLst>
                  <a:ext uri="{FF2B5EF4-FFF2-40B4-BE49-F238E27FC236}">
                    <a16:creationId xmlns:a16="http://schemas.microsoft.com/office/drawing/2014/main" id="{6931C0AE-B0F6-810A-08D4-3B50F100E996}"/>
                  </a:ext>
                </a:extLst>
              </p:cNvPr>
              <p:cNvSpPr/>
              <p:nvPr/>
            </p:nvSpPr>
            <p:spPr>
              <a:xfrm>
                <a:off x="9422100" y="1047735"/>
                <a:ext cx="96441" cy="112811"/>
              </a:xfrm>
              <a:custGeom>
                <a:avLst/>
                <a:gdLst/>
                <a:ahLst/>
                <a:cxnLst/>
                <a:rect l="l" t="t" r="r" b="b"/>
                <a:pathLst>
                  <a:path w="96441" h="112811">
                    <a:moveTo>
                      <a:pt x="51495" y="0"/>
                    </a:moveTo>
                    <a:cubicBezTo>
                      <a:pt x="62409" y="0"/>
                      <a:pt x="71587" y="2778"/>
                      <a:pt x="79028" y="8334"/>
                    </a:cubicBezTo>
                    <a:cubicBezTo>
                      <a:pt x="86469" y="13890"/>
                      <a:pt x="91654" y="21704"/>
                      <a:pt x="94581" y="31775"/>
                    </a:cubicBezTo>
                    <a:lnTo>
                      <a:pt x="80367" y="35123"/>
                    </a:lnTo>
                    <a:cubicBezTo>
                      <a:pt x="77837" y="27186"/>
                      <a:pt x="74166" y="21406"/>
                      <a:pt x="69354" y="17785"/>
                    </a:cubicBezTo>
                    <a:cubicBezTo>
                      <a:pt x="64542" y="14163"/>
                      <a:pt x="58490" y="12352"/>
                      <a:pt x="51197" y="12352"/>
                    </a:cubicBezTo>
                    <a:cubicBezTo>
                      <a:pt x="42813" y="12352"/>
                      <a:pt x="35806" y="14362"/>
                      <a:pt x="30175" y="18380"/>
                    </a:cubicBezTo>
                    <a:cubicBezTo>
                      <a:pt x="24544" y="22398"/>
                      <a:pt x="20588" y="27793"/>
                      <a:pt x="18306" y="34565"/>
                    </a:cubicBezTo>
                    <a:cubicBezTo>
                      <a:pt x="16024" y="41337"/>
                      <a:pt x="14883" y="48319"/>
                      <a:pt x="14883" y="55513"/>
                    </a:cubicBezTo>
                    <a:cubicBezTo>
                      <a:pt x="14883" y="64790"/>
                      <a:pt x="16235" y="72888"/>
                      <a:pt x="18939" y="79809"/>
                    </a:cubicBezTo>
                    <a:cubicBezTo>
                      <a:pt x="21642" y="86729"/>
                      <a:pt x="25847" y="91901"/>
                      <a:pt x="31552" y="95324"/>
                    </a:cubicBezTo>
                    <a:cubicBezTo>
                      <a:pt x="37257" y="98747"/>
                      <a:pt x="43433" y="100459"/>
                      <a:pt x="50081" y="100459"/>
                    </a:cubicBezTo>
                    <a:cubicBezTo>
                      <a:pt x="58167" y="100459"/>
                      <a:pt x="65013" y="98127"/>
                      <a:pt x="70619" y="93464"/>
                    </a:cubicBezTo>
                    <a:cubicBezTo>
                      <a:pt x="76225" y="88801"/>
                      <a:pt x="80020" y="81880"/>
                      <a:pt x="82005" y="72702"/>
                    </a:cubicBezTo>
                    <a:lnTo>
                      <a:pt x="96441" y="76349"/>
                    </a:lnTo>
                    <a:cubicBezTo>
                      <a:pt x="93415" y="88205"/>
                      <a:pt x="87970" y="97247"/>
                      <a:pt x="80107" y="103473"/>
                    </a:cubicBezTo>
                    <a:cubicBezTo>
                      <a:pt x="72244" y="109698"/>
                      <a:pt x="62632" y="112811"/>
                      <a:pt x="51272" y="112811"/>
                    </a:cubicBezTo>
                    <a:cubicBezTo>
                      <a:pt x="39514" y="112811"/>
                      <a:pt x="29952" y="110418"/>
                      <a:pt x="22585" y="105631"/>
                    </a:cubicBezTo>
                    <a:cubicBezTo>
                      <a:pt x="15218" y="100843"/>
                      <a:pt x="9612" y="93910"/>
                      <a:pt x="5767" y="84832"/>
                    </a:cubicBezTo>
                    <a:cubicBezTo>
                      <a:pt x="1923" y="75753"/>
                      <a:pt x="0" y="66005"/>
                      <a:pt x="0" y="55587"/>
                    </a:cubicBezTo>
                    <a:cubicBezTo>
                      <a:pt x="0" y="44227"/>
                      <a:pt x="2171" y="34317"/>
                      <a:pt x="6511" y="25859"/>
                    </a:cubicBezTo>
                    <a:cubicBezTo>
                      <a:pt x="10852" y="17400"/>
                      <a:pt x="17029" y="10976"/>
                      <a:pt x="25041" y="6585"/>
                    </a:cubicBezTo>
                    <a:cubicBezTo>
                      <a:pt x="33052" y="2195"/>
                      <a:pt x="41871" y="0"/>
                      <a:pt x="51495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48" name="Freihandform: Form 2947">
                <a:extLst>
                  <a:ext uri="{FF2B5EF4-FFF2-40B4-BE49-F238E27FC236}">
                    <a16:creationId xmlns:a16="http://schemas.microsoft.com/office/drawing/2014/main" id="{7FE23653-04FB-0D09-B228-33571CFAF7B6}"/>
                  </a:ext>
                </a:extLst>
              </p:cNvPr>
              <p:cNvSpPr/>
              <p:nvPr/>
            </p:nvSpPr>
            <p:spPr>
              <a:xfrm>
                <a:off x="9624432" y="1047735"/>
                <a:ext cx="85353" cy="110951"/>
              </a:xfrm>
              <a:custGeom>
                <a:avLst/>
                <a:gdLst/>
                <a:ahLst/>
                <a:cxnLst/>
                <a:rect l="l" t="t" r="r" b="b"/>
                <a:pathLst>
                  <a:path w="85353" h="110951">
                    <a:moveTo>
                      <a:pt x="72851" y="0"/>
                    </a:moveTo>
                    <a:cubicBezTo>
                      <a:pt x="76622" y="0"/>
                      <a:pt x="80789" y="446"/>
                      <a:pt x="85353" y="1339"/>
                    </a:cubicBezTo>
                    <a:lnTo>
                      <a:pt x="83344" y="13022"/>
                    </a:lnTo>
                    <a:cubicBezTo>
                      <a:pt x="80566" y="12526"/>
                      <a:pt x="77936" y="12278"/>
                      <a:pt x="75456" y="12278"/>
                    </a:cubicBezTo>
                    <a:cubicBezTo>
                      <a:pt x="71388" y="12278"/>
                      <a:pt x="68511" y="13146"/>
                      <a:pt x="66824" y="14883"/>
                    </a:cubicBezTo>
                    <a:cubicBezTo>
                      <a:pt x="65137" y="16619"/>
                      <a:pt x="64294" y="19868"/>
                      <a:pt x="64294" y="24631"/>
                    </a:cubicBezTo>
                    <a:lnTo>
                      <a:pt x="64294" y="31923"/>
                    </a:lnTo>
                    <a:lnTo>
                      <a:pt x="79698" y="31923"/>
                    </a:lnTo>
                    <a:lnTo>
                      <a:pt x="79698" y="42341"/>
                    </a:lnTo>
                    <a:lnTo>
                      <a:pt x="64294" y="42341"/>
                    </a:lnTo>
                    <a:lnTo>
                      <a:pt x="64294" y="110951"/>
                    </a:lnTo>
                    <a:lnTo>
                      <a:pt x="50974" y="110951"/>
                    </a:lnTo>
                    <a:lnTo>
                      <a:pt x="50974" y="42341"/>
                    </a:lnTo>
                    <a:lnTo>
                      <a:pt x="40009" y="42341"/>
                    </a:lnTo>
                    <a:lnTo>
                      <a:pt x="38323" y="46881"/>
                    </a:lnTo>
                    <a:cubicBezTo>
                      <a:pt x="35049" y="44946"/>
                      <a:pt x="31775" y="43978"/>
                      <a:pt x="28501" y="43978"/>
                    </a:cubicBezTo>
                    <a:cubicBezTo>
                      <a:pt x="25574" y="43978"/>
                      <a:pt x="22944" y="44859"/>
                      <a:pt x="20613" y="46620"/>
                    </a:cubicBezTo>
                    <a:cubicBezTo>
                      <a:pt x="18281" y="48381"/>
                      <a:pt x="16619" y="50825"/>
                      <a:pt x="15627" y="53950"/>
                    </a:cubicBezTo>
                    <a:cubicBezTo>
                      <a:pt x="14139" y="58712"/>
                      <a:pt x="13395" y="63921"/>
                      <a:pt x="13395" y="69577"/>
                    </a:cubicBezTo>
                    <a:lnTo>
                      <a:pt x="13395" y="110951"/>
                    </a:lnTo>
                    <a:lnTo>
                      <a:pt x="0" y="110951"/>
                    </a:lnTo>
                    <a:lnTo>
                      <a:pt x="0" y="31923"/>
                    </a:lnTo>
                    <a:lnTo>
                      <a:pt x="12055" y="31923"/>
                    </a:lnTo>
                    <a:lnTo>
                      <a:pt x="12055" y="43904"/>
                    </a:lnTo>
                    <a:cubicBezTo>
                      <a:pt x="15131" y="38298"/>
                      <a:pt x="17971" y="34602"/>
                      <a:pt x="20576" y="32816"/>
                    </a:cubicBezTo>
                    <a:cubicBezTo>
                      <a:pt x="23180" y="31030"/>
                      <a:pt x="26045" y="30137"/>
                      <a:pt x="29170" y="30137"/>
                    </a:cubicBezTo>
                    <a:cubicBezTo>
                      <a:pt x="31428" y="30137"/>
                      <a:pt x="33703" y="30497"/>
                      <a:pt x="35998" y="31216"/>
                    </a:cubicBezTo>
                    <a:lnTo>
                      <a:pt x="39142" y="32683"/>
                    </a:lnTo>
                    <a:lnTo>
                      <a:pt x="39142" y="31923"/>
                    </a:lnTo>
                    <a:lnTo>
                      <a:pt x="50974" y="31923"/>
                    </a:lnTo>
                    <a:lnTo>
                      <a:pt x="50974" y="23515"/>
                    </a:lnTo>
                    <a:cubicBezTo>
                      <a:pt x="50974" y="18206"/>
                      <a:pt x="51445" y="14262"/>
                      <a:pt x="52388" y="11683"/>
                    </a:cubicBezTo>
                    <a:cubicBezTo>
                      <a:pt x="53677" y="8210"/>
                      <a:pt x="55947" y="5395"/>
                      <a:pt x="59196" y="3237"/>
                    </a:cubicBezTo>
                    <a:cubicBezTo>
                      <a:pt x="62446" y="1079"/>
                      <a:pt x="66998" y="0"/>
                      <a:pt x="72851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49" name="Freihandform: Form 2948">
                <a:extLst>
                  <a:ext uri="{FF2B5EF4-FFF2-40B4-BE49-F238E27FC236}">
                    <a16:creationId xmlns:a16="http://schemas.microsoft.com/office/drawing/2014/main" id="{8B75AA42-2549-A695-9C13-605765756143}"/>
                  </a:ext>
                </a:extLst>
              </p:cNvPr>
              <p:cNvSpPr/>
              <p:nvPr/>
            </p:nvSpPr>
            <p:spPr>
              <a:xfrm>
                <a:off x="9533869" y="1077871"/>
                <a:ext cx="74042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4042" h="82600">
                    <a:moveTo>
                      <a:pt x="37058" y="0"/>
                    </a:moveTo>
                    <a:cubicBezTo>
                      <a:pt x="47923" y="0"/>
                      <a:pt x="56803" y="3560"/>
                      <a:pt x="63699" y="10679"/>
                    </a:cubicBezTo>
                    <a:cubicBezTo>
                      <a:pt x="70594" y="17798"/>
                      <a:pt x="74042" y="27633"/>
                      <a:pt x="74042" y="40184"/>
                    </a:cubicBezTo>
                    <a:cubicBezTo>
                      <a:pt x="74042" y="50354"/>
                      <a:pt x="72517" y="58353"/>
                      <a:pt x="69466" y="64183"/>
                    </a:cubicBezTo>
                    <a:cubicBezTo>
                      <a:pt x="66415" y="70012"/>
                      <a:pt x="61975" y="74539"/>
                      <a:pt x="56146" y="77763"/>
                    </a:cubicBezTo>
                    <a:cubicBezTo>
                      <a:pt x="50316" y="80988"/>
                      <a:pt x="43954" y="82600"/>
                      <a:pt x="37058" y="82600"/>
                    </a:cubicBezTo>
                    <a:cubicBezTo>
                      <a:pt x="25995" y="82600"/>
                      <a:pt x="17053" y="79053"/>
                      <a:pt x="10232" y="71959"/>
                    </a:cubicBezTo>
                    <a:cubicBezTo>
                      <a:pt x="3411" y="64865"/>
                      <a:pt x="0" y="54645"/>
                      <a:pt x="0" y="41300"/>
                    </a:cubicBezTo>
                    <a:cubicBezTo>
                      <a:pt x="0" y="26665"/>
                      <a:pt x="4068" y="15826"/>
                      <a:pt x="12204" y="8781"/>
                    </a:cubicBezTo>
                    <a:cubicBezTo>
                      <a:pt x="19001" y="2927"/>
                      <a:pt x="27285" y="0"/>
                      <a:pt x="37058" y="0"/>
                    </a:cubicBezTo>
                    <a:close/>
                    <a:moveTo>
                      <a:pt x="37058" y="11088"/>
                    </a:moveTo>
                    <a:cubicBezTo>
                      <a:pt x="30361" y="11088"/>
                      <a:pt x="24805" y="13593"/>
                      <a:pt x="20390" y="18604"/>
                    </a:cubicBezTo>
                    <a:cubicBezTo>
                      <a:pt x="15974" y="23615"/>
                      <a:pt x="13767" y="31180"/>
                      <a:pt x="13767" y="41300"/>
                    </a:cubicBezTo>
                    <a:cubicBezTo>
                      <a:pt x="13767" y="51421"/>
                      <a:pt x="15974" y="58998"/>
                      <a:pt x="20390" y="64034"/>
                    </a:cubicBezTo>
                    <a:cubicBezTo>
                      <a:pt x="24805" y="69069"/>
                      <a:pt x="30361" y="71587"/>
                      <a:pt x="37058" y="71587"/>
                    </a:cubicBezTo>
                    <a:cubicBezTo>
                      <a:pt x="43706" y="71587"/>
                      <a:pt x="49237" y="69057"/>
                      <a:pt x="53653" y="63997"/>
                    </a:cubicBezTo>
                    <a:cubicBezTo>
                      <a:pt x="58068" y="58936"/>
                      <a:pt x="60276" y="51222"/>
                      <a:pt x="60276" y="40854"/>
                    </a:cubicBezTo>
                    <a:cubicBezTo>
                      <a:pt x="60276" y="31081"/>
                      <a:pt x="58056" y="23677"/>
                      <a:pt x="53615" y="18641"/>
                    </a:cubicBezTo>
                    <a:cubicBezTo>
                      <a:pt x="49175" y="13606"/>
                      <a:pt x="43656" y="11088"/>
                      <a:pt x="37058" y="11088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50" name="Freihandform: Form 2949">
                <a:extLst>
                  <a:ext uri="{FF2B5EF4-FFF2-40B4-BE49-F238E27FC236}">
                    <a16:creationId xmlns:a16="http://schemas.microsoft.com/office/drawing/2014/main" id="{4F4628E9-89FB-0574-9908-AB32CE936ED7}"/>
                  </a:ext>
                </a:extLst>
              </p:cNvPr>
              <p:cNvSpPr/>
              <p:nvPr/>
            </p:nvSpPr>
            <p:spPr>
              <a:xfrm>
                <a:off x="9710008" y="1079657"/>
                <a:ext cx="64071" cy="80814"/>
              </a:xfrm>
              <a:custGeom>
                <a:avLst/>
                <a:gdLst/>
                <a:ahLst/>
                <a:cxnLst/>
                <a:rect l="l" t="t" r="r" b="b"/>
                <a:pathLst>
                  <a:path w="64071" h="80814">
                    <a:moveTo>
                      <a:pt x="0" y="0"/>
                    </a:moveTo>
                    <a:lnTo>
                      <a:pt x="13395" y="0"/>
                    </a:lnTo>
                    <a:lnTo>
                      <a:pt x="13395" y="43830"/>
                    </a:lnTo>
                    <a:cubicBezTo>
                      <a:pt x="13395" y="50825"/>
                      <a:pt x="13668" y="55538"/>
                      <a:pt x="14213" y="57969"/>
                    </a:cubicBezTo>
                    <a:cubicBezTo>
                      <a:pt x="15057" y="61491"/>
                      <a:pt x="16843" y="64257"/>
                      <a:pt x="19571" y="66266"/>
                    </a:cubicBezTo>
                    <a:cubicBezTo>
                      <a:pt x="22300" y="68275"/>
                      <a:pt x="25673" y="69280"/>
                      <a:pt x="29691" y="69280"/>
                    </a:cubicBezTo>
                    <a:cubicBezTo>
                      <a:pt x="33710" y="69280"/>
                      <a:pt x="37480" y="68250"/>
                      <a:pt x="41002" y="66192"/>
                    </a:cubicBezTo>
                    <a:cubicBezTo>
                      <a:pt x="44525" y="64133"/>
                      <a:pt x="47018" y="61330"/>
                      <a:pt x="48481" y="57783"/>
                    </a:cubicBezTo>
                    <a:cubicBezTo>
                      <a:pt x="49944" y="54236"/>
                      <a:pt x="50676" y="49089"/>
                      <a:pt x="50676" y="42342"/>
                    </a:cubicBezTo>
                    <a:lnTo>
                      <a:pt x="50676" y="0"/>
                    </a:lnTo>
                    <a:lnTo>
                      <a:pt x="64071" y="0"/>
                    </a:lnTo>
                    <a:lnTo>
                      <a:pt x="64071" y="79028"/>
                    </a:lnTo>
                    <a:lnTo>
                      <a:pt x="52090" y="79028"/>
                    </a:lnTo>
                    <a:lnTo>
                      <a:pt x="52090" y="67420"/>
                    </a:lnTo>
                    <a:cubicBezTo>
                      <a:pt x="45939" y="76349"/>
                      <a:pt x="37579" y="80814"/>
                      <a:pt x="27013" y="80814"/>
                    </a:cubicBezTo>
                    <a:cubicBezTo>
                      <a:pt x="22349" y="80814"/>
                      <a:pt x="17996" y="79921"/>
                      <a:pt x="13953" y="78135"/>
                    </a:cubicBezTo>
                    <a:cubicBezTo>
                      <a:pt x="9910" y="76349"/>
                      <a:pt x="6908" y="74104"/>
                      <a:pt x="4949" y="71401"/>
                    </a:cubicBezTo>
                    <a:cubicBezTo>
                      <a:pt x="2989" y="68697"/>
                      <a:pt x="1613" y="65386"/>
                      <a:pt x="819" y="61466"/>
                    </a:cubicBezTo>
                    <a:cubicBezTo>
                      <a:pt x="273" y="58837"/>
                      <a:pt x="0" y="54670"/>
                      <a:pt x="0" y="48965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897" name="Gruppieren 2896">
              <a:extLst>
                <a:ext uri="{FF2B5EF4-FFF2-40B4-BE49-F238E27FC236}">
                  <a16:creationId xmlns:a16="http://schemas.microsoft.com/office/drawing/2014/main" id="{6753D1C5-A841-E6F8-AD8B-96BFCB30992B}"/>
                </a:ext>
              </a:extLst>
            </p:cNvPr>
            <p:cNvGrpSpPr/>
            <p:nvPr/>
          </p:nvGrpSpPr>
          <p:grpSpPr>
            <a:xfrm>
              <a:off x="8313224" y="1038683"/>
              <a:ext cx="148999" cy="36586"/>
              <a:chOff x="9414286" y="1478220"/>
              <a:chExt cx="451545" cy="110876"/>
            </a:xfrm>
          </p:grpSpPr>
          <p:sp>
            <p:nvSpPr>
              <p:cNvPr id="2941" name="Freihandform: Form 2940">
                <a:extLst>
                  <a:ext uri="{FF2B5EF4-FFF2-40B4-BE49-F238E27FC236}">
                    <a16:creationId xmlns:a16="http://schemas.microsoft.com/office/drawing/2014/main" id="{267CFD21-3A2B-E939-63BC-1D04C8DBD69F}"/>
                  </a:ext>
                </a:extLst>
              </p:cNvPr>
              <p:cNvSpPr/>
              <p:nvPr/>
            </p:nvSpPr>
            <p:spPr>
              <a:xfrm>
                <a:off x="9414286" y="1478220"/>
                <a:ext cx="102096" cy="109091"/>
              </a:xfrm>
              <a:custGeom>
                <a:avLst/>
                <a:gdLst/>
                <a:ahLst/>
                <a:cxnLst/>
                <a:rect l="l" t="t" r="r" b="b"/>
                <a:pathLst>
                  <a:path w="102096" h="109091">
                    <a:moveTo>
                      <a:pt x="41895" y="0"/>
                    </a:moveTo>
                    <a:lnTo>
                      <a:pt x="57447" y="0"/>
                    </a:lnTo>
                    <a:lnTo>
                      <a:pt x="102096" y="109091"/>
                    </a:lnTo>
                    <a:lnTo>
                      <a:pt x="85650" y="109091"/>
                    </a:lnTo>
                    <a:lnTo>
                      <a:pt x="72926" y="76051"/>
                    </a:lnTo>
                    <a:lnTo>
                      <a:pt x="27310" y="76051"/>
                    </a:lnTo>
                    <a:lnTo>
                      <a:pt x="15329" y="109091"/>
                    </a:lnTo>
                    <a:lnTo>
                      <a:pt x="0" y="109091"/>
                    </a:lnTo>
                    <a:lnTo>
                      <a:pt x="41895" y="0"/>
                    </a:lnTo>
                    <a:close/>
                    <a:moveTo>
                      <a:pt x="49336" y="11460"/>
                    </a:moveTo>
                    <a:cubicBezTo>
                      <a:pt x="47947" y="18455"/>
                      <a:pt x="45988" y="25400"/>
                      <a:pt x="43458" y="32296"/>
                    </a:cubicBezTo>
                    <a:lnTo>
                      <a:pt x="31477" y="64294"/>
                    </a:lnTo>
                    <a:lnTo>
                      <a:pt x="68461" y="64294"/>
                    </a:lnTo>
                    <a:lnTo>
                      <a:pt x="57075" y="34082"/>
                    </a:lnTo>
                    <a:cubicBezTo>
                      <a:pt x="53603" y="24904"/>
                      <a:pt x="51023" y="17363"/>
                      <a:pt x="49336" y="1146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42" name="Freihandform: Form 2941">
                <a:extLst>
                  <a:ext uri="{FF2B5EF4-FFF2-40B4-BE49-F238E27FC236}">
                    <a16:creationId xmlns:a16="http://schemas.microsoft.com/office/drawing/2014/main" id="{AE6E4521-6BFC-7463-A6F0-D19437F734D5}"/>
                  </a:ext>
                </a:extLst>
              </p:cNvPr>
              <p:cNvSpPr/>
              <p:nvPr/>
            </p:nvSpPr>
            <p:spPr>
              <a:xfrm>
                <a:off x="9567430" y="1478220"/>
                <a:ext cx="64368" cy="109091"/>
              </a:xfrm>
              <a:custGeom>
                <a:avLst/>
                <a:gdLst/>
                <a:ahLst/>
                <a:cxnLst/>
                <a:rect l="l" t="t" r="r" b="b"/>
                <a:pathLst>
                  <a:path w="64368" h="109091">
                    <a:moveTo>
                      <a:pt x="0" y="0"/>
                    </a:moveTo>
                    <a:lnTo>
                      <a:pt x="13394" y="0"/>
                    </a:lnTo>
                    <a:lnTo>
                      <a:pt x="13394" y="39142"/>
                    </a:lnTo>
                    <a:cubicBezTo>
                      <a:pt x="19645" y="31899"/>
                      <a:pt x="27533" y="28277"/>
                      <a:pt x="37058" y="28277"/>
                    </a:cubicBezTo>
                    <a:cubicBezTo>
                      <a:pt x="42912" y="28277"/>
                      <a:pt x="47997" y="29431"/>
                      <a:pt x="52313" y="31738"/>
                    </a:cubicBezTo>
                    <a:cubicBezTo>
                      <a:pt x="56629" y="34045"/>
                      <a:pt x="59717" y="37232"/>
                      <a:pt x="61578" y="41300"/>
                    </a:cubicBezTo>
                    <a:cubicBezTo>
                      <a:pt x="63438" y="45368"/>
                      <a:pt x="64368" y="51271"/>
                      <a:pt x="64368" y="59010"/>
                    </a:cubicBezTo>
                    <a:lnTo>
                      <a:pt x="64368" y="109091"/>
                    </a:lnTo>
                    <a:lnTo>
                      <a:pt x="50974" y="109091"/>
                    </a:lnTo>
                    <a:lnTo>
                      <a:pt x="50974" y="59010"/>
                    </a:lnTo>
                    <a:cubicBezTo>
                      <a:pt x="50974" y="52313"/>
                      <a:pt x="49522" y="47439"/>
                      <a:pt x="46620" y="44388"/>
                    </a:cubicBezTo>
                    <a:cubicBezTo>
                      <a:pt x="43718" y="41337"/>
                      <a:pt x="39613" y="39812"/>
                      <a:pt x="34305" y="39812"/>
                    </a:cubicBezTo>
                    <a:cubicBezTo>
                      <a:pt x="30336" y="39812"/>
                      <a:pt x="26603" y="40841"/>
                      <a:pt x="23105" y="42900"/>
                    </a:cubicBezTo>
                    <a:cubicBezTo>
                      <a:pt x="19608" y="44959"/>
                      <a:pt x="17115" y="47749"/>
                      <a:pt x="15627" y="51271"/>
                    </a:cubicBezTo>
                    <a:cubicBezTo>
                      <a:pt x="14139" y="54794"/>
                      <a:pt x="13394" y="59655"/>
                      <a:pt x="13394" y="65857"/>
                    </a:cubicBezTo>
                    <a:lnTo>
                      <a:pt x="13394" y="109091"/>
                    </a:lnTo>
                    <a:lnTo>
                      <a:pt x="0" y="1090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43" name="Freihandform: Form 2942">
                <a:extLst>
                  <a:ext uri="{FF2B5EF4-FFF2-40B4-BE49-F238E27FC236}">
                    <a16:creationId xmlns:a16="http://schemas.microsoft.com/office/drawing/2014/main" id="{D83F3EED-0ED2-69CB-4479-3C173966024A}"/>
                  </a:ext>
                </a:extLst>
              </p:cNvPr>
              <p:cNvSpPr/>
              <p:nvPr/>
            </p:nvSpPr>
            <p:spPr>
              <a:xfrm>
                <a:off x="9521963" y="1480676"/>
                <a:ext cx="38546" cy="107677"/>
              </a:xfrm>
              <a:custGeom>
                <a:avLst/>
                <a:gdLst/>
                <a:ahLst/>
                <a:cxnLst/>
                <a:rect l="l" t="t" r="r" b="b"/>
                <a:pathLst>
                  <a:path w="38546" h="107677">
                    <a:moveTo>
                      <a:pt x="23143" y="0"/>
                    </a:moveTo>
                    <a:lnTo>
                      <a:pt x="23143" y="27607"/>
                    </a:lnTo>
                    <a:lnTo>
                      <a:pt x="36612" y="27607"/>
                    </a:lnTo>
                    <a:lnTo>
                      <a:pt x="36612" y="38025"/>
                    </a:lnTo>
                    <a:lnTo>
                      <a:pt x="23143" y="38025"/>
                    </a:lnTo>
                    <a:lnTo>
                      <a:pt x="23143" y="84237"/>
                    </a:lnTo>
                    <a:cubicBezTo>
                      <a:pt x="23143" y="88056"/>
                      <a:pt x="23378" y="90512"/>
                      <a:pt x="23850" y="91604"/>
                    </a:cubicBezTo>
                    <a:cubicBezTo>
                      <a:pt x="24321" y="92695"/>
                      <a:pt x="25090" y="93563"/>
                      <a:pt x="26156" y="94208"/>
                    </a:cubicBezTo>
                    <a:cubicBezTo>
                      <a:pt x="27223" y="94853"/>
                      <a:pt x="28749" y="95175"/>
                      <a:pt x="30733" y="95175"/>
                    </a:cubicBezTo>
                    <a:cubicBezTo>
                      <a:pt x="32221" y="95175"/>
                      <a:pt x="34181" y="95002"/>
                      <a:pt x="36612" y="94654"/>
                    </a:cubicBezTo>
                    <a:lnTo>
                      <a:pt x="38546" y="106486"/>
                    </a:lnTo>
                    <a:cubicBezTo>
                      <a:pt x="34776" y="107280"/>
                      <a:pt x="31403" y="107677"/>
                      <a:pt x="28426" y="107677"/>
                    </a:cubicBezTo>
                    <a:cubicBezTo>
                      <a:pt x="23564" y="107677"/>
                      <a:pt x="19794" y="106908"/>
                      <a:pt x="17115" y="105370"/>
                    </a:cubicBezTo>
                    <a:cubicBezTo>
                      <a:pt x="14436" y="103832"/>
                      <a:pt x="12551" y="101811"/>
                      <a:pt x="11460" y="99305"/>
                    </a:cubicBezTo>
                    <a:cubicBezTo>
                      <a:pt x="10368" y="96800"/>
                      <a:pt x="9823" y="91529"/>
                      <a:pt x="9823" y="83492"/>
                    </a:cubicBezTo>
                    <a:lnTo>
                      <a:pt x="9823" y="38025"/>
                    </a:lnTo>
                    <a:lnTo>
                      <a:pt x="0" y="38025"/>
                    </a:lnTo>
                    <a:lnTo>
                      <a:pt x="0" y="27607"/>
                    </a:lnTo>
                    <a:lnTo>
                      <a:pt x="9823" y="27607"/>
                    </a:lnTo>
                    <a:lnTo>
                      <a:pt x="9823" y="8037"/>
                    </a:lnTo>
                    <a:lnTo>
                      <a:pt x="23143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44" name="Freihandform: Form 2943">
                <a:extLst>
                  <a:ext uri="{FF2B5EF4-FFF2-40B4-BE49-F238E27FC236}">
                    <a16:creationId xmlns:a16="http://schemas.microsoft.com/office/drawing/2014/main" id="{7EAF2E17-F6A3-11C9-7D68-BCA91497BFED}"/>
                  </a:ext>
                </a:extLst>
              </p:cNvPr>
              <p:cNvSpPr/>
              <p:nvPr/>
            </p:nvSpPr>
            <p:spPr>
              <a:xfrm>
                <a:off x="9639166" y="1506496"/>
                <a:ext cx="72851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2851" h="82600">
                    <a:moveTo>
                      <a:pt x="36909" y="0"/>
                    </a:moveTo>
                    <a:cubicBezTo>
                      <a:pt x="47476" y="0"/>
                      <a:pt x="56108" y="3597"/>
                      <a:pt x="62806" y="10791"/>
                    </a:cubicBezTo>
                    <a:cubicBezTo>
                      <a:pt x="69503" y="17984"/>
                      <a:pt x="72851" y="28104"/>
                      <a:pt x="72851" y="41151"/>
                    </a:cubicBezTo>
                    <a:cubicBezTo>
                      <a:pt x="72851" y="41945"/>
                      <a:pt x="72827" y="43136"/>
                      <a:pt x="72777" y="44723"/>
                    </a:cubicBezTo>
                    <a:lnTo>
                      <a:pt x="13841" y="44723"/>
                    </a:lnTo>
                    <a:cubicBezTo>
                      <a:pt x="14337" y="53405"/>
                      <a:pt x="16793" y="60053"/>
                      <a:pt x="21208" y="64666"/>
                    </a:cubicBezTo>
                    <a:cubicBezTo>
                      <a:pt x="25623" y="69280"/>
                      <a:pt x="31130" y="71587"/>
                      <a:pt x="37728" y="71587"/>
                    </a:cubicBezTo>
                    <a:cubicBezTo>
                      <a:pt x="42639" y="71587"/>
                      <a:pt x="46831" y="70297"/>
                      <a:pt x="50304" y="67717"/>
                    </a:cubicBezTo>
                    <a:cubicBezTo>
                      <a:pt x="53777" y="65138"/>
                      <a:pt x="56530" y="61020"/>
                      <a:pt x="58564" y="55365"/>
                    </a:cubicBezTo>
                    <a:lnTo>
                      <a:pt x="72405" y="57076"/>
                    </a:lnTo>
                    <a:cubicBezTo>
                      <a:pt x="70222" y="65162"/>
                      <a:pt x="66179" y="71438"/>
                      <a:pt x="60275" y="75903"/>
                    </a:cubicBezTo>
                    <a:cubicBezTo>
                      <a:pt x="54372" y="80368"/>
                      <a:pt x="46831" y="82600"/>
                      <a:pt x="37654" y="82600"/>
                    </a:cubicBezTo>
                    <a:cubicBezTo>
                      <a:pt x="26095" y="82600"/>
                      <a:pt x="16929" y="79041"/>
                      <a:pt x="10158" y="71922"/>
                    </a:cubicBezTo>
                    <a:cubicBezTo>
                      <a:pt x="3386" y="64803"/>
                      <a:pt x="0" y="54819"/>
                      <a:pt x="0" y="41970"/>
                    </a:cubicBezTo>
                    <a:cubicBezTo>
                      <a:pt x="0" y="28675"/>
                      <a:pt x="3423" y="18356"/>
                      <a:pt x="10269" y="11014"/>
                    </a:cubicBezTo>
                    <a:cubicBezTo>
                      <a:pt x="17115" y="3672"/>
                      <a:pt x="25995" y="0"/>
                      <a:pt x="36909" y="0"/>
                    </a:cubicBezTo>
                    <a:close/>
                    <a:moveTo>
                      <a:pt x="37058" y="11014"/>
                    </a:moveTo>
                    <a:cubicBezTo>
                      <a:pt x="30907" y="11014"/>
                      <a:pt x="25735" y="13073"/>
                      <a:pt x="21543" y="17190"/>
                    </a:cubicBezTo>
                    <a:cubicBezTo>
                      <a:pt x="17351" y="21308"/>
                      <a:pt x="15032" y="26814"/>
                      <a:pt x="14585" y="33710"/>
                    </a:cubicBezTo>
                    <a:lnTo>
                      <a:pt x="58713" y="33710"/>
                    </a:lnTo>
                    <a:cubicBezTo>
                      <a:pt x="58117" y="27062"/>
                      <a:pt x="56431" y="22077"/>
                      <a:pt x="53653" y="18753"/>
                    </a:cubicBezTo>
                    <a:cubicBezTo>
                      <a:pt x="49386" y="13593"/>
                      <a:pt x="43855" y="11014"/>
                      <a:pt x="37058" y="1101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45" name="Freihandform: Form 2944">
                <a:extLst>
                  <a:ext uri="{FF2B5EF4-FFF2-40B4-BE49-F238E27FC236}">
                    <a16:creationId xmlns:a16="http://schemas.microsoft.com/office/drawing/2014/main" id="{84752257-BB5E-A4E5-88DB-74DCC84C782A}"/>
                  </a:ext>
                </a:extLst>
              </p:cNvPr>
              <p:cNvSpPr/>
              <p:nvPr/>
            </p:nvSpPr>
            <p:spPr>
              <a:xfrm>
                <a:off x="9729356" y="1506496"/>
                <a:ext cx="64219" cy="80814"/>
              </a:xfrm>
              <a:custGeom>
                <a:avLst/>
                <a:gdLst/>
                <a:ahLst/>
                <a:cxnLst/>
                <a:rect l="l" t="t" r="r" b="b"/>
                <a:pathLst>
                  <a:path w="64219" h="80814">
                    <a:moveTo>
                      <a:pt x="37207" y="0"/>
                    </a:moveTo>
                    <a:cubicBezTo>
                      <a:pt x="41969" y="0"/>
                      <a:pt x="46347" y="856"/>
                      <a:pt x="50341" y="2568"/>
                    </a:cubicBezTo>
                    <a:cubicBezTo>
                      <a:pt x="54335" y="4279"/>
                      <a:pt x="57324" y="6524"/>
                      <a:pt x="59308" y="9302"/>
                    </a:cubicBezTo>
                    <a:cubicBezTo>
                      <a:pt x="61292" y="12080"/>
                      <a:pt x="62681" y="15379"/>
                      <a:pt x="63475" y="19199"/>
                    </a:cubicBezTo>
                    <a:cubicBezTo>
                      <a:pt x="63971" y="21680"/>
                      <a:pt x="64219" y="26021"/>
                      <a:pt x="64219" y="32222"/>
                    </a:cubicBezTo>
                    <a:lnTo>
                      <a:pt x="64219" y="80814"/>
                    </a:lnTo>
                    <a:lnTo>
                      <a:pt x="50825" y="80814"/>
                    </a:lnTo>
                    <a:lnTo>
                      <a:pt x="50825" y="32743"/>
                    </a:lnTo>
                    <a:cubicBezTo>
                      <a:pt x="50825" y="27286"/>
                      <a:pt x="50304" y="23205"/>
                      <a:pt x="49262" y="20502"/>
                    </a:cubicBezTo>
                    <a:cubicBezTo>
                      <a:pt x="48220" y="17798"/>
                      <a:pt x="46372" y="15640"/>
                      <a:pt x="43718" y="14028"/>
                    </a:cubicBezTo>
                    <a:cubicBezTo>
                      <a:pt x="41064" y="12415"/>
                      <a:pt x="37951" y="11609"/>
                      <a:pt x="34379" y="11609"/>
                    </a:cubicBezTo>
                    <a:cubicBezTo>
                      <a:pt x="28674" y="11609"/>
                      <a:pt x="23750" y="13420"/>
                      <a:pt x="19608" y="17041"/>
                    </a:cubicBezTo>
                    <a:cubicBezTo>
                      <a:pt x="15466" y="20663"/>
                      <a:pt x="13394" y="27534"/>
                      <a:pt x="13394" y="37654"/>
                    </a:cubicBezTo>
                    <a:lnTo>
                      <a:pt x="13394" y="80814"/>
                    </a:lnTo>
                    <a:lnTo>
                      <a:pt x="0" y="80814"/>
                    </a:lnTo>
                    <a:lnTo>
                      <a:pt x="0" y="1786"/>
                    </a:lnTo>
                    <a:lnTo>
                      <a:pt x="12055" y="1786"/>
                    </a:lnTo>
                    <a:lnTo>
                      <a:pt x="12055" y="13023"/>
                    </a:lnTo>
                    <a:cubicBezTo>
                      <a:pt x="17859" y="4341"/>
                      <a:pt x="26243" y="0"/>
                      <a:pt x="3720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46" name="Freihandform: Form 2945">
                <a:extLst>
                  <a:ext uri="{FF2B5EF4-FFF2-40B4-BE49-F238E27FC236}">
                    <a16:creationId xmlns:a16="http://schemas.microsoft.com/office/drawing/2014/main" id="{69F50216-C879-CEC5-7444-46BDF5528C13}"/>
                  </a:ext>
                </a:extLst>
              </p:cNvPr>
              <p:cNvSpPr/>
              <p:nvPr/>
            </p:nvSpPr>
            <p:spPr>
              <a:xfrm>
                <a:off x="9800198" y="1506496"/>
                <a:ext cx="65633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65633" h="82600">
                    <a:moveTo>
                      <a:pt x="31328" y="0"/>
                    </a:moveTo>
                    <a:cubicBezTo>
                      <a:pt x="37530" y="0"/>
                      <a:pt x="42974" y="893"/>
                      <a:pt x="47662" y="2679"/>
                    </a:cubicBezTo>
                    <a:cubicBezTo>
                      <a:pt x="52350" y="4465"/>
                      <a:pt x="55811" y="6884"/>
                      <a:pt x="58043" y="9935"/>
                    </a:cubicBezTo>
                    <a:cubicBezTo>
                      <a:pt x="60275" y="12986"/>
                      <a:pt x="61813" y="17066"/>
                      <a:pt x="62657" y="22176"/>
                    </a:cubicBezTo>
                    <a:lnTo>
                      <a:pt x="49560" y="23962"/>
                    </a:lnTo>
                    <a:cubicBezTo>
                      <a:pt x="48965" y="19894"/>
                      <a:pt x="47241" y="16719"/>
                      <a:pt x="44388" y="14437"/>
                    </a:cubicBezTo>
                    <a:cubicBezTo>
                      <a:pt x="41536" y="12155"/>
                      <a:pt x="37505" y="11014"/>
                      <a:pt x="32296" y="11014"/>
                    </a:cubicBezTo>
                    <a:cubicBezTo>
                      <a:pt x="26144" y="11014"/>
                      <a:pt x="21754" y="12031"/>
                      <a:pt x="19125" y="14065"/>
                    </a:cubicBezTo>
                    <a:cubicBezTo>
                      <a:pt x="16495" y="16099"/>
                      <a:pt x="15181" y="18480"/>
                      <a:pt x="15181" y="21208"/>
                    </a:cubicBezTo>
                    <a:cubicBezTo>
                      <a:pt x="15181" y="22945"/>
                      <a:pt x="15726" y="24508"/>
                      <a:pt x="16818" y="25897"/>
                    </a:cubicBezTo>
                    <a:cubicBezTo>
                      <a:pt x="17909" y="27335"/>
                      <a:pt x="19621" y="28526"/>
                      <a:pt x="21952" y="29468"/>
                    </a:cubicBezTo>
                    <a:cubicBezTo>
                      <a:pt x="23292" y="29965"/>
                      <a:pt x="27236" y="31106"/>
                      <a:pt x="33784" y="32892"/>
                    </a:cubicBezTo>
                    <a:cubicBezTo>
                      <a:pt x="43259" y="35422"/>
                      <a:pt x="49870" y="37493"/>
                      <a:pt x="53615" y="39105"/>
                    </a:cubicBezTo>
                    <a:cubicBezTo>
                      <a:pt x="57361" y="40717"/>
                      <a:pt x="60300" y="43061"/>
                      <a:pt x="62433" y="46137"/>
                    </a:cubicBezTo>
                    <a:cubicBezTo>
                      <a:pt x="64567" y="49213"/>
                      <a:pt x="65633" y="53033"/>
                      <a:pt x="65633" y="57597"/>
                    </a:cubicBezTo>
                    <a:cubicBezTo>
                      <a:pt x="65633" y="62062"/>
                      <a:pt x="64331" y="66266"/>
                      <a:pt x="61727" y="70210"/>
                    </a:cubicBezTo>
                    <a:cubicBezTo>
                      <a:pt x="59122" y="74154"/>
                      <a:pt x="55364" y="77205"/>
                      <a:pt x="50453" y="79363"/>
                    </a:cubicBezTo>
                    <a:cubicBezTo>
                      <a:pt x="45541" y="81521"/>
                      <a:pt x="39985" y="82600"/>
                      <a:pt x="33784" y="82600"/>
                    </a:cubicBezTo>
                    <a:cubicBezTo>
                      <a:pt x="23515" y="82600"/>
                      <a:pt x="15689" y="80467"/>
                      <a:pt x="10306" y="76200"/>
                    </a:cubicBezTo>
                    <a:cubicBezTo>
                      <a:pt x="4924" y="71934"/>
                      <a:pt x="1488" y="65609"/>
                      <a:pt x="0" y="57225"/>
                    </a:cubicBezTo>
                    <a:lnTo>
                      <a:pt x="13246" y="55141"/>
                    </a:lnTo>
                    <a:cubicBezTo>
                      <a:pt x="13990" y="60450"/>
                      <a:pt x="16061" y="64517"/>
                      <a:pt x="19459" y="67345"/>
                    </a:cubicBezTo>
                    <a:cubicBezTo>
                      <a:pt x="22858" y="70173"/>
                      <a:pt x="27608" y="71587"/>
                      <a:pt x="33710" y="71587"/>
                    </a:cubicBezTo>
                    <a:cubicBezTo>
                      <a:pt x="39861" y="71587"/>
                      <a:pt x="44425" y="70334"/>
                      <a:pt x="47402" y="67829"/>
                    </a:cubicBezTo>
                    <a:cubicBezTo>
                      <a:pt x="50378" y="65324"/>
                      <a:pt x="51867" y="62384"/>
                      <a:pt x="51867" y="59011"/>
                    </a:cubicBezTo>
                    <a:cubicBezTo>
                      <a:pt x="51867" y="55985"/>
                      <a:pt x="50552" y="53603"/>
                      <a:pt x="47923" y="51867"/>
                    </a:cubicBezTo>
                    <a:cubicBezTo>
                      <a:pt x="46087" y="50676"/>
                      <a:pt x="41523" y="49163"/>
                      <a:pt x="34231" y="47328"/>
                    </a:cubicBezTo>
                    <a:cubicBezTo>
                      <a:pt x="24408" y="44847"/>
                      <a:pt x="17599" y="42702"/>
                      <a:pt x="13804" y="40891"/>
                    </a:cubicBezTo>
                    <a:cubicBezTo>
                      <a:pt x="10009" y="39080"/>
                      <a:pt x="7131" y="36575"/>
                      <a:pt x="5172" y="33375"/>
                    </a:cubicBezTo>
                    <a:cubicBezTo>
                      <a:pt x="3212" y="30175"/>
                      <a:pt x="2233" y="26641"/>
                      <a:pt x="2233" y="22771"/>
                    </a:cubicBezTo>
                    <a:cubicBezTo>
                      <a:pt x="2233" y="19249"/>
                      <a:pt x="3039" y="15987"/>
                      <a:pt x="4651" y="12986"/>
                    </a:cubicBezTo>
                    <a:cubicBezTo>
                      <a:pt x="6263" y="9984"/>
                      <a:pt x="8458" y="7491"/>
                      <a:pt x="11237" y="5507"/>
                    </a:cubicBezTo>
                    <a:cubicBezTo>
                      <a:pt x="13320" y="3969"/>
                      <a:pt x="16160" y="2667"/>
                      <a:pt x="19757" y="1600"/>
                    </a:cubicBezTo>
                    <a:cubicBezTo>
                      <a:pt x="23354" y="534"/>
                      <a:pt x="27211" y="0"/>
                      <a:pt x="3132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898" name="Gruppieren 2897">
              <a:extLst>
                <a:ext uri="{FF2B5EF4-FFF2-40B4-BE49-F238E27FC236}">
                  <a16:creationId xmlns:a16="http://schemas.microsoft.com/office/drawing/2014/main" id="{A66B1681-A89D-0FC9-AC57-7A926007A3A6}"/>
                </a:ext>
              </a:extLst>
            </p:cNvPr>
            <p:cNvGrpSpPr/>
            <p:nvPr/>
          </p:nvGrpSpPr>
          <p:grpSpPr>
            <a:xfrm>
              <a:off x="8609694" y="1150356"/>
              <a:ext cx="192117" cy="36587"/>
              <a:chOff x="9426491" y="1916370"/>
              <a:chExt cx="582215" cy="110877"/>
            </a:xfrm>
          </p:grpSpPr>
          <p:sp>
            <p:nvSpPr>
              <p:cNvPr id="2934" name="Freihandform: Form 2933">
                <a:extLst>
                  <a:ext uri="{FF2B5EF4-FFF2-40B4-BE49-F238E27FC236}">
                    <a16:creationId xmlns:a16="http://schemas.microsoft.com/office/drawing/2014/main" id="{799F21DE-C896-62AC-BC54-06F3D626577A}"/>
                  </a:ext>
                </a:extLst>
              </p:cNvPr>
              <p:cNvSpPr/>
              <p:nvPr/>
            </p:nvSpPr>
            <p:spPr>
              <a:xfrm>
                <a:off x="9426491" y="1916370"/>
                <a:ext cx="96143" cy="109091"/>
              </a:xfrm>
              <a:custGeom>
                <a:avLst/>
                <a:gdLst/>
                <a:ahLst/>
                <a:cxnLst/>
                <a:rect l="l" t="t" r="r" b="b"/>
                <a:pathLst>
                  <a:path w="96143" h="109091">
                    <a:moveTo>
                      <a:pt x="0" y="0"/>
                    </a:moveTo>
                    <a:lnTo>
                      <a:pt x="48369" y="0"/>
                    </a:lnTo>
                    <a:cubicBezTo>
                      <a:pt x="58092" y="0"/>
                      <a:pt x="65484" y="980"/>
                      <a:pt x="70544" y="2939"/>
                    </a:cubicBezTo>
                    <a:cubicBezTo>
                      <a:pt x="75604" y="4899"/>
                      <a:pt x="79648" y="8359"/>
                      <a:pt x="82674" y="13320"/>
                    </a:cubicBezTo>
                    <a:cubicBezTo>
                      <a:pt x="85700" y="18281"/>
                      <a:pt x="87213" y="23763"/>
                      <a:pt x="87213" y="29766"/>
                    </a:cubicBezTo>
                    <a:cubicBezTo>
                      <a:pt x="87213" y="37505"/>
                      <a:pt x="84708" y="44029"/>
                      <a:pt x="79697" y="49337"/>
                    </a:cubicBezTo>
                    <a:cubicBezTo>
                      <a:pt x="74687" y="54645"/>
                      <a:pt x="66948" y="58018"/>
                      <a:pt x="56480" y="59457"/>
                    </a:cubicBezTo>
                    <a:cubicBezTo>
                      <a:pt x="60300" y="61293"/>
                      <a:pt x="63202" y="63103"/>
                      <a:pt x="65186" y="64889"/>
                    </a:cubicBezTo>
                    <a:cubicBezTo>
                      <a:pt x="69403" y="68759"/>
                      <a:pt x="73397" y="73596"/>
                      <a:pt x="77167" y="79400"/>
                    </a:cubicBezTo>
                    <a:lnTo>
                      <a:pt x="96143" y="109091"/>
                    </a:lnTo>
                    <a:lnTo>
                      <a:pt x="77986" y="109091"/>
                    </a:lnTo>
                    <a:lnTo>
                      <a:pt x="63549" y="86395"/>
                    </a:lnTo>
                    <a:cubicBezTo>
                      <a:pt x="59332" y="79846"/>
                      <a:pt x="55860" y="74836"/>
                      <a:pt x="53131" y="71363"/>
                    </a:cubicBezTo>
                    <a:cubicBezTo>
                      <a:pt x="50403" y="67891"/>
                      <a:pt x="47960" y="65460"/>
                      <a:pt x="45802" y="64071"/>
                    </a:cubicBezTo>
                    <a:cubicBezTo>
                      <a:pt x="43644" y="62682"/>
                      <a:pt x="41448" y="61714"/>
                      <a:pt x="39216" y="61169"/>
                    </a:cubicBezTo>
                    <a:cubicBezTo>
                      <a:pt x="37579" y="60821"/>
                      <a:pt x="34900" y="60648"/>
                      <a:pt x="31179" y="60648"/>
                    </a:cubicBezTo>
                    <a:lnTo>
                      <a:pt x="14436" y="60648"/>
                    </a:lnTo>
                    <a:lnTo>
                      <a:pt x="14436" y="109091"/>
                    </a:lnTo>
                    <a:lnTo>
                      <a:pt x="0" y="109091"/>
                    </a:lnTo>
                    <a:lnTo>
                      <a:pt x="0" y="0"/>
                    </a:lnTo>
                    <a:close/>
                    <a:moveTo>
                      <a:pt x="14436" y="12055"/>
                    </a:moveTo>
                    <a:lnTo>
                      <a:pt x="14436" y="48146"/>
                    </a:lnTo>
                    <a:lnTo>
                      <a:pt x="45467" y="48146"/>
                    </a:lnTo>
                    <a:cubicBezTo>
                      <a:pt x="52065" y="48146"/>
                      <a:pt x="57224" y="47464"/>
                      <a:pt x="60945" y="46100"/>
                    </a:cubicBezTo>
                    <a:cubicBezTo>
                      <a:pt x="64665" y="44735"/>
                      <a:pt x="67493" y="42553"/>
                      <a:pt x="69428" y="39551"/>
                    </a:cubicBezTo>
                    <a:cubicBezTo>
                      <a:pt x="71363" y="36550"/>
                      <a:pt x="72330" y="33288"/>
                      <a:pt x="72330" y="29766"/>
                    </a:cubicBezTo>
                    <a:cubicBezTo>
                      <a:pt x="72330" y="24606"/>
                      <a:pt x="70457" y="20365"/>
                      <a:pt x="66712" y="17041"/>
                    </a:cubicBezTo>
                    <a:cubicBezTo>
                      <a:pt x="62966" y="13717"/>
                      <a:pt x="57050" y="12055"/>
                      <a:pt x="48964" y="12055"/>
                    </a:cubicBezTo>
                    <a:lnTo>
                      <a:pt x="14436" y="1205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35" name="Freihandform: Form 2934">
                <a:extLst>
                  <a:ext uri="{FF2B5EF4-FFF2-40B4-BE49-F238E27FC236}">
                    <a16:creationId xmlns:a16="http://schemas.microsoft.com/office/drawing/2014/main" id="{431A612C-EE4A-6B75-BE7E-7890664CA3C6}"/>
                  </a:ext>
                </a:extLst>
              </p:cNvPr>
              <p:cNvSpPr/>
              <p:nvPr/>
            </p:nvSpPr>
            <p:spPr>
              <a:xfrm>
                <a:off x="9529330" y="1916370"/>
                <a:ext cx="64368" cy="109091"/>
              </a:xfrm>
              <a:custGeom>
                <a:avLst/>
                <a:gdLst/>
                <a:ahLst/>
                <a:cxnLst/>
                <a:rect l="l" t="t" r="r" b="b"/>
                <a:pathLst>
                  <a:path w="64368" h="109091">
                    <a:moveTo>
                      <a:pt x="0" y="0"/>
                    </a:moveTo>
                    <a:lnTo>
                      <a:pt x="13394" y="0"/>
                    </a:lnTo>
                    <a:lnTo>
                      <a:pt x="13394" y="39142"/>
                    </a:lnTo>
                    <a:cubicBezTo>
                      <a:pt x="19645" y="31899"/>
                      <a:pt x="27533" y="28277"/>
                      <a:pt x="37058" y="28277"/>
                    </a:cubicBezTo>
                    <a:cubicBezTo>
                      <a:pt x="42912" y="28277"/>
                      <a:pt x="47997" y="29431"/>
                      <a:pt x="52313" y="31738"/>
                    </a:cubicBezTo>
                    <a:cubicBezTo>
                      <a:pt x="56629" y="34045"/>
                      <a:pt x="59717" y="37232"/>
                      <a:pt x="61578" y="41300"/>
                    </a:cubicBezTo>
                    <a:cubicBezTo>
                      <a:pt x="63438" y="45368"/>
                      <a:pt x="64368" y="51271"/>
                      <a:pt x="64368" y="59011"/>
                    </a:cubicBezTo>
                    <a:lnTo>
                      <a:pt x="64368" y="109091"/>
                    </a:lnTo>
                    <a:lnTo>
                      <a:pt x="50974" y="109091"/>
                    </a:lnTo>
                    <a:lnTo>
                      <a:pt x="50974" y="59011"/>
                    </a:lnTo>
                    <a:cubicBezTo>
                      <a:pt x="50974" y="52313"/>
                      <a:pt x="49522" y="47439"/>
                      <a:pt x="46620" y="44388"/>
                    </a:cubicBezTo>
                    <a:cubicBezTo>
                      <a:pt x="43718" y="41337"/>
                      <a:pt x="39613" y="39812"/>
                      <a:pt x="34305" y="39812"/>
                    </a:cubicBezTo>
                    <a:cubicBezTo>
                      <a:pt x="30336" y="39812"/>
                      <a:pt x="26603" y="40841"/>
                      <a:pt x="23105" y="42900"/>
                    </a:cubicBezTo>
                    <a:cubicBezTo>
                      <a:pt x="19608" y="44959"/>
                      <a:pt x="17115" y="47749"/>
                      <a:pt x="15627" y="51271"/>
                    </a:cubicBezTo>
                    <a:cubicBezTo>
                      <a:pt x="14139" y="54794"/>
                      <a:pt x="13394" y="59656"/>
                      <a:pt x="13394" y="65857"/>
                    </a:cubicBezTo>
                    <a:lnTo>
                      <a:pt x="13394" y="109091"/>
                    </a:lnTo>
                    <a:lnTo>
                      <a:pt x="0" y="1090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36" name="Freihandform: Form 2935">
                <a:extLst>
                  <a:ext uri="{FF2B5EF4-FFF2-40B4-BE49-F238E27FC236}">
                    <a16:creationId xmlns:a16="http://schemas.microsoft.com/office/drawing/2014/main" id="{6427FAA2-FF5D-0728-D753-A02A0B18C215}"/>
                  </a:ext>
                </a:extLst>
              </p:cNvPr>
              <p:cNvSpPr/>
              <p:nvPr/>
            </p:nvSpPr>
            <p:spPr>
              <a:xfrm>
                <a:off x="9686419" y="1916370"/>
                <a:ext cx="68535" cy="110877"/>
              </a:xfrm>
              <a:custGeom>
                <a:avLst/>
                <a:gdLst/>
                <a:ahLst/>
                <a:cxnLst/>
                <a:rect l="l" t="t" r="r" b="b"/>
                <a:pathLst>
                  <a:path w="68535" h="110877">
                    <a:moveTo>
                      <a:pt x="55215" y="0"/>
                    </a:moveTo>
                    <a:lnTo>
                      <a:pt x="68535" y="0"/>
                    </a:lnTo>
                    <a:lnTo>
                      <a:pt x="68535" y="109091"/>
                    </a:lnTo>
                    <a:lnTo>
                      <a:pt x="56108" y="109091"/>
                    </a:lnTo>
                    <a:lnTo>
                      <a:pt x="56108" y="99120"/>
                    </a:lnTo>
                    <a:cubicBezTo>
                      <a:pt x="51098" y="106958"/>
                      <a:pt x="43731" y="110877"/>
                      <a:pt x="34007" y="110877"/>
                    </a:cubicBezTo>
                    <a:cubicBezTo>
                      <a:pt x="27707" y="110877"/>
                      <a:pt x="21915" y="109141"/>
                      <a:pt x="16632" y="105668"/>
                    </a:cubicBezTo>
                    <a:cubicBezTo>
                      <a:pt x="11348" y="102195"/>
                      <a:pt x="7255" y="97346"/>
                      <a:pt x="4353" y="91120"/>
                    </a:cubicBezTo>
                    <a:cubicBezTo>
                      <a:pt x="1451" y="84894"/>
                      <a:pt x="0" y="77738"/>
                      <a:pt x="0" y="69652"/>
                    </a:cubicBezTo>
                    <a:cubicBezTo>
                      <a:pt x="0" y="61764"/>
                      <a:pt x="1315" y="54608"/>
                      <a:pt x="3944" y="48183"/>
                    </a:cubicBezTo>
                    <a:cubicBezTo>
                      <a:pt x="6573" y="41759"/>
                      <a:pt x="10517" y="36835"/>
                      <a:pt x="15776" y="33412"/>
                    </a:cubicBezTo>
                    <a:cubicBezTo>
                      <a:pt x="21034" y="29989"/>
                      <a:pt x="26913" y="28277"/>
                      <a:pt x="33412" y="28277"/>
                    </a:cubicBezTo>
                    <a:cubicBezTo>
                      <a:pt x="38174" y="28277"/>
                      <a:pt x="42416" y="29282"/>
                      <a:pt x="46137" y="31291"/>
                    </a:cubicBezTo>
                    <a:cubicBezTo>
                      <a:pt x="49857" y="33300"/>
                      <a:pt x="52884" y="35917"/>
                      <a:pt x="55215" y="39142"/>
                    </a:cubicBezTo>
                    <a:lnTo>
                      <a:pt x="55215" y="0"/>
                    </a:lnTo>
                    <a:close/>
                    <a:moveTo>
                      <a:pt x="34677" y="39365"/>
                    </a:moveTo>
                    <a:cubicBezTo>
                      <a:pt x="28724" y="39365"/>
                      <a:pt x="23750" y="41796"/>
                      <a:pt x="19757" y="46658"/>
                    </a:cubicBezTo>
                    <a:cubicBezTo>
                      <a:pt x="15763" y="51520"/>
                      <a:pt x="13767" y="59184"/>
                      <a:pt x="13767" y="69652"/>
                    </a:cubicBezTo>
                    <a:cubicBezTo>
                      <a:pt x="13767" y="79772"/>
                      <a:pt x="15900" y="87338"/>
                      <a:pt x="20166" y="92348"/>
                    </a:cubicBezTo>
                    <a:cubicBezTo>
                      <a:pt x="24433" y="97359"/>
                      <a:pt x="29468" y="99864"/>
                      <a:pt x="35272" y="99864"/>
                    </a:cubicBezTo>
                    <a:cubicBezTo>
                      <a:pt x="41126" y="99864"/>
                      <a:pt x="46100" y="97470"/>
                      <a:pt x="50192" y="92683"/>
                    </a:cubicBezTo>
                    <a:cubicBezTo>
                      <a:pt x="54285" y="87896"/>
                      <a:pt x="56331" y="80591"/>
                      <a:pt x="56331" y="70768"/>
                    </a:cubicBezTo>
                    <a:cubicBezTo>
                      <a:pt x="56331" y="59953"/>
                      <a:pt x="54248" y="52016"/>
                      <a:pt x="50081" y="46955"/>
                    </a:cubicBezTo>
                    <a:cubicBezTo>
                      <a:pt x="45913" y="41895"/>
                      <a:pt x="40779" y="39365"/>
                      <a:pt x="34677" y="3936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37" name="Freihandform: Form 2936">
                <a:extLst>
                  <a:ext uri="{FF2B5EF4-FFF2-40B4-BE49-F238E27FC236}">
                    <a16:creationId xmlns:a16="http://schemas.microsoft.com/office/drawing/2014/main" id="{9DA73BC3-46AD-E14C-4051-256FE082F21B}"/>
                  </a:ext>
                </a:extLst>
              </p:cNvPr>
              <p:cNvSpPr/>
              <p:nvPr/>
            </p:nvSpPr>
            <p:spPr>
              <a:xfrm>
                <a:off x="9600544" y="1944646"/>
                <a:ext cx="74042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4042" h="82600">
                    <a:moveTo>
                      <a:pt x="37058" y="0"/>
                    </a:moveTo>
                    <a:cubicBezTo>
                      <a:pt x="47923" y="0"/>
                      <a:pt x="56803" y="3560"/>
                      <a:pt x="63699" y="10679"/>
                    </a:cubicBezTo>
                    <a:cubicBezTo>
                      <a:pt x="70594" y="17798"/>
                      <a:pt x="74042" y="27633"/>
                      <a:pt x="74042" y="40184"/>
                    </a:cubicBezTo>
                    <a:cubicBezTo>
                      <a:pt x="74042" y="50354"/>
                      <a:pt x="72517" y="58354"/>
                      <a:pt x="69466" y="64183"/>
                    </a:cubicBezTo>
                    <a:cubicBezTo>
                      <a:pt x="66415" y="70012"/>
                      <a:pt x="61975" y="74539"/>
                      <a:pt x="56146" y="77763"/>
                    </a:cubicBezTo>
                    <a:cubicBezTo>
                      <a:pt x="50316" y="80988"/>
                      <a:pt x="43954" y="82600"/>
                      <a:pt x="37058" y="82600"/>
                    </a:cubicBezTo>
                    <a:cubicBezTo>
                      <a:pt x="25995" y="82600"/>
                      <a:pt x="17053" y="79053"/>
                      <a:pt x="10232" y="71959"/>
                    </a:cubicBezTo>
                    <a:cubicBezTo>
                      <a:pt x="3411" y="64865"/>
                      <a:pt x="0" y="54645"/>
                      <a:pt x="0" y="41300"/>
                    </a:cubicBezTo>
                    <a:cubicBezTo>
                      <a:pt x="0" y="26666"/>
                      <a:pt x="4068" y="15826"/>
                      <a:pt x="12204" y="8781"/>
                    </a:cubicBezTo>
                    <a:cubicBezTo>
                      <a:pt x="19001" y="2927"/>
                      <a:pt x="27285" y="0"/>
                      <a:pt x="37058" y="0"/>
                    </a:cubicBezTo>
                    <a:close/>
                    <a:moveTo>
                      <a:pt x="37058" y="11088"/>
                    </a:moveTo>
                    <a:cubicBezTo>
                      <a:pt x="30361" y="11088"/>
                      <a:pt x="24805" y="13594"/>
                      <a:pt x="20390" y="18604"/>
                    </a:cubicBezTo>
                    <a:cubicBezTo>
                      <a:pt x="15974" y="23615"/>
                      <a:pt x="13767" y="31180"/>
                      <a:pt x="13767" y="41300"/>
                    </a:cubicBezTo>
                    <a:cubicBezTo>
                      <a:pt x="13767" y="51421"/>
                      <a:pt x="15974" y="58998"/>
                      <a:pt x="20390" y="64034"/>
                    </a:cubicBezTo>
                    <a:cubicBezTo>
                      <a:pt x="24805" y="69069"/>
                      <a:pt x="30361" y="71587"/>
                      <a:pt x="37058" y="71587"/>
                    </a:cubicBezTo>
                    <a:cubicBezTo>
                      <a:pt x="43706" y="71587"/>
                      <a:pt x="49237" y="69057"/>
                      <a:pt x="53653" y="63997"/>
                    </a:cubicBezTo>
                    <a:cubicBezTo>
                      <a:pt x="58068" y="58936"/>
                      <a:pt x="60276" y="51222"/>
                      <a:pt x="60276" y="40854"/>
                    </a:cubicBezTo>
                    <a:cubicBezTo>
                      <a:pt x="60276" y="31081"/>
                      <a:pt x="58056" y="23677"/>
                      <a:pt x="53615" y="18641"/>
                    </a:cubicBezTo>
                    <a:cubicBezTo>
                      <a:pt x="49175" y="13606"/>
                      <a:pt x="43656" y="11088"/>
                      <a:pt x="37058" y="11088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38" name="Freihandform: Form 2937">
                <a:extLst>
                  <a:ext uri="{FF2B5EF4-FFF2-40B4-BE49-F238E27FC236}">
                    <a16:creationId xmlns:a16="http://schemas.microsoft.com/office/drawing/2014/main" id="{69A85244-1ADD-95CB-315B-FF1DB6FA1CDD}"/>
                  </a:ext>
                </a:extLst>
              </p:cNvPr>
              <p:cNvSpPr/>
              <p:nvPr/>
            </p:nvSpPr>
            <p:spPr>
              <a:xfrm>
                <a:off x="9771994" y="1944646"/>
                <a:ext cx="74042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4042" h="82600">
                    <a:moveTo>
                      <a:pt x="37058" y="0"/>
                    </a:moveTo>
                    <a:cubicBezTo>
                      <a:pt x="47923" y="0"/>
                      <a:pt x="56803" y="3560"/>
                      <a:pt x="63699" y="10679"/>
                    </a:cubicBezTo>
                    <a:cubicBezTo>
                      <a:pt x="70594" y="17798"/>
                      <a:pt x="74042" y="27633"/>
                      <a:pt x="74042" y="40184"/>
                    </a:cubicBezTo>
                    <a:cubicBezTo>
                      <a:pt x="74042" y="50354"/>
                      <a:pt x="72517" y="58354"/>
                      <a:pt x="69466" y="64183"/>
                    </a:cubicBezTo>
                    <a:cubicBezTo>
                      <a:pt x="66415" y="70012"/>
                      <a:pt x="61975" y="74539"/>
                      <a:pt x="56146" y="77763"/>
                    </a:cubicBezTo>
                    <a:cubicBezTo>
                      <a:pt x="50316" y="80988"/>
                      <a:pt x="43954" y="82600"/>
                      <a:pt x="37058" y="82600"/>
                    </a:cubicBezTo>
                    <a:cubicBezTo>
                      <a:pt x="25995" y="82600"/>
                      <a:pt x="17053" y="79053"/>
                      <a:pt x="10232" y="71959"/>
                    </a:cubicBezTo>
                    <a:cubicBezTo>
                      <a:pt x="3411" y="64865"/>
                      <a:pt x="0" y="54645"/>
                      <a:pt x="0" y="41300"/>
                    </a:cubicBezTo>
                    <a:cubicBezTo>
                      <a:pt x="0" y="26666"/>
                      <a:pt x="4068" y="15826"/>
                      <a:pt x="12204" y="8781"/>
                    </a:cubicBezTo>
                    <a:cubicBezTo>
                      <a:pt x="19001" y="2927"/>
                      <a:pt x="27285" y="0"/>
                      <a:pt x="37058" y="0"/>
                    </a:cubicBezTo>
                    <a:close/>
                    <a:moveTo>
                      <a:pt x="37058" y="11088"/>
                    </a:moveTo>
                    <a:cubicBezTo>
                      <a:pt x="30361" y="11088"/>
                      <a:pt x="24805" y="13594"/>
                      <a:pt x="20390" y="18604"/>
                    </a:cubicBezTo>
                    <a:cubicBezTo>
                      <a:pt x="15974" y="23615"/>
                      <a:pt x="13767" y="31180"/>
                      <a:pt x="13767" y="41300"/>
                    </a:cubicBezTo>
                    <a:cubicBezTo>
                      <a:pt x="13767" y="51421"/>
                      <a:pt x="15974" y="58998"/>
                      <a:pt x="20390" y="64034"/>
                    </a:cubicBezTo>
                    <a:cubicBezTo>
                      <a:pt x="24805" y="69069"/>
                      <a:pt x="30361" y="71587"/>
                      <a:pt x="37058" y="71587"/>
                    </a:cubicBezTo>
                    <a:cubicBezTo>
                      <a:pt x="43706" y="71587"/>
                      <a:pt x="49237" y="69057"/>
                      <a:pt x="53653" y="63997"/>
                    </a:cubicBezTo>
                    <a:cubicBezTo>
                      <a:pt x="58068" y="58936"/>
                      <a:pt x="60276" y="51222"/>
                      <a:pt x="60276" y="40854"/>
                    </a:cubicBezTo>
                    <a:cubicBezTo>
                      <a:pt x="60276" y="31081"/>
                      <a:pt x="58056" y="23677"/>
                      <a:pt x="53616" y="18641"/>
                    </a:cubicBezTo>
                    <a:cubicBezTo>
                      <a:pt x="49175" y="13606"/>
                      <a:pt x="43656" y="11088"/>
                      <a:pt x="37058" y="11088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39" name="Freihandform: Form 2938">
                <a:extLst>
                  <a:ext uri="{FF2B5EF4-FFF2-40B4-BE49-F238E27FC236}">
                    <a16:creationId xmlns:a16="http://schemas.microsoft.com/office/drawing/2014/main" id="{29F2F7D5-488C-35D3-18CE-6EED37828146}"/>
                  </a:ext>
                </a:extLst>
              </p:cNvPr>
              <p:cNvSpPr/>
              <p:nvPr/>
            </p:nvSpPr>
            <p:spPr>
              <a:xfrm>
                <a:off x="9858241" y="1944646"/>
                <a:ext cx="72851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2851" h="82600">
                    <a:moveTo>
                      <a:pt x="36909" y="0"/>
                    </a:moveTo>
                    <a:cubicBezTo>
                      <a:pt x="47476" y="0"/>
                      <a:pt x="56108" y="3597"/>
                      <a:pt x="62806" y="10791"/>
                    </a:cubicBezTo>
                    <a:cubicBezTo>
                      <a:pt x="69503" y="17984"/>
                      <a:pt x="72851" y="28104"/>
                      <a:pt x="72851" y="41152"/>
                    </a:cubicBezTo>
                    <a:cubicBezTo>
                      <a:pt x="72851" y="41945"/>
                      <a:pt x="72827" y="43136"/>
                      <a:pt x="72777" y="44723"/>
                    </a:cubicBezTo>
                    <a:lnTo>
                      <a:pt x="13841" y="44723"/>
                    </a:lnTo>
                    <a:cubicBezTo>
                      <a:pt x="14337" y="53405"/>
                      <a:pt x="16793" y="60053"/>
                      <a:pt x="21208" y="64666"/>
                    </a:cubicBezTo>
                    <a:cubicBezTo>
                      <a:pt x="25623" y="69280"/>
                      <a:pt x="31130" y="71587"/>
                      <a:pt x="37728" y="71587"/>
                    </a:cubicBezTo>
                    <a:cubicBezTo>
                      <a:pt x="42639" y="71587"/>
                      <a:pt x="46831" y="70297"/>
                      <a:pt x="50304" y="67717"/>
                    </a:cubicBezTo>
                    <a:cubicBezTo>
                      <a:pt x="53777" y="65138"/>
                      <a:pt x="56530" y="61020"/>
                      <a:pt x="58564" y="55365"/>
                    </a:cubicBezTo>
                    <a:lnTo>
                      <a:pt x="72405" y="57076"/>
                    </a:lnTo>
                    <a:cubicBezTo>
                      <a:pt x="70222" y="65162"/>
                      <a:pt x="66179" y="71438"/>
                      <a:pt x="60275" y="75903"/>
                    </a:cubicBezTo>
                    <a:cubicBezTo>
                      <a:pt x="54372" y="80368"/>
                      <a:pt x="46831" y="82600"/>
                      <a:pt x="37654" y="82600"/>
                    </a:cubicBezTo>
                    <a:cubicBezTo>
                      <a:pt x="26095" y="82600"/>
                      <a:pt x="16929" y="79041"/>
                      <a:pt x="10158" y="71922"/>
                    </a:cubicBezTo>
                    <a:cubicBezTo>
                      <a:pt x="3386" y="64803"/>
                      <a:pt x="0" y="54819"/>
                      <a:pt x="0" y="41970"/>
                    </a:cubicBezTo>
                    <a:cubicBezTo>
                      <a:pt x="0" y="28675"/>
                      <a:pt x="3423" y="18356"/>
                      <a:pt x="10269" y="11014"/>
                    </a:cubicBezTo>
                    <a:cubicBezTo>
                      <a:pt x="17115" y="3672"/>
                      <a:pt x="25995" y="0"/>
                      <a:pt x="36909" y="0"/>
                    </a:cubicBezTo>
                    <a:close/>
                    <a:moveTo>
                      <a:pt x="37058" y="11014"/>
                    </a:moveTo>
                    <a:cubicBezTo>
                      <a:pt x="30907" y="11014"/>
                      <a:pt x="25735" y="13073"/>
                      <a:pt x="21543" y="17190"/>
                    </a:cubicBezTo>
                    <a:cubicBezTo>
                      <a:pt x="17351" y="21308"/>
                      <a:pt x="15032" y="26814"/>
                      <a:pt x="14585" y="33710"/>
                    </a:cubicBezTo>
                    <a:lnTo>
                      <a:pt x="58713" y="33710"/>
                    </a:lnTo>
                    <a:cubicBezTo>
                      <a:pt x="58117" y="27062"/>
                      <a:pt x="56431" y="22077"/>
                      <a:pt x="53653" y="18753"/>
                    </a:cubicBezTo>
                    <a:cubicBezTo>
                      <a:pt x="49386" y="13594"/>
                      <a:pt x="43855" y="11014"/>
                      <a:pt x="37058" y="1101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40" name="Freihandform: Form 2939">
                <a:extLst>
                  <a:ext uri="{FF2B5EF4-FFF2-40B4-BE49-F238E27FC236}">
                    <a16:creationId xmlns:a16="http://schemas.microsoft.com/office/drawing/2014/main" id="{02B736EB-BAC2-E6CE-CED9-37CF75D2373F}"/>
                  </a:ext>
                </a:extLst>
              </p:cNvPr>
              <p:cNvSpPr/>
              <p:nvPr/>
            </p:nvSpPr>
            <p:spPr>
              <a:xfrm>
                <a:off x="9943073" y="1944646"/>
                <a:ext cx="65633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65633" h="82600">
                    <a:moveTo>
                      <a:pt x="31328" y="0"/>
                    </a:moveTo>
                    <a:cubicBezTo>
                      <a:pt x="37530" y="0"/>
                      <a:pt x="42974" y="893"/>
                      <a:pt x="47662" y="2679"/>
                    </a:cubicBezTo>
                    <a:cubicBezTo>
                      <a:pt x="52350" y="4465"/>
                      <a:pt x="55811" y="6884"/>
                      <a:pt x="58043" y="9935"/>
                    </a:cubicBezTo>
                    <a:cubicBezTo>
                      <a:pt x="60276" y="12986"/>
                      <a:pt x="61813" y="17066"/>
                      <a:pt x="62657" y="22176"/>
                    </a:cubicBezTo>
                    <a:lnTo>
                      <a:pt x="49560" y="23962"/>
                    </a:lnTo>
                    <a:cubicBezTo>
                      <a:pt x="48965" y="19894"/>
                      <a:pt x="47241" y="16719"/>
                      <a:pt x="44388" y="14437"/>
                    </a:cubicBezTo>
                    <a:cubicBezTo>
                      <a:pt x="41536" y="12155"/>
                      <a:pt x="37505" y="11014"/>
                      <a:pt x="32296" y="11014"/>
                    </a:cubicBezTo>
                    <a:cubicBezTo>
                      <a:pt x="26144" y="11014"/>
                      <a:pt x="21754" y="12031"/>
                      <a:pt x="19124" y="14065"/>
                    </a:cubicBezTo>
                    <a:cubicBezTo>
                      <a:pt x="16495" y="16099"/>
                      <a:pt x="15181" y="18480"/>
                      <a:pt x="15181" y="21209"/>
                    </a:cubicBezTo>
                    <a:cubicBezTo>
                      <a:pt x="15181" y="22945"/>
                      <a:pt x="15726" y="24508"/>
                      <a:pt x="16818" y="25897"/>
                    </a:cubicBezTo>
                    <a:cubicBezTo>
                      <a:pt x="17909" y="27335"/>
                      <a:pt x="19621" y="28526"/>
                      <a:pt x="21952" y="29469"/>
                    </a:cubicBezTo>
                    <a:cubicBezTo>
                      <a:pt x="23292" y="29965"/>
                      <a:pt x="27236" y="31106"/>
                      <a:pt x="33784" y="32892"/>
                    </a:cubicBezTo>
                    <a:cubicBezTo>
                      <a:pt x="43260" y="35422"/>
                      <a:pt x="49870" y="37493"/>
                      <a:pt x="53615" y="39105"/>
                    </a:cubicBezTo>
                    <a:cubicBezTo>
                      <a:pt x="57361" y="40717"/>
                      <a:pt x="60300" y="43062"/>
                      <a:pt x="62434" y="46137"/>
                    </a:cubicBezTo>
                    <a:cubicBezTo>
                      <a:pt x="64567" y="49213"/>
                      <a:pt x="65633" y="53033"/>
                      <a:pt x="65633" y="57597"/>
                    </a:cubicBezTo>
                    <a:cubicBezTo>
                      <a:pt x="65633" y="62062"/>
                      <a:pt x="64331" y="66266"/>
                      <a:pt x="61727" y="70210"/>
                    </a:cubicBezTo>
                    <a:cubicBezTo>
                      <a:pt x="59122" y="74154"/>
                      <a:pt x="55364" y="77205"/>
                      <a:pt x="50453" y="79363"/>
                    </a:cubicBezTo>
                    <a:cubicBezTo>
                      <a:pt x="45542" y="81521"/>
                      <a:pt x="39985" y="82600"/>
                      <a:pt x="33784" y="82600"/>
                    </a:cubicBezTo>
                    <a:cubicBezTo>
                      <a:pt x="23515" y="82600"/>
                      <a:pt x="15689" y="80467"/>
                      <a:pt x="10306" y="76201"/>
                    </a:cubicBezTo>
                    <a:cubicBezTo>
                      <a:pt x="4924" y="71934"/>
                      <a:pt x="1488" y="65609"/>
                      <a:pt x="0" y="57225"/>
                    </a:cubicBezTo>
                    <a:lnTo>
                      <a:pt x="13246" y="55141"/>
                    </a:lnTo>
                    <a:cubicBezTo>
                      <a:pt x="13990" y="60450"/>
                      <a:pt x="16061" y="64518"/>
                      <a:pt x="19459" y="67345"/>
                    </a:cubicBezTo>
                    <a:cubicBezTo>
                      <a:pt x="22858" y="70173"/>
                      <a:pt x="27608" y="71587"/>
                      <a:pt x="33710" y="71587"/>
                    </a:cubicBezTo>
                    <a:cubicBezTo>
                      <a:pt x="39861" y="71587"/>
                      <a:pt x="44425" y="70334"/>
                      <a:pt x="47402" y="67829"/>
                    </a:cubicBezTo>
                    <a:cubicBezTo>
                      <a:pt x="50378" y="65324"/>
                      <a:pt x="51867" y="62384"/>
                      <a:pt x="51867" y="59011"/>
                    </a:cubicBezTo>
                    <a:cubicBezTo>
                      <a:pt x="51867" y="55985"/>
                      <a:pt x="50552" y="53603"/>
                      <a:pt x="47923" y="51867"/>
                    </a:cubicBezTo>
                    <a:cubicBezTo>
                      <a:pt x="46087" y="50677"/>
                      <a:pt x="41523" y="49163"/>
                      <a:pt x="34231" y="47328"/>
                    </a:cubicBezTo>
                    <a:cubicBezTo>
                      <a:pt x="24408" y="44847"/>
                      <a:pt x="17599" y="42702"/>
                      <a:pt x="13804" y="40891"/>
                    </a:cubicBezTo>
                    <a:cubicBezTo>
                      <a:pt x="10009" y="39080"/>
                      <a:pt x="7131" y="36575"/>
                      <a:pt x="5172" y="33375"/>
                    </a:cubicBezTo>
                    <a:cubicBezTo>
                      <a:pt x="3212" y="30175"/>
                      <a:pt x="2232" y="26641"/>
                      <a:pt x="2232" y="22771"/>
                    </a:cubicBezTo>
                    <a:cubicBezTo>
                      <a:pt x="2232" y="19249"/>
                      <a:pt x="3039" y="15987"/>
                      <a:pt x="4651" y="12986"/>
                    </a:cubicBezTo>
                    <a:cubicBezTo>
                      <a:pt x="6263" y="9984"/>
                      <a:pt x="8458" y="7492"/>
                      <a:pt x="11237" y="5507"/>
                    </a:cubicBezTo>
                    <a:cubicBezTo>
                      <a:pt x="13320" y="3969"/>
                      <a:pt x="16160" y="2667"/>
                      <a:pt x="19757" y="1600"/>
                    </a:cubicBezTo>
                    <a:cubicBezTo>
                      <a:pt x="23354" y="534"/>
                      <a:pt x="27211" y="0"/>
                      <a:pt x="3132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899" name="Gruppieren 2898">
              <a:extLst>
                <a:ext uri="{FF2B5EF4-FFF2-40B4-BE49-F238E27FC236}">
                  <a16:creationId xmlns:a16="http://schemas.microsoft.com/office/drawing/2014/main" id="{A0414ACD-A40D-6420-676B-DC09C5299FCC}"/>
                </a:ext>
              </a:extLst>
            </p:cNvPr>
            <p:cNvGrpSpPr/>
            <p:nvPr/>
          </p:nvGrpSpPr>
          <p:grpSpPr>
            <a:xfrm>
              <a:off x="8106422" y="2030323"/>
              <a:ext cx="172080" cy="36587"/>
              <a:chOff x="9414956" y="2354520"/>
              <a:chExt cx="521494" cy="110877"/>
            </a:xfrm>
          </p:grpSpPr>
          <p:sp>
            <p:nvSpPr>
              <p:cNvPr id="2927" name="Freihandform: Form 2926">
                <a:extLst>
                  <a:ext uri="{FF2B5EF4-FFF2-40B4-BE49-F238E27FC236}">
                    <a16:creationId xmlns:a16="http://schemas.microsoft.com/office/drawing/2014/main" id="{70BFFA6B-973C-5BC2-AAD7-1A9EB8B3D00D}"/>
                  </a:ext>
                </a:extLst>
              </p:cNvPr>
              <p:cNvSpPr/>
              <p:nvPr/>
            </p:nvSpPr>
            <p:spPr>
              <a:xfrm>
                <a:off x="9414956" y="2354520"/>
                <a:ext cx="100013" cy="109091"/>
              </a:xfrm>
              <a:custGeom>
                <a:avLst/>
                <a:gdLst/>
                <a:ahLst/>
                <a:cxnLst/>
                <a:rect l="l" t="t" r="r" b="b"/>
                <a:pathLst>
                  <a:path w="100013" h="109091">
                    <a:moveTo>
                      <a:pt x="0" y="0"/>
                    </a:moveTo>
                    <a:lnTo>
                      <a:pt x="17562" y="0"/>
                    </a:lnTo>
                    <a:lnTo>
                      <a:pt x="39068" y="32891"/>
                    </a:lnTo>
                    <a:cubicBezTo>
                      <a:pt x="43037" y="39043"/>
                      <a:pt x="46733" y="45194"/>
                      <a:pt x="50156" y="51346"/>
                    </a:cubicBezTo>
                    <a:cubicBezTo>
                      <a:pt x="53430" y="45641"/>
                      <a:pt x="57399" y="39216"/>
                      <a:pt x="62062" y="32073"/>
                    </a:cubicBezTo>
                    <a:lnTo>
                      <a:pt x="83195" y="0"/>
                    </a:lnTo>
                    <a:lnTo>
                      <a:pt x="100013" y="0"/>
                    </a:lnTo>
                    <a:lnTo>
                      <a:pt x="56481" y="62880"/>
                    </a:lnTo>
                    <a:lnTo>
                      <a:pt x="56481" y="109091"/>
                    </a:lnTo>
                    <a:lnTo>
                      <a:pt x="42044" y="109091"/>
                    </a:lnTo>
                    <a:lnTo>
                      <a:pt x="42044" y="628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28" name="Freihandform: Form 2927">
                <a:extLst>
                  <a:ext uri="{FF2B5EF4-FFF2-40B4-BE49-F238E27FC236}">
                    <a16:creationId xmlns:a16="http://schemas.microsoft.com/office/drawing/2014/main" id="{63BDAB83-A04C-31B7-0285-4DC3B4FA0AE2}"/>
                  </a:ext>
                </a:extLst>
              </p:cNvPr>
              <p:cNvSpPr/>
              <p:nvPr/>
            </p:nvSpPr>
            <p:spPr>
              <a:xfrm>
                <a:off x="9496291" y="2382798"/>
                <a:ext cx="72851" cy="82599"/>
              </a:xfrm>
              <a:custGeom>
                <a:avLst/>
                <a:gdLst/>
                <a:ahLst/>
                <a:cxnLst/>
                <a:rect l="l" t="t" r="r" b="b"/>
                <a:pathLst>
                  <a:path w="72851" h="82599">
                    <a:moveTo>
                      <a:pt x="36909" y="0"/>
                    </a:moveTo>
                    <a:cubicBezTo>
                      <a:pt x="47476" y="0"/>
                      <a:pt x="56108" y="3596"/>
                      <a:pt x="62806" y="10790"/>
                    </a:cubicBezTo>
                    <a:cubicBezTo>
                      <a:pt x="69503" y="17983"/>
                      <a:pt x="72851" y="28103"/>
                      <a:pt x="72851" y="41150"/>
                    </a:cubicBezTo>
                    <a:cubicBezTo>
                      <a:pt x="72851" y="41944"/>
                      <a:pt x="72827" y="43135"/>
                      <a:pt x="72777" y="44722"/>
                    </a:cubicBezTo>
                    <a:lnTo>
                      <a:pt x="13841" y="44722"/>
                    </a:lnTo>
                    <a:cubicBezTo>
                      <a:pt x="14337" y="53404"/>
                      <a:pt x="16793" y="60052"/>
                      <a:pt x="21208" y="64665"/>
                    </a:cubicBezTo>
                    <a:cubicBezTo>
                      <a:pt x="25623" y="69279"/>
                      <a:pt x="31130" y="71586"/>
                      <a:pt x="37728" y="71586"/>
                    </a:cubicBezTo>
                    <a:cubicBezTo>
                      <a:pt x="42639" y="71586"/>
                      <a:pt x="46831" y="70296"/>
                      <a:pt x="50304" y="67716"/>
                    </a:cubicBezTo>
                    <a:cubicBezTo>
                      <a:pt x="53777" y="65137"/>
                      <a:pt x="56530" y="61019"/>
                      <a:pt x="58564" y="55364"/>
                    </a:cubicBezTo>
                    <a:lnTo>
                      <a:pt x="72405" y="57075"/>
                    </a:lnTo>
                    <a:cubicBezTo>
                      <a:pt x="70222" y="65161"/>
                      <a:pt x="66179" y="71437"/>
                      <a:pt x="60275" y="75902"/>
                    </a:cubicBezTo>
                    <a:cubicBezTo>
                      <a:pt x="54372" y="80367"/>
                      <a:pt x="46831" y="82599"/>
                      <a:pt x="37654" y="82599"/>
                    </a:cubicBezTo>
                    <a:cubicBezTo>
                      <a:pt x="26095" y="82599"/>
                      <a:pt x="16929" y="79040"/>
                      <a:pt x="10158" y="71921"/>
                    </a:cubicBezTo>
                    <a:cubicBezTo>
                      <a:pt x="3386" y="64802"/>
                      <a:pt x="0" y="54818"/>
                      <a:pt x="0" y="41969"/>
                    </a:cubicBezTo>
                    <a:cubicBezTo>
                      <a:pt x="0" y="28674"/>
                      <a:pt x="3423" y="18355"/>
                      <a:pt x="10269" y="11013"/>
                    </a:cubicBezTo>
                    <a:cubicBezTo>
                      <a:pt x="17115" y="3671"/>
                      <a:pt x="25995" y="0"/>
                      <a:pt x="36909" y="0"/>
                    </a:cubicBezTo>
                    <a:close/>
                    <a:moveTo>
                      <a:pt x="37058" y="11013"/>
                    </a:moveTo>
                    <a:cubicBezTo>
                      <a:pt x="30907" y="11013"/>
                      <a:pt x="25735" y="13072"/>
                      <a:pt x="21543" y="17189"/>
                    </a:cubicBezTo>
                    <a:cubicBezTo>
                      <a:pt x="17351" y="21307"/>
                      <a:pt x="15032" y="26813"/>
                      <a:pt x="14585" y="33709"/>
                    </a:cubicBezTo>
                    <a:lnTo>
                      <a:pt x="58713" y="33709"/>
                    </a:lnTo>
                    <a:cubicBezTo>
                      <a:pt x="58117" y="27061"/>
                      <a:pt x="56431" y="22076"/>
                      <a:pt x="53653" y="18752"/>
                    </a:cubicBezTo>
                    <a:cubicBezTo>
                      <a:pt x="49386" y="13592"/>
                      <a:pt x="43855" y="11013"/>
                      <a:pt x="37058" y="1101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29" name="Freihandform: Form 2928">
                <a:extLst>
                  <a:ext uri="{FF2B5EF4-FFF2-40B4-BE49-F238E27FC236}">
                    <a16:creationId xmlns:a16="http://schemas.microsoft.com/office/drawing/2014/main" id="{02870C4C-CD08-6F58-AF98-1C8CE66822C9}"/>
                  </a:ext>
                </a:extLst>
              </p:cNvPr>
              <p:cNvSpPr/>
              <p:nvPr/>
            </p:nvSpPr>
            <p:spPr>
              <a:xfrm>
                <a:off x="9586332" y="2382798"/>
                <a:ext cx="42937" cy="80813"/>
              </a:xfrm>
              <a:custGeom>
                <a:avLst/>
                <a:gdLst/>
                <a:ahLst/>
                <a:cxnLst/>
                <a:rect l="l" t="t" r="r" b="b"/>
                <a:pathLst>
                  <a:path w="42937" h="80813">
                    <a:moveTo>
                      <a:pt x="29170" y="0"/>
                    </a:moveTo>
                    <a:cubicBezTo>
                      <a:pt x="33685" y="0"/>
                      <a:pt x="38274" y="1438"/>
                      <a:pt x="42937" y="4316"/>
                    </a:cubicBezTo>
                    <a:lnTo>
                      <a:pt x="38323" y="16743"/>
                    </a:lnTo>
                    <a:cubicBezTo>
                      <a:pt x="35049" y="14808"/>
                      <a:pt x="31775" y="13841"/>
                      <a:pt x="28501" y="13841"/>
                    </a:cubicBezTo>
                    <a:cubicBezTo>
                      <a:pt x="25574" y="13841"/>
                      <a:pt x="22944" y="14721"/>
                      <a:pt x="20613" y="16482"/>
                    </a:cubicBezTo>
                    <a:cubicBezTo>
                      <a:pt x="18281" y="18243"/>
                      <a:pt x="16619" y="20687"/>
                      <a:pt x="15627" y="23812"/>
                    </a:cubicBezTo>
                    <a:cubicBezTo>
                      <a:pt x="14139" y="28575"/>
                      <a:pt x="13395" y="33783"/>
                      <a:pt x="13395" y="39439"/>
                    </a:cubicBezTo>
                    <a:lnTo>
                      <a:pt x="13395" y="80813"/>
                    </a:lnTo>
                    <a:lnTo>
                      <a:pt x="0" y="80813"/>
                    </a:lnTo>
                    <a:lnTo>
                      <a:pt x="0" y="1785"/>
                    </a:lnTo>
                    <a:lnTo>
                      <a:pt x="12055" y="1785"/>
                    </a:lnTo>
                    <a:lnTo>
                      <a:pt x="12055" y="13766"/>
                    </a:lnTo>
                    <a:cubicBezTo>
                      <a:pt x="15131" y="8160"/>
                      <a:pt x="17971" y="4464"/>
                      <a:pt x="20576" y="2678"/>
                    </a:cubicBezTo>
                    <a:cubicBezTo>
                      <a:pt x="23180" y="892"/>
                      <a:pt x="26045" y="0"/>
                      <a:pt x="2917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30" name="Freihandform: Form 2929">
                <a:extLst>
                  <a:ext uri="{FF2B5EF4-FFF2-40B4-BE49-F238E27FC236}">
                    <a16:creationId xmlns:a16="http://schemas.microsoft.com/office/drawing/2014/main" id="{01034BF2-4812-1A24-888B-9F3D07B5439F}"/>
                  </a:ext>
                </a:extLst>
              </p:cNvPr>
              <p:cNvSpPr/>
              <p:nvPr/>
            </p:nvSpPr>
            <p:spPr>
              <a:xfrm>
                <a:off x="9629641" y="2382798"/>
                <a:ext cx="72851" cy="82599"/>
              </a:xfrm>
              <a:custGeom>
                <a:avLst/>
                <a:gdLst/>
                <a:ahLst/>
                <a:cxnLst/>
                <a:rect l="l" t="t" r="r" b="b"/>
                <a:pathLst>
                  <a:path w="72851" h="82599">
                    <a:moveTo>
                      <a:pt x="36909" y="0"/>
                    </a:moveTo>
                    <a:cubicBezTo>
                      <a:pt x="47476" y="0"/>
                      <a:pt x="56108" y="3596"/>
                      <a:pt x="62806" y="10790"/>
                    </a:cubicBezTo>
                    <a:cubicBezTo>
                      <a:pt x="69503" y="17983"/>
                      <a:pt x="72851" y="28103"/>
                      <a:pt x="72851" y="41150"/>
                    </a:cubicBezTo>
                    <a:cubicBezTo>
                      <a:pt x="72851" y="41944"/>
                      <a:pt x="72827" y="43135"/>
                      <a:pt x="72777" y="44722"/>
                    </a:cubicBezTo>
                    <a:lnTo>
                      <a:pt x="13841" y="44722"/>
                    </a:lnTo>
                    <a:cubicBezTo>
                      <a:pt x="14337" y="53404"/>
                      <a:pt x="16793" y="60052"/>
                      <a:pt x="21208" y="64665"/>
                    </a:cubicBezTo>
                    <a:cubicBezTo>
                      <a:pt x="25623" y="69279"/>
                      <a:pt x="31130" y="71586"/>
                      <a:pt x="37728" y="71586"/>
                    </a:cubicBezTo>
                    <a:cubicBezTo>
                      <a:pt x="42639" y="71586"/>
                      <a:pt x="46831" y="70296"/>
                      <a:pt x="50304" y="67716"/>
                    </a:cubicBezTo>
                    <a:cubicBezTo>
                      <a:pt x="53777" y="65137"/>
                      <a:pt x="56530" y="61019"/>
                      <a:pt x="58564" y="55364"/>
                    </a:cubicBezTo>
                    <a:lnTo>
                      <a:pt x="72405" y="57075"/>
                    </a:lnTo>
                    <a:cubicBezTo>
                      <a:pt x="70222" y="65161"/>
                      <a:pt x="66179" y="71437"/>
                      <a:pt x="60275" y="75902"/>
                    </a:cubicBezTo>
                    <a:cubicBezTo>
                      <a:pt x="54372" y="80367"/>
                      <a:pt x="46831" y="82599"/>
                      <a:pt x="37654" y="82599"/>
                    </a:cubicBezTo>
                    <a:cubicBezTo>
                      <a:pt x="26095" y="82599"/>
                      <a:pt x="16929" y="79040"/>
                      <a:pt x="10158" y="71921"/>
                    </a:cubicBezTo>
                    <a:cubicBezTo>
                      <a:pt x="3386" y="64802"/>
                      <a:pt x="0" y="54818"/>
                      <a:pt x="0" y="41969"/>
                    </a:cubicBezTo>
                    <a:cubicBezTo>
                      <a:pt x="0" y="28674"/>
                      <a:pt x="3423" y="18355"/>
                      <a:pt x="10269" y="11013"/>
                    </a:cubicBezTo>
                    <a:cubicBezTo>
                      <a:pt x="17115" y="3671"/>
                      <a:pt x="25995" y="0"/>
                      <a:pt x="36909" y="0"/>
                    </a:cubicBezTo>
                    <a:close/>
                    <a:moveTo>
                      <a:pt x="37058" y="11013"/>
                    </a:moveTo>
                    <a:cubicBezTo>
                      <a:pt x="30907" y="11013"/>
                      <a:pt x="25735" y="13072"/>
                      <a:pt x="21543" y="17189"/>
                    </a:cubicBezTo>
                    <a:cubicBezTo>
                      <a:pt x="17351" y="21307"/>
                      <a:pt x="15032" y="26813"/>
                      <a:pt x="14585" y="33709"/>
                    </a:cubicBezTo>
                    <a:lnTo>
                      <a:pt x="58713" y="33709"/>
                    </a:lnTo>
                    <a:cubicBezTo>
                      <a:pt x="58117" y="27061"/>
                      <a:pt x="56431" y="22076"/>
                      <a:pt x="53653" y="18752"/>
                    </a:cubicBezTo>
                    <a:cubicBezTo>
                      <a:pt x="49386" y="13592"/>
                      <a:pt x="43855" y="11013"/>
                      <a:pt x="37058" y="1101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31" name="Freihandform: Form 2930">
                <a:extLst>
                  <a:ext uri="{FF2B5EF4-FFF2-40B4-BE49-F238E27FC236}">
                    <a16:creationId xmlns:a16="http://schemas.microsoft.com/office/drawing/2014/main" id="{BC77D79D-01B4-C9DB-671D-57A88C8C4496}"/>
                  </a:ext>
                </a:extLst>
              </p:cNvPr>
              <p:cNvSpPr/>
              <p:nvPr/>
            </p:nvSpPr>
            <p:spPr>
              <a:xfrm>
                <a:off x="9781967" y="2382798"/>
                <a:ext cx="72777" cy="82599"/>
              </a:xfrm>
              <a:custGeom>
                <a:avLst/>
                <a:gdLst/>
                <a:ahLst/>
                <a:cxnLst/>
                <a:rect l="l" t="t" r="r" b="b"/>
                <a:pathLst>
                  <a:path w="72777" h="82599">
                    <a:moveTo>
                      <a:pt x="37951" y="0"/>
                    </a:moveTo>
                    <a:cubicBezTo>
                      <a:pt x="44698" y="0"/>
                      <a:pt x="50180" y="793"/>
                      <a:pt x="54396" y="2381"/>
                    </a:cubicBezTo>
                    <a:cubicBezTo>
                      <a:pt x="58613" y="3968"/>
                      <a:pt x="61714" y="5965"/>
                      <a:pt x="63698" y="8371"/>
                    </a:cubicBezTo>
                    <a:cubicBezTo>
                      <a:pt x="65682" y="10777"/>
                      <a:pt x="67072" y="13816"/>
                      <a:pt x="67865" y="17487"/>
                    </a:cubicBezTo>
                    <a:cubicBezTo>
                      <a:pt x="68312" y="19769"/>
                      <a:pt x="68535" y="23886"/>
                      <a:pt x="68535" y="29840"/>
                    </a:cubicBezTo>
                    <a:lnTo>
                      <a:pt x="68535" y="47699"/>
                    </a:lnTo>
                    <a:cubicBezTo>
                      <a:pt x="68535" y="60151"/>
                      <a:pt x="68820" y="68026"/>
                      <a:pt x="69391" y="71325"/>
                    </a:cubicBezTo>
                    <a:cubicBezTo>
                      <a:pt x="69961" y="74624"/>
                      <a:pt x="71090" y="77787"/>
                      <a:pt x="72777" y="80813"/>
                    </a:cubicBezTo>
                    <a:lnTo>
                      <a:pt x="58787" y="80813"/>
                    </a:lnTo>
                    <a:cubicBezTo>
                      <a:pt x="57398" y="78035"/>
                      <a:pt x="56505" y="74786"/>
                      <a:pt x="56108" y="71065"/>
                    </a:cubicBezTo>
                    <a:cubicBezTo>
                      <a:pt x="51147" y="75282"/>
                      <a:pt x="46372" y="78258"/>
                      <a:pt x="41783" y="79995"/>
                    </a:cubicBezTo>
                    <a:cubicBezTo>
                      <a:pt x="37194" y="81731"/>
                      <a:pt x="32271" y="82599"/>
                      <a:pt x="27012" y="82599"/>
                    </a:cubicBezTo>
                    <a:cubicBezTo>
                      <a:pt x="18330" y="82599"/>
                      <a:pt x="11658" y="80478"/>
                      <a:pt x="6995" y="76237"/>
                    </a:cubicBezTo>
                    <a:cubicBezTo>
                      <a:pt x="2331" y="71995"/>
                      <a:pt x="0" y="66575"/>
                      <a:pt x="0" y="59977"/>
                    </a:cubicBezTo>
                    <a:cubicBezTo>
                      <a:pt x="0" y="56108"/>
                      <a:pt x="880" y="52573"/>
                      <a:pt x="2641" y="49373"/>
                    </a:cubicBezTo>
                    <a:cubicBezTo>
                      <a:pt x="4402" y="46173"/>
                      <a:pt x="6709" y="43606"/>
                      <a:pt x="9562" y="41671"/>
                    </a:cubicBezTo>
                    <a:cubicBezTo>
                      <a:pt x="12414" y="39737"/>
                      <a:pt x="15627" y="38273"/>
                      <a:pt x="19198" y="37281"/>
                    </a:cubicBezTo>
                    <a:cubicBezTo>
                      <a:pt x="21828" y="36586"/>
                      <a:pt x="25796" y="35917"/>
                      <a:pt x="31105" y="35272"/>
                    </a:cubicBezTo>
                    <a:cubicBezTo>
                      <a:pt x="41920" y="33982"/>
                      <a:pt x="49882" y="32444"/>
                      <a:pt x="54992" y="30658"/>
                    </a:cubicBezTo>
                    <a:cubicBezTo>
                      <a:pt x="55041" y="28823"/>
                      <a:pt x="55066" y="27657"/>
                      <a:pt x="55066" y="27161"/>
                    </a:cubicBezTo>
                    <a:cubicBezTo>
                      <a:pt x="55066" y="21704"/>
                      <a:pt x="53801" y="17859"/>
                      <a:pt x="51271" y="15626"/>
                    </a:cubicBezTo>
                    <a:cubicBezTo>
                      <a:pt x="47848" y="12600"/>
                      <a:pt x="42763" y="11087"/>
                      <a:pt x="36016" y="11087"/>
                    </a:cubicBezTo>
                    <a:cubicBezTo>
                      <a:pt x="29716" y="11087"/>
                      <a:pt x="25065" y="12191"/>
                      <a:pt x="22063" y="14399"/>
                    </a:cubicBezTo>
                    <a:cubicBezTo>
                      <a:pt x="19062" y="16606"/>
                      <a:pt x="16842" y="20513"/>
                      <a:pt x="15403" y="26119"/>
                    </a:cubicBezTo>
                    <a:lnTo>
                      <a:pt x="2306" y="24333"/>
                    </a:lnTo>
                    <a:cubicBezTo>
                      <a:pt x="3497" y="18727"/>
                      <a:pt x="5457" y="14200"/>
                      <a:pt x="8185" y="10752"/>
                    </a:cubicBezTo>
                    <a:cubicBezTo>
                      <a:pt x="10914" y="7304"/>
                      <a:pt x="14858" y="4650"/>
                      <a:pt x="20017" y="2790"/>
                    </a:cubicBezTo>
                    <a:cubicBezTo>
                      <a:pt x="25176" y="930"/>
                      <a:pt x="31154" y="0"/>
                      <a:pt x="37951" y="0"/>
                    </a:cubicBezTo>
                    <a:close/>
                    <a:moveTo>
                      <a:pt x="54992" y="41150"/>
                    </a:moveTo>
                    <a:cubicBezTo>
                      <a:pt x="50130" y="43135"/>
                      <a:pt x="42837" y="44822"/>
                      <a:pt x="33114" y="46211"/>
                    </a:cubicBezTo>
                    <a:cubicBezTo>
                      <a:pt x="27607" y="47004"/>
                      <a:pt x="23713" y="47897"/>
                      <a:pt x="21431" y="48890"/>
                    </a:cubicBezTo>
                    <a:cubicBezTo>
                      <a:pt x="19149" y="49882"/>
                      <a:pt x="17388" y="51333"/>
                      <a:pt x="16148" y="53243"/>
                    </a:cubicBezTo>
                    <a:cubicBezTo>
                      <a:pt x="14907" y="55153"/>
                      <a:pt x="14287" y="57273"/>
                      <a:pt x="14287" y="59605"/>
                    </a:cubicBezTo>
                    <a:cubicBezTo>
                      <a:pt x="14287" y="63177"/>
                      <a:pt x="15639" y="66154"/>
                      <a:pt x="18343" y="68535"/>
                    </a:cubicBezTo>
                    <a:cubicBezTo>
                      <a:pt x="21046" y="70916"/>
                      <a:pt x="25003" y="72107"/>
                      <a:pt x="30212" y="72107"/>
                    </a:cubicBezTo>
                    <a:cubicBezTo>
                      <a:pt x="35371" y="72107"/>
                      <a:pt x="39960" y="70978"/>
                      <a:pt x="43978" y="68721"/>
                    </a:cubicBezTo>
                    <a:cubicBezTo>
                      <a:pt x="47997" y="66464"/>
                      <a:pt x="50948" y="63375"/>
                      <a:pt x="52834" y="59456"/>
                    </a:cubicBezTo>
                    <a:cubicBezTo>
                      <a:pt x="54272" y="56430"/>
                      <a:pt x="54992" y="51965"/>
                      <a:pt x="54992" y="46062"/>
                    </a:cubicBezTo>
                    <a:lnTo>
                      <a:pt x="54992" y="4115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32" name="Freihandform: Form 2931">
                <a:extLst>
                  <a:ext uri="{FF2B5EF4-FFF2-40B4-BE49-F238E27FC236}">
                    <a16:creationId xmlns:a16="http://schemas.microsoft.com/office/drawing/2014/main" id="{157B6BC2-D602-C7A9-F231-FF93E18ACD98}"/>
                  </a:ext>
                </a:extLst>
              </p:cNvPr>
              <p:cNvSpPr/>
              <p:nvPr/>
            </p:nvSpPr>
            <p:spPr>
              <a:xfrm>
                <a:off x="9872231" y="2382798"/>
                <a:ext cx="64219" cy="80813"/>
              </a:xfrm>
              <a:custGeom>
                <a:avLst/>
                <a:gdLst/>
                <a:ahLst/>
                <a:cxnLst/>
                <a:rect l="l" t="t" r="r" b="b"/>
                <a:pathLst>
                  <a:path w="64219" h="80813">
                    <a:moveTo>
                      <a:pt x="37207" y="0"/>
                    </a:moveTo>
                    <a:cubicBezTo>
                      <a:pt x="41969" y="0"/>
                      <a:pt x="46347" y="855"/>
                      <a:pt x="50341" y="2567"/>
                    </a:cubicBezTo>
                    <a:cubicBezTo>
                      <a:pt x="54335" y="4278"/>
                      <a:pt x="57324" y="6523"/>
                      <a:pt x="59308" y="9301"/>
                    </a:cubicBezTo>
                    <a:cubicBezTo>
                      <a:pt x="61292" y="12079"/>
                      <a:pt x="62681" y="15378"/>
                      <a:pt x="63475" y="19198"/>
                    </a:cubicBezTo>
                    <a:cubicBezTo>
                      <a:pt x="63971" y="21679"/>
                      <a:pt x="64219" y="26020"/>
                      <a:pt x="64219" y="32221"/>
                    </a:cubicBezTo>
                    <a:lnTo>
                      <a:pt x="64219" y="80813"/>
                    </a:lnTo>
                    <a:lnTo>
                      <a:pt x="50825" y="80813"/>
                    </a:lnTo>
                    <a:lnTo>
                      <a:pt x="50825" y="32742"/>
                    </a:lnTo>
                    <a:cubicBezTo>
                      <a:pt x="50825" y="27285"/>
                      <a:pt x="50304" y="23204"/>
                      <a:pt x="49262" y="20501"/>
                    </a:cubicBezTo>
                    <a:cubicBezTo>
                      <a:pt x="48220" y="17797"/>
                      <a:pt x="46372" y="15639"/>
                      <a:pt x="43718" y="14027"/>
                    </a:cubicBezTo>
                    <a:cubicBezTo>
                      <a:pt x="41064" y="12414"/>
                      <a:pt x="37951" y="11608"/>
                      <a:pt x="34379" y="11608"/>
                    </a:cubicBezTo>
                    <a:cubicBezTo>
                      <a:pt x="28674" y="11608"/>
                      <a:pt x="23750" y="13419"/>
                      <a:pt x="19608" y="17040"/>
                    </a:cubicBezTo>
                    <a:cubicBezTo>
                      <a:pt x="15466" y="20662"/>
                      <a:pt x="13394" y="27533"/>
                      <a:pt x="13394" y="37653"/>
                    </a:cubicBezTo>
                    <a:lnTo>
                      <a:pt x="13394" y="80813"/>
                    </a:lnTo>
                    <a:lnTo>
                      <a:pt x="0" y="80813"/>
                    </a:lnTo>
                    <a:lnTo>
                      <a:pt x="0" y="1785"/>
                    </a:lnTo>
                    <a:lnTo>
                      <a:pt x="12055" y="1785"/>
                    </a:lnTo>
                    <a:lnTo>
                      <a:pt x="12055" y="13022"/>
                    </a:lnTo>
                    <a:cubicBezTo>
                      <a:pt x="17859" y="4340"/>
                      <a:pt x="26243" y="0"/>
                      <a:pt x="3720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33" name="Freihandform: Form 2932">
                <a:extLst>
                  <a:ext uri="{FF2B5EF4-FFF2-40B4-BE49-F238E27FC236}">
                    <a16:creationId xmlns:a16="http://schemas.microsoft.com/office/drawing/2014/main" id="{F6981311-648E-763C-C578-30441BF2C9BE}"/>
                  </a:ext>
                </a:extLst>
              </p:cNvPr>
              <p:cNvSpPr/>
              <p:nvPr/>
            </p:nvSpPr>
            <p:spPr>
              <a:xfrm>
                <a:off x="9711720" y="2384582"/>
                <a:ext cx="72479" cy="79028"/>
              </a:xfrm>
              <a:custGeom>
                <a:avLst/>
                <a:gdLst/>
                <a:ahLst/>
                <a:cxnLst/>
                <a:rect l="l" t="t" r="r" b="b"/>
                <a:pathLst>
                  <a:path w="72479" h="79028">
                    <a:moveTo>
                      <a:pt x="0" y="0"/>
                    </a:moveTo>
                    <a:lnTo>
                      <a:pt x="14138" y="0"/>
                    </a:lnTo>
                    <a:lnTo>
                      <a:pt x="31105" y="47328"/>
                    </a:lnTo>
                    <a:cubicBezTo>
                      <a:pt x="32940" y="52438"/>
                      <a:pt x="34627" y="57746"/>
                      <a:pt x="36165" y="63252"/>
                    </a:cubicBezTo>
                    <a:cubicBezTo>
                      <a:pt x="37356" y="59085"/>
                      <a:pt x="39018" y="54075"/>
                      <a:pt x="41151" y="48221"/>
                    </a:cubicBezTo>
                    <a:lnTo>
                      <a:pt x="58712" y="0"/>
                    </a:lnTo>
                    <a:lnTo>
                      <a:pt x="72479" y="0"/>
                    </a:lnTo>
                    <a:lnTo>
                      <a:pt x="42565" y="79028"/>
                    </a:lnTo>
                    <a:lnTo>
                      <a:pt x="30063" y="7902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900" name="Gruppieren 2899">
              <a:extLst>
                <a:ext uri="{FF2B5EF4-FFF2-40B4-BE49-F238E27FC236}">
                  <a16:creationId xmlns:a16="http://schemas.microsoft.com/office/drawing/2014/main" id="{AD10A104-FAB6-D833-69BE-7342C09D0504}"/>
                </a:ext>
              </a:extLst>
            </p:cNvPr>
            <p:cNvGrpSpPr/>
            <p:nvPr/>
          </p:nvGrpSpPr>
          <p:grpSpPr>
            <a:xfrm>
              <a:off x="8132843" y="2195215"/>
              <a:ext cx="298881" cy="47195"/>
              <a:chOff x="9421356" y="2790809"/>
              <a:chExt cx="905767" cy="143025"/>
            </a:xfrm>
          </p:grpSpPr>
          <p:sp>
            <p:nvSpPr>
              <p:cNvPr id="2914" name="Freihandform: Form 2913">
                <a:extLst>
                  <a:ext uri="{FF2B5EF4-FFF2-40B4-BE49-F238E27FC236}">
                    <a16:creationId xmlns:a16="http://schemas.microsoft.com/office/drawing/2014/main" id="{72D49E9F-755A-D527-B104-5EB423F1EE75}"/>
                  </a:ext>
                </a:extLst>
              </p:cNvPr>
              <p:cNvSpPr/>
              <p:nvPr/>
            </p:nvSpPr>
            <p:spPr>
              <a:xfrm>
                <a:off x="9421356" y="2790809"/>
                <a:ext cx="86841" cy="112812"/>
              </a:xfrm>
              <a:custGeom>
                <a:avLst/>
                <a:gdLst/>
                <a:ahLst/>
                <a:cxnLst/>
                <a:rect l="l" t="t" r="r" b="b"/>
                <a:pathLst>
                  <a:path w="86841" h="112812">
                    <a:moveTo>
                      <a:pt x="42565" y="0"/>
                    </a:moveTo>
                    <a:cubicBezTo>
                      <a:pt x="50651" y="0"/>
                      <a:pt x="57783" y="1302"/>
                      <a:pt x="63959" y="3907"/>
                    </a:cubicBezTo>
                    <a:cubicBezTo>
                      <a:pt x="70135" y="6511"/>
                      <a:pt x="74885" y="10343"/>
                      <a:pt x="78209" y="15404"/>
                    </a:cubicBezTo>
                    <a:cubicBezTo>
                      <a:pt x="81533" y="20464"/>
                      <a:pt x="83319" y="26194"/>
                      <a:pt x="83567" y="32593"/>
                    </a:cubicBezTo>
                    <a:lnTo>
                      <a:pt x="69726" y="33635"/>
                    </a:lnTo>
                    <a:cubicBezTo>
                      <a:pt x="68982" y="26739"/>
                      <a:pt x="66464" y="21530"/>
                      <a:pt x="62173" y="18008"/>
                    </a:cubicBezTo>
                    <a:cubicBezTo>
                      <a:pt x="57882" y="14486"/>
                      <a:pt x="51544" y="12725"/>
                      <a:pt x="43160" y="12725"/>
                    </a:cubicBezTo>
                    <a:cubicBezTo>
                      <a:pt x="34429" y="12725"/>
                      <a:pt x="28067" y="14325"/>
                      <a:pt x="24073" y="17524"/>
                    </a:cubicBezTo>
                    <a:cubicBezTo>
                      <a:pt x="20080" y="20724"/>
                      <a:pt x="18083" y="24581"/>
                      <a:pt x="18083" y="29096"/>
                    </a:cubicBezTo>
                    <a:cubicBezTo>
                      <a:pt x="18083" y="33015"/>
                      <a:pt x="19497" y="36239"/>
                      <a:pt x="22324" y="38770"/>
                    </a:cubicBezTo>
                    <a:cubicBezTo>
                      <a:pt x="25102" y="41300"/>
                      <a:pt x="32358" y="43892"/>
                      <a:pt x="44090" y="46546"/>
                    </a:cubicBezTo>
                    <a:cubicBezTo>
                      <a:pt x="55823" y="49200"/>
                      <a:pt x="63872" y="51519"/>
                      <a:pt x="68238" y="53504"/>
                    </a:cubicBezTo>
                    <a:cubicBezTo>
                      <a:pt x="74588" y="56431"/>
                      <a:pt x="79276" y="60139"/>
                      <a:pt x="82302" y="64628"/>
                    </a:cubicBezTo>
                    <a:cubicBezTo>
                      <a:pt x="85328" y="69118"/>
                      <a:pt x="86841" y="74290"/>
                      <a:pt x="86841" y="80144"/>
                    </a:cubicBezTo>
                    <a:cubicBezTo>
                      <a:pt x="86841" y="85948"/>
                      <a:pt x="85179" y="91417"/>
                      <a:pt x="81856" y="96552"/>
                    </a:cubicBezTo>
                    <a:cubicBezTo>
                      <a:pt x="78532" y="101687"/>
                      <a:pt x="73757" y="105680"/>
                      <a:pt x="67531" y="108533"/>
                    </a:cubicBezTo>
                    <a:cubicBezTo>
                      <a:pt x="61305" y="111385"/>
                      <a:pt x="54298" y="112812"/>
                      <a:pt x="46509" y="112812"/>
                    </a:cubicBezTo>
                    <a:cubicBezTo>
                      <a:pt x="36637" y="112812"/>
                      <a:pt x="28364" y="111373"/>
                      <a:pt x="21692" y="108496"/>
                    </a:cubicBezTo>
                    <a:cubicBezTo>
                      <a:pt x="15019" y="105618"/>
                      <a:pt x="9786" y="101290"/>
                      <a:pt x="5990" y="95510"/>
                    </a:cubicBezTo>
                    <a:cubicBezTo>
                      <a:pt x="2195" y="89731"/>
                      <a:pt x="199" y="83195"/>
                      <a:pt x="0" y="75902"/>
                    </a:cubicBezTo>
                    <a:lnTo>
                      <a:pt x="13618" y="74712"/>
                    </a:lnTo>
                    <a:cubicBezTo>
                      <a:pt x="14263" y="80169"/>
                      <a:pt x="15763" y="84646"/>
                      <a:pt x="18120" y="88143"/>
                    </a:cubicBezTo>
                    <a:cubicBezTo>
                      <a:pt x="20476" y="91641"/>
                      <a:pt x="24135" y="94468"/>
                      <a:pt x="29096" y="96626"/>
                    </a:cubicBezTo>
                    <a:cubicBezTo>
                      <a:pt x="34057" y="98784"/>
                      <a:pt x="39638" y="99863"/>
                      <a:pt x="45839" y="99863"/>
                    </a:cubicBezTo>
                    <a:cubicBezTo>
                      <a:pt x="51346" y="99863"/>
                      <a:pt x="56208" y="99045"/>
                      <a:pt x="60424" y="97408"/>
                    </a:cubicBezTo>
                    <a:cubicBezTo>
                      <a:pt x="64641" y="95771"/>
                      <a:pt x="67779" y="93526"/>
                      <a:pt x="69838" y="90673"/>
                    </a:cubicBezTo>
                    <a:cubicBezTo>
                      <a:pt x="71896" y="87821"/>
                      <a:pt x="72926" y="84708"/>
                      <a:pt x="72926" y="81334"/>
                    </a:cubicBezTo>
                    <a:cubicBezTo>
                      <a:pt x="72926" y="77911"/>
                      <a:pt x="71934" y="74922"/>
                      <a:pt x="69949" y="72367"/>
                    </a:cubicBezTo>
                    <a:cubicBezTo>
                      <a:pt x="67965" y="69813"/>
                      <a:pt x="64691" y="67667"/>
                      <a:pt x="60127" y="65931"/>
                    </a:cubicBezTo>
                    <a:cubicBezTo>
                      <a:pt x="57200" y="64790"/>
                      <a:pt x="50726" y="63016"/>
                      <a:pt x="40705" y="60610"/>
                    </a:cubicBezTo>
                    <a:cubicBezTo>
                      <a:pt x="30683" y="58204"/>
                      <a:pt x="23664" y="55934"/>
                      <a:pt x="19645" y="53801"/>
                    </a:cubicBezTo>
                    <a:cubicBezTo>
                      <a:pt x="14436" y="51073"/>
                      <a:pt x="10555" y="47687"/>
                      <a:pt x="8000" y="43644"/>
                    </a:cubicBezTo>
                    <a:cubicBezTo>
                      <a:pt x="5445" y="39600"/>
                      <a:pt x="4167" y="35074"/>
                      <a:pt x="4167" y="30063"/>
                    </a:cubicBezTo>
                    <a:cubicBezTo>
                      <a:pt x="4167" y="24556"/>
                      <a:pt x="5730" y="19410"/>
                      <a:pt x="8855" y="14622"/>
                    </a:cubicBezTo>
                    <a:cubicBezTo>
                      <a:pt x="11981" y="9835"/>
                      <a:pt x="16545" y="6201"/>
                      <a:pt x="22548" y="3721"/>
                    </a:cubicBezTo>
                    <a:cubicBezTo>
                      <a:pt x="28550" y="1240"/>
                      <a:pt x="35223" y="0"/>
                      <a:pt x="42565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15" name="Freihandform: Form 2914">
                <a:extLst>
                  <a:ext uri="{FF2B5EF4-FFF2-40B4-BE49-F238E27FC236}">
                    <a16:creationId xmlns:a16="http://schemas.microsoft.com/office/drawing/2014/main" id="{1FC4F54B-8137-0099-CF3A-FBDDFC172AB2}"/>
                  </a:ext>
                </a:extLst>
              </p:cNvPr>
              <p:cNvSpPr/>
              <p:nvPr/>
            </p:nvSpPr>
            <p:spPr>
              <a:xfrm>
                <a:off x="9605233" y="2792670"/>
                <a:ext cx="13395" cy="109091"/>
              </a:xfrm>
              <a:custGeom>
                <a:avLst/>
                <a:gdLst/>
                <a:ahLst/>
                <a:cxnLst/>
                <a:rect l="l" t="t" r="r" b="b"/>
                <a:pathLst>
                  <a:path w="13395" h="109091">
                    <a:moveTo>
                      <a:pt x="0" y="0"/>
                    </a:moveTo>
                    <a:lnTo>
                      <a:pt x="13395" y="0"/>
                    </a:lnTo>
                    <a:lnTo>
                      <a:pt x="13395" y="109091"/>
                    </a:lnTo>
                    <a:lnTo>
                      <a:pt x="0" y="1090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16" name="Freihandform: Form 2915">
                <a:extLst>
                  <a:ext uri="{FF2B5EF4-FFF2-40B4-BE49-F238E27FC236}">
                    <a16:creationId xmlns:a16="http://schemas.microsoft.com/office/drawing/2014/main" id="{59C1F66D-A1B3-9830-E1EC-6423E3D0A566}"/>
                  </a:ext>
                </a:extLst>
              </p:cNvPr>
              <p:cNvSpPr/>
              <p:nvPr/>
            </p:nvSpPr>
            <p:spPr>
              <a:xfrm>
                <a:off x="10072330" y="2792669"/>
                <a:ext cx="13395" cy="15404"/>
              </a:xfrm>
              <a:custGeom>
                <a:avLst/>
                <a:gdLst/>
                <a:ahLst/>
                <a:cxnLst/>
                <a:rect l="l" t="t" r="r" b="b"/>
                <a:pathLst>
                  <a:path w="13395" h="15404">
                    <a:moveTo>
                      <a:pt x="0" y="0"/>
                    </a:moveTo>
                    <a:lnTo>
                      <a:pt x="13395" y="0"/>
                    </a:lnTo>
                    <a:lnTo>
                      <a:pt x="13395" y="15404"/>
                    </a:lnTo>
                    <a:lnTo>
                      <a:pt x="0" y="1540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17" name="Freihandform: Form 2916">
                <a:extLst>
                  <a:ext uri="{FF2B5EF4-FFF2-40B4-BE49-F238E27FC236}">
                    <a16:creationId xmlns:a16="http://schemas.microsoft.com/office/drawing/2014/main" id="{9EB10B56-35FD-13B3-3CDB-E01C128715C3}"/>
                  </a:ext>
                </a:extLst>
              </p:cNvPr>
              <p:cNvSpPr/>
              <p:nvPr/>
            </p:nvSpPr>
            <p:spPr>
              <a:xfrm>
                <a:off x="10262755" y="2792670"/>
                <a:ext cx="64368" cy="109091"/>
              </a:xfrm>
              <a:custGeom>
                <a:avLst/>
                <a:gdLst/>
                <a:ahLst/>
                <a:cxnLst/>
                <a:rect l="l" t="t" r="r" b="b"/>
                <a:pathLst>
                  <a:path w="64368" h="109091">
                    <a:moveTo>
                      <a:pt x="0" y="0"/>
                    </a:moveTo>
                    <a:lnTo>
                      <a:pt x="13394" y="0"/>
                    </a:lnTo>
                    <a:lnTo>
                      <a:pt x="13394" y="39142"/>
                    </a:lnTo>
                    <a:cubicBezTo>
                      <a:pt x="19645" y="31899"/>
                      <a:pt x="27533" y="28278"/>
                      <a:pt x="37058" y="28278"/>
                    </a:cubicBezTo>
                    <a:cubicBezTo>
                      <a:pt x="42912" y="28278"/>
                      <a:pt x="47997" y="29431"/>
                      <a:pt x="52313" y="31738"/>
                    </a:cubicBezTo>
                    <a:cubicBezTo>
                      <a:pt x="56629" y="34045"/>
                      <a:pt x="59717" y="37232"/>
                      <a:pt x="61578" y="41300"/>
                    </a:cubicBezTo>
                    <a:cubicBezTo>
                      <a:pt x="63438" y="45368"/>
                      <a:pt x="64368" y="51271"/>
                      <a:pt x="64368" y="59011"/>
                    </a:cubicBezTo>
                    <a:lnTo>
                      <a:pt x="64368" y="109091"/>
                    </a:lnTo>
                    <a:lnTo>
                      <a:pt x="50973" y="109091"/>
                    </a:lnTo>
                    <a:lnTo>
                      <a:pt x="50973" y="59011"/>
                    </a:lnTo>
                    <a:cubicBezTo>
                      <a:pt x="50973" y="52313"/>
                      <a:pt x="49522" y="47439"/>
                      <a:pt x="46620" y="44388"/>
                    </a:cubicBezTo>
                    <a:cubicBezTo>
                      <a:pt x="43718" y="41337"/>
                      <a:pt x="39613" y="39812"/>
                      <a:pt x="34305" y="39812"/>
                    </a:cubicBezTo>
                    <a:cubicBezTo>
                      <a:pt x="30336" y="39812"/>
                      <a:pt x="26603" y="40841"/>
                      <a:pt x="23105" y="42900"/>
                    </a:cubicBezTo>
                    <a:cubicBezTo>
                      <a:pt x="19608" y="44959"/>
                      <a:pt x="17115" y="47749"/>
                      <a:pt x="15627" y="51271"/>
                    </a:cubicBezTo>
                    <a:cubicBezTo>
                      <a:pt x="14139" y="54794"/>
                      <a:pt x="13394" y="59655"/>
                      <a:pt x="13394" y="65857"/>
                    </a:cubicBezTo>
                    <a:lnTo>
                      <a:pt x="13394" y="109091"/>
                    </a:lnTo>
                    <a:lnTo>
                      <a:pt x="0" y="1090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18" name="Freihandform: Form 2917">
                <a:extLst>
                  <a:ext uri="{FF2B5EF4-FFF2-40B4-BE49-F238E27FC236}">
                    <a16:creationId xmlns:a16="http://schemas.microsoft.com/office/drawing/2014/main" id="{98700940-A737-EF00-D880-9CE5C154F241}"/>
                  </a:ext>
                </a:extLst>
              </p:cNvPr>
              <p:cNvSpPr/>
              <p:nvPr/>
            </p:nvSpPr>
            <p:spPr>
              <a:xfrm>
                <a:off x="9629567" y="2820948"/>
                <a:ext cx="72777" cy="82599"/>
              </a:xfrm>
              <a:custGeom>
                <a:avLst/>
                <a:gdLst/>
                <a:ahLst/>
                <a:cxnLst/>
                <a:rect l="l" t="t" r="r" b="b"/>
                <a:pathLst>
                  <a:path w="72777" h="82599">
                    <a:moveTo>
                      <a:pt x="37951" y="0"/>
                    </a:moveTo>
                    <a:cubicBezTo>
                      <a:pt x="44698" y="0"/>
                      <a:pt x="50180" y="793"/>
                      <a:pt x="54396" y="2381"/>
                    </a:cubicBezTo>
                    <a:cubicBezTo>
                      <a:pt x="58613" y="3968"/>
                      <a:pt x="61714" y="5965"/>
                      <a:pt x="63698" y="8371"/>
                    </a:cubicBezTo>
                    <a:cubicBezTo>
                      <a:pt x="65682" y="10777"/>
                      <a:pt x="67072" y="13816"/>
                      <a:pt x="67865" y="17487"/>
                    </a:cubicBezTo>
                    <a:cubicBezTo>
                      <a:pt x="68312" y="19769"/>
                      <a:pt x="68535" y="23886"/>
                      <a:pt x="68535" y="29840"/>
                    </a:cubicBezTo>
                    <a:lnTo>
                      <a:pt x="68535" y="47699"/>
                    </a:lnTo>
                    <a:cubicBezTo>
                      <a:pt x="68535" y="60151"/>
                      <a:pt x="68820" y="68026"/>
                      <a:pt x="69391" y="71325"/>
                    </a:cubicBezTo>
                    <a:cubicBezTo>
                      <a:pt x="69961" y="74624"/>
                      <a:pt x="71090" y="77787"/>
                      <a:pt x="72777" y="80813"/>
                    </a:cubicBezTo>
                    <a:lnTo>
                      <a:pt x="58787" y="80813"/>
                    </a:lnTo>
                    <a:cubicBezTo>
                      <a:pt x="57398" y="78035"/>
                      <a:pt x="56505" y="74786"/>
                      <a:pt x="56108" y="71065"/>
                    </a:cubicBezTo>
                    <a:cubicBezTo>
                      <a:pt x="51147" y="75282"/>
                      <a:pt x="46372" y="78258"/>
                      <a:pt x="41783" y="79995"/>
                    </a:cubicBezTo>
                    <a:cubicBezTo>
                      <a:pt x="37194" y="81731"/>
                      <a:pt x="32271" y="82599"/>
                      <a:pt x="27012" y="82599"/>
                    </a:cubicBezTo>
                    <a:cubicBezTo>
                      <a:pt x="18330" y="82599"/>
                      <a:pt x="11658" y="80478"/>
                      <a:pt x="6995" y="76237"/>
                    </a:cubicBezTo>
                    <a:cubicBezTo>
                      <a:pt x="2331" y="71995"/>
                      <a:pt x="0" y="66575"/>
                      <a:pt x="0" y="59977"/>
                    </a:cubicBezTo>
                    <a:cubicBezTo>
                      <a:pt x="0" y="56108"/>
                      <a:pt x="880" y="52573"/>
                      <a:pt x="2641" y="49373"/>
                    </a:cubicBezTo>
                    <a:cubicBezTo>
                      <a:pt x="4402" y="46173"/>
                      <a:pt x="6709" y="43606"/>
                      <a:pt x="9562" y="41671"/>
                    </a:cubicBezTo>
                    <a:cubicBezTo>
                      <a:pt x="12414" y="39737"/>
                      <a:pt x="15627" y="38273"/>
                      <a:pt x="19198" y="37281"/>
                    </a:cubicBezTo>
                    <a:cubicBezTo>
                      <a:pt x="21828" y="36586"/>
                      <a:pt x="25797" y="35917"/>
                      <a:pt x="31105" y="35272"/>
                    </a:cubicBezTo>
                    <a:cubicBezTo>
                      <a:pt x="41920" y="33982"/>
                      <a:pt x="49882" y="32444"/>
                      <a:pt x="54992" y="30658"/>
                    </a:cubicBezTo>
                    <a:cubicBezTo>
                      <a:pt x="55041" y="28823"/>
                      <a:pt x="55066" y="27657"/>
                      <a:pt x="55066" y="27161"/>
                    </a:cubicBezTo>
                    <a:cubicBezTo>
                      <a:pt x="55066" y="21704"/>
                      <a:pt x="53801" y="17859"/>
                      <a:pt x="51271" y="15626"/>
                    </a:cubicBezTo>
                    <a:cubicBezTo>
                      <a:pt x="47848" y="12600"/>
                      <a:pt x="42763" y="11087"/>
                      <a:pt x="36016" y="11087"/>
                    </a:cubicBezTo>
                    <a:cubicBezTo>
                      <a:pt x="29716" y="11087"/>
                      <a:pt x="25065" y="12191"/>
                      <a:pt x="22063" y="14399"/>
                    </a:cubicBezTo>
                    <a:cubicBezTo>
                      <a:pt x="19062" y="16606"/>
                      <a:pt x="16842" y="20513"/>
                      <a:pt x="15403" y="26119"/>
                    </a:cubicBezTo>
                    <a:lnTo>
                      <a:pt x="2306" y="24333"/>
                    </a:lnTo>
                    <a:cubicBezTo>
                      <a:pt x="3497" y="18727"/>
                      <a:pt x="5457" y="14200"/>
                      <a:pt x="8185" y="10752"/>
                    </a:cubicBezTo>
                    <a:cubicBezTo>
                      <a:pt x="10914" y="7304"/>
                      <a:pt x="14858" y="4650"/>
                      <a:pt x="20017" y="2790"/>
                    </a:cubicBezTo>
                    <a:cubicBezTo>
                      <a:pt x="25176" y="930"/>
                      <a:pt x="31154" y="0"/>
                      <a:pt x="37951" y="0"/>
                    </a:cubicBezTo>
                    <a:close/>
                    <a:moveTo>
                      <a:pt x="54992" y="41150"/>
                    </a:moveTo>
                    <a:cubicBezTo>
                      <a:pt x="50130" y="43135"/>
                      <a:pt x="42837" y="44822"/>
                      <a:pt x="33114" y="46211"/>
                    </a:cubicBezTo>
                    <a:cubicBezTo>
                      <a:pt x="27607" y="47004"/>
                      <a:pt x="23713" y="47897"/>
                      <a:pt x="21431" y="48890"/>
                    </a:cubicBezTo>
                    <a:cubicBezTo>
                      <a:pt x="19149" y="49882"/>
                      <a:pt x="17388" y="51333"/>
                      <a:pt x="16148" y="53243"/>
                    </a:cubicBezTo>
                    <a:cubicBezTo>
                      <a:pt x="14907" y="55153"/>
                      <a:pt x="14287" y="57273"/>
                      <a:pt x="14287" y="59605"/>
                    </a:cubicBezTo>
                    <a:cubicBezTo>
                      <a:pt x="14287" y="63177"/>
                      <a:pt x="15639" y="66154"/>
                      <a:pt x="18343" y="68535"/>
                    </a:cubicBezTo>
                    <a:cubicBezTo>
                      <a:pt x="21046" y="70916"/>
                      <a:pt x="25003" y="72107"/>
                      <a:pt x="30212" y="72107"/>
                    </a:cubicBezTo>
                    <a:cubicBezTo>
                      <a:pt x="35371" y="72107"/>
                      <a:pt x="39960" y="70978"/>
                      <a:pt x="43978" y="68721"/>
                    </a:cubicBezTo>
                    <a:cubicBezTo>
                      <a:pt x="47997" y="66464"/>
                      <a:pt x="50948" y="63375"/>
                      <a:pt x="52834" y="59456"/>
                    </a:cubicBezTo>
                    <a:cubicBezTo>
                      <a:pt x="54272" y="56430"/>
                      <a:pt x="54992" y="51965"/>
                      <a:pt x="54992" y="46062"/>
                    </a:cubicBezTo>
                    <a:lnTo>
                      <a:pt x="54992" y="4115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19" name="Freihandform: Form 2918">
                <a:extLst>
                  <a:ext uri="{FF2B5EF4-FFF2-40B4-BE49-F238E27FC236}">
                    <a16:creationId xmlns:a16="http://schemas.microsoft.com/office/drawing/2014/main" id="{315F60DE-197F-535C-6512-3210894F4F50}"/>
                  </a:ext>
                </a:extLst>
              </p:cNvPr>
              <p:cNvSpPr/>
              <p:nvPr/>
            </p:nvSpPr>
            <p:spPr>
              <a:xfrm>
                <a:off x="9786505" y="2820948"/>
                <a:ext cx="107082" cy="80813"/>
              </a:xfrm>
              <a:custGeom>
                <a:avLst/>
                <a:gdLst/>
                <a:ahLst/>
                <a:cxnLst/>
                <a:rect l="l" t="t" r="r" b="b"/>
                <a:pathLst>
                  <a:path w="107082" h="80813">
                    <a:moveTo>
                      <a:pt x="35942" y="0"/>
                    </a:moveTo>
                    <a:cubicBezTo>
                      <a:pt x="41796" y="0"/>
                      <a:pt x="46595" y="1215"/>
                      <a:pt x="50341" y="3646"/>
                    </a:cubicBezTo>
                    <a:cubicBezTo>
                      <a:pt x="54087" y="6077"/>
                      <a:pt x="56728" y="9475"/>
                      <a:pt x="58266" y="13841"/>
                    </a:cubicBezTo>
                    <a:cubicBezTo>
                      <a:pt x="64517" y="4613"/>
                      <a:pt x="72653" y="0"/>
                      <a:pt x="82674" y="0"/>
                    </a:cubicBezTo>
                    <a:cubicBezTo>
                      <a:pt x="90512" y="0"/>
                      <a:pt x="96540" y="2170"/>
                      <a:pt x="100757" y="6511"/>
                    </a:cubicBezTo>
                    <a:cubicBezTo>
                      <a:pt x="104973" y="10852"/>
                      <a:pt x="107082" y="17536"/>
                      <a:pt x="107082" y="26565"/>
                    </a:cubicBezTo>
                    <a:lnTo>
                      <a:pt x="107082" y="80813"/>
                    </a:lnTo>
                    <a:lnTo>
                      <a:pt x="93762" y="80813"/>
                    </a:lnTo>
                    <a:lnTo>
                      <a:pt x="93762" y="31030"/>
                    </a:lnTo>
                    <a:cubicBezTo>
                      <a:pt x="93762" y="25672"/>
                      <a:pt x="93328" y="21815"/>
                      <a:pt x="92459" y="19459"/>
                    </a:cubicBezTo>
                    <a:cubicBezTo>
                      <a:pt x="91591" y="17102"/>
                      <a:pt x="90016" y="15205"/>
                      <a:pt x="87734" y="13766"/>
                    </a:cubicBezTo>
                    <a:cubicBezTo>
                      <a:pt x="85452" y="12327"/>
                      <a:pt x="82773" y="11608"/>
                      <a:pt x="79697" y="11608"/>
                    </a:cubicBezTo>
                    <a:cubicBezTo>
                      <a:pt x="74141" y="11608"/>
                      <a:pt x="69527" y="13456"/>
                      <a:pt x="65856" y="17152"/>
                    </a:cubicBezTo>
                    <a:cubicBezTo>
                      <a:pt x="62185" y="20848"/>
                      <a:pt x="60350" y="26764"/>
                      <a:pt x="60350" y="34900"/>
                    </a:cubicBezTo>
                    <a:lnTo>
                      <a:pt x="60350" y="80813"/>
                    </a:lnTo>
                    <a:lnTo>
                      <a:pt x="46955" y="80813"/>
                    </a:lnTo>
                    <a:lnTo>
                      <a:pt x="46955" y="29467"/>
                    </a:lnTo>
                    <a:cubicBezTo>
                      <a:pt x="46955" y="23514"/>
                      <a:pt x="45864" y="19050"/>
                      <a:pt x="43681" y="16073"/>
                    </a:cubicBezTo>
                    <a:cubicBezTo>
                      <a:pt x="41498" y="13096"/>
                      <a:pt x="37926" y="11608"/>
                      <a:pt x="32965" y="11608"/>
                    </a:cubicBezTo>
                    <a:cubicBezTo>
                      <a:pt x="29195" y="11608"/>
                      <a:pt x="25710" y="12600"/>
                      <a:pt x="22510" y="14585"/>
                    </a:cubicBezTo>
                    <a:cubicBezTo>
                      <a:pt x="19310" y="16569"/>
                      <a:pt x="16991" y="19471"/>
                      <a:pt x="15552" y="23291"/>
                    </a:cubicBezTo>
                    <a:cubicBezTo>
                      <a:pt x="14114" y="27111"/>
                      <a:pt x="13394" y="32618"/>
                      <a:pt x="13394" y="39811"/>
                    </a:cubicBezTo>
                    <a:lnTo>
                      <a:pt x="13394" y="80813"/>
                    </a:lnTo>
                    <a:lnTo>
                      <a:pt x="0" y="80813"/>
                    </a:lnTo>
                    <a:lnTo>
                      <a:pt x="0" y="1785"/>
                    </a:lnTo>
                    <a:lnTo>
                      <a:pt x="11981" y="1785"/>
                    </a:lnTo>
                    <a:lnTo>
                      <a:pt x="11981" y="12873"/>
                    </a:lnTo>
                    <a:cubicBezTo>
                      <a:pt x="14461" y="9004"/>
                      <a:pt x="17760" y="5891"/>
                      <a:pt x="21878" y="3534"/>
                    </a:cubicBezTo>
                    <a:cubicBezTo>
                      <a:pt x="25995" y="1178"/>
                      <a:pt x="30683" y="0"/>
                      <a:pt x="35942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20" name="Freihandform: Form 2919">
                <a:extLst>
                  <a:ext uri="{FF2B5EF4-FFF2-40B4-BE49-F238E27FC236}">
                    <a16:creationId xmlns:a16="http://schemas.microsoft.com/office/drawing/2014/main" id="{10697119-44B5-BFDA-99DE-E4E985E20472}"/>
                  </a:ext>
                </a:extLst>
              </p:cNvPr>
              <p:cNvSpPr/>
              <p:nvPr/>
            </p:nvSpPr>
            <p:spPr>
              <a:xfrm>
                <a:off x="9905792" y="2820948"/>
                <a:ext cx="72777" cy="82599"/>
              </a:xfrm>
              <a:custGeom>
                <a:avLst/>
                <a:gdLst/>
                <a:ahLst/>
                <a:cxnLst/>
                <a:rect l="l" t="t" r="r" b="b"/>
                <a:pathLst>
                  <a:path w="72777" h="82599">
                    <a:moveTo>
                      <a:pt x="37951" y="0"/>
                    </a:moveTo>
                    <a:cubicBezTo>
                      <a:pt x="44698" y="0"/>
                      <a:pt x="50180" y="793"/>
                      <a:pt x="54396" y="2381"/>
                    </a:cubicBezTo>
                    <a:cubicBezTo>
                      <a:pt x="58613" y="3968"/>
                      <a:pt x="61714" y="5965"/>
                      <a:pt x="63698" y="8371"/>
                    </a:cubicBezTo>
                    <a:cubicBezTo>
                      <a:pt x="65682" y="10777"/>
                      <a:pt x="67071" y="13816"/>
                      <a:pt x="67865" y="17487"/>
                    </a:cubicBezTo>
                    <a:cubicBezTo>
                      <a:pt x="68312" y="19769"/>
                      <a:pt x="68535" y="23886"/>
                      <a:pt x="68535" y="29840"/>
                    </a:cubicBezTo>
                    <a:lnTo>
                      <a:pt x="68535" y="47699"/>
                    </a:lnTo>
                    <a:cubicBezTo>
                      <a:pt x="68535" y="60151"/>
                      <a:pt x="68820" y="68026"/>
                      <a:pt x="69391" y="71325"/>
                    </a:cubicBezTo>
                    <a:cubicBezTo>
                      <a:pt x="69961" y="74624"/>
                      <a:pt x="71090" y="77787"/>
                      <a:pt x="72777" y="80813"/>
                    </a:cubicBezTo>
                    <a:lnTo>
                      <a:pt x="58787" y="80813"/>
                    </a:lnTo>
                    <a:cubicBezTo>
                      <a:pt x="57398" y="78035"/>
                      <a:pt x="56505" y="74786"/>
                      <a:pt x="56108" y="71065"/>
                    </a:cubicBezTo>
                    <a:cubicBezTo>
                      <a:pt x="51147" y="75282"/>
                      <a:pt x="46372" y="78258"/>
                      <a:pt x="41783" y="79995"/>
                    </a:cubicBezTo>
                    <a:cubicBezTo>
                      <a:pt x="37194" y="81731"/>
                      <a:pt x="32271" y="82599"/>
                      <a:pt x="27012" y="82599"/>
                    </a:cubicBezTo>
                    <a:cubicBezTo>
                      <a:pt x="18330" y="82599"/>
                      <a:pt x="11658" y="80478"/>
                      <a:pt x="6995" y="76237"/>
                    </a:cubicBezTo>
                    <a:cubicBezTo>
                      <a:pt x="2331" y="71995"/>
                      <a:pt x="0" y="66575"/>
                      <a:pt x="0" y="59977"/>
                    </a:cubicBezTo>
                    <a:cubicBezTo>
                      <a:pt x="0" y="56108"/>
                      <a:pt x="880" y="52573"/>
                      <a:pt x="2641" y="49373"/>
                    </a:cubicBezTo>
                    <a:cubicBezTo>
                      <a:pt x="4402" y="46173"/>
                      <a:pt x="6709" y="43606"/>
                      <a:pt x="9562" y="41671"/>
                    </a:cubicBezTo>
                    <a:cubicBezTo>
                      <a:pt x="12414" y="39737"/>
                      <a:pt x="15627" y="38273"/>
                      <a:pt x="19198" y="37281"/>
                    </a:cubicBezTo>
                    <a:cubicBezTo>
                      <a:pt x="21828" y="36586"/>
                      <a:pt x="25797" y="35917"/>
                      <a:pt x="31105" y="35272"/>
                    </a:cubicBezTo>
                    <a:cubicBezTo>
                      <a:pt x="41920" y="33982"/>
                      <a:pt x="49882" y="32444"/>
                      <a:pt x="54992" y="30658"/>
                    </a:cubicBezTo>
                    <a:cubicBezTo>
                      <a:pt x="55041" y="28823"/>
                      <a:pt x="55066" y="27657"/>
                      <a:pt x="55066" y="27161"/>
                    </a:cubicBezTo>
                    <a:cubicBezTo>
                      <a:pt x="55066" y="21704"/>
                      <a:pt x="53801" y="17859"/>
                      <a:pt x="51271" y="15626"/>
                    </a:cubicBezTo>
                    <a:cubicBezTo>
                      <a:pt x="47848" y="12600"/>
                      <a:pt x="42763" y="11087"/>
                      <a:pt x="36016" y="11087"/>
                    </a:cubicBezTo>
                    <a:cubicBezTo>
                      <a:pt x="29716" y="11087"/>
                      <a:pt x="25065" y="12191"/>
                      <a:pt x="22063" y="14399"/>
                    </a:cubicBezTo>
                    <a:cubicBezTo>
                      <a:pt x="19062" y="16606"/>
                      <a:pt x="16842" y="20513"/>
                      <a:pt x="15403" y="26119"/>
                    </a:cubicBezTo>
                    <a:lnTo>
                      <a:pt x="2306" y="24333"/>
                    </a:lnTo>
                    <a:cubicBezTo>
                      <a:pt x="3497" y="18727"/>
                      <a:pt x="5457" y="14200"/>
                      <a:pt x="8185" y="10752"/>
                    </a:cubicBezTo>
                    <a:cubicBezTo>
                      <a:pt x="10914" y="7304"/>
                      <a:pt x="14858" y="4650"/>
                      <a:pt x="20017" y="2790"/>
                    </a:cubicBezTo>
                    <a:cubicBezTo>
                      <a:pt x="25176" y="930"/>
                      <a:pt x="31154" y="0"/>
                      <a:pt x="37951" y="0"/>
                    </a:cubicBezTo>
                    <a:close/>
                    <a:moveTo>
                      <a:pt x="54992" y="41150"/>
                    </a:moveTo>
                    <a:cubicBezTo>
                      <a:pt x="50130" y="43135"/>
                      <a:pt x="42837" y="44822"/>
                      <a:pt x="33114" y="46211"/>
                    </a:cubicBezTo>
                    <a:cubicBezTo>
                      <a:pt x="27607" y="47004"/>
                      <a:pt x="23713" y="47897"/>
                      <a:pt x="21431" y="48890"/>
                    </a:cubicBezTo>
                    <a:cubicBezTo>
                      <a:pt x="19149" y="49882"/>
                      <a:pt x="17388" y="51333"/>
                      <a:pt x="16147" y="53243"/>
                    </a:cubicBezTo>
                    <a:cubicBezTo>
                      <a:pt x="14907" y="55153"/>
                      <a:pt x="14287" y="57273"/>
                      <a:pt x="14287" y="59605"/>
                    </a:cubicBezTo>
                    <a:cubicBezTo>
                      <a:pt x="14287" y="63177"/>
                      <a:pt x="15639" y="66154"/>
                      <a:pt x="18343" y="68535"/>
                    </a:cubicBezTo>
                    <a:cubicBezTo>
                      <a:pt x="21046" y="70916"/>
                      <a:pt x="25003" y="72107"/>
                      <a:pt x="30212" y="72107"/>
                    </a:cubicBezTo>
                    <a:cubicBezTo>
                      <a:pt x="35371" y="72107"/>
                      <a:pt x="39960" y="70978"/>
                      <a:pt x="43978" y="68721"/>
                    </a:cubicBezTo>
                    <a:cubicBezTo>
                      <a:pt x="47997" y="66464"/>
                      <a:pt x="50948" y="63375"/>
                      <a:pt x="52834" y="59456"/>
                    </a:cubicBezTo>
                    <a:cubicBezTo>
                      <a:pt x="54272" y="56430"/>
                      <a:pt x="54992" y="51965"/>
                      <a:pt x="54992" y="46062"/>
                    </a:cubicBezTo>
                    <a:lnTo>
                      <a:pt x="54992" y="4115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21" name="Freihandform: Form 2920">
                <a:extLst>
                  <a:ext uri="{FF2B5EF4-FFF2-40B4-BE49-F238E27FC236}">
                    <a16:creationId xmlns:a16="http://schemas.microsoft.com/office/drawing/2014/main" id="{FCDAA762-F54E-F7CE-7C6E-F9106D5B0295}"/>
                  </a:ext>
                </a:extLst>
              </p:cNvPr>
              <p:cNvSpPr/>
              <p:nvPr/>
            </p:nvSpPr>
            <p:spPr>
              <a:xfrm>
                <a:off x="9996056" y="2820948"/>
                <a:ext cx="64219" cy="80813"/>
              </a:xfrm>
              <a:custGeom>
                <a:avLst/>
                <a:gdLst/>
                <a:ahLst/>
                <a:cxnLst/>
                <a:rect l="l" t="t" r="r" b="b"/>
                <a:pathLst>
                  <a:path w="64219" h="80813">
                    <a:moveTo>
                      <a:pt x="37207" y="0"/>
                    </a:moveTo>
                    <a:cubicBezTo>
                      <a:pt x="41969" y="0"/>
                      <a:pt x="46347" y="855"/>
                      <a:pt x="50341" y="2567"/>
                    </a:cubicBezTo>
                    <a:cubicBezTo>
                      <a:pt x="54335" y="4278"/>
                      <a:pt x="57323" y="6523"/>
                      <a:pt x="59308" y="9301"/>
                    </a:cubicBezTo>
                    <a:cubicBezTo>
                      <a:pt x="61292" y="12079"/>
                      <a:pt x="62681" y="15378"/>
                      <a:pt x="63475" y="19198"/>
                    </a:cubicBezTo>
                    <a:cubicBezTo>
                      <a:pt x="63971" y="21679"/>
                      <a:pt x="64219" y="26020"/>
                      <a:pt x="64219" y="32221"/>
                    </a:cubicBezTo>
                    <a:lnTo>
                      <a:pt x="64219" y="80813"/>
                    </a:lnTo>
                    <a:lnTo>
                      <a:pt x="50825" y="80813"/>
                    </a:lnTo>
                    <a:lnTo>
                      <a:pt x="50825" y="32742"/>
                    </a:lnTo>
                    <a:cubicBezTo>
                      <a:pt x="50825" y="27285"/>
                      <a:pt x="50304" y="23204"/>
                      <a:pt x="49262" y="20501"/>
                    </a:cubicBezTo>
                    <a:cubicBezTo>
                      <a:pt x="48220" y="17797"/>
                      <a:pt x="46372" y="15639"/>
                      <a:pt x="43718" y="14027"/>
                    </a:cubicBezTo>
                    <a:cubicBezTo>
                      <a:pt x="41064" y="12414"/>
                      <a:pt x="37951" y="11608"/>
                      <a:pt x="34379" y="11608"/>
                    </a:cubicBezTo>
                    <a:cubicBezTo>
                      <a:pt x="28674" y="11608"/>
                      <a:pt x="23750" y="13419"/>
                      <a:pt x="19608" y="17040"/>
                    </a:cubicBezTo>
                    <a:cubicBezTo>
                      <a:pt x="15466" y="20662"/>
                      <a:pt x="13394" y="27533"/>
                      <a:pt x="13394" y="37653"/>
                    </a:cubicBezTo>
                    <a:lnTo>
                      <a:pt x="13394" y="80813"/>
                    </a:lnTo>
                    <a:lnTo>
                      <a:pt x="0" y="80813"/>
                    </a:lnTo>
                    <a:lnTo>
                      <a:pt x="0" y="1785"/>
                    </a:lnTo>
                    <a:lnTo>
                      <a:pt x="12055" y="1785"/>
                    </a:lnTo>
                    <a:lnTo>
                      <a:pt x="12055" y="13022"/>
                    </a:lnTo>
                    <a:cubicBezTo>
                      <a:pt x="17859" y="4340"/>
                      <a:pt x="26243" y="0"/>
                      <a:pt x="37207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22" name="Freihandform: Form 2921">
                <a:extLst>
                  <a:ext uri="{FF2B5EF4-FFF2-40B4-BE49-F238E27FC236}">
                    <a16:creationId xmlns:a16="http://schemas.microsoft.com/office/drawing/2014/main" id="{BB5EC311-4025-B41E-6B2F-3250D3E9461A}"/>
                  </a:ext>
                </a:extLst>
              </p:cNvPr>
              <p:cNvSpPr/>
              <p:nvPr/>
            </p:nvSpPr>
            <p:spPr>
              <a:xfrm>
                <a:off x="10172492" y="2820948"/>
                <a:ext cx="72777" cy="82599"/>
              </a:xfrm>
              <a:custGeom>
                <a:avLst/>
                <a:gdLst/>
                <a:ahLst/>
                <a:cxnLst/>
                <a:rect l="l" t="t" r="r" b="b"/>
                <a:pathLst>
                  <a:path w="72777" h="82599">
                    <a:moveTo>
                      <a:pt x="37951" y="0"/>
                    </a:moveTo>
                    <a:cubicBezTo>
                      <a:pt x="44698" y="0"/>
                      <a:pt x="50179" y="793"/>
                      <a:pt x="54396" y="2381"/>
                    </a:cubicBezTo>
                    <a:cubicBezTo>
                      <a:pt x="58613" y="3968"/>
                      <a:pt x="61714" y="5965"/>
                      <a:pt x="63698" y="8371"/>
                    </a:cubicBezTo>
                    <a:cubicBezTo>
                      <a:pt x="65683" y="10777"/>
                      <a:pt x="67071" y="13816"/>
                      <a:pt x="67865" y="17487"/>
                    </a:cubicBezTo>
                    <a:cubicBezTo>
                      <a:pt x="68312" y="19769"/>
                      <a:pt x="68535" y="23886"/>
                      <a:pt x="68535" y="29840"/>
                    </a:cubicBezTo>
                    <a:lnTo>
                      <a:pt x="68535" y="47699"/>
                    </a:lnTo>
                    <a:cubicBezTo>
                      <a:pt x="68535" y="60151"/>
                      <a:pt x="68820" y="68026"/>
                      <a:pt x="69391" y="71325"/>
                    </a:cubicBezTo>
                    <a:cubicBezTo>
                      <a:pt x="69961" y="74624"/>
                      <a:pt x="71090" y="77787"/>
                      <a:pt x="72777" y="80813"/>
                    </a:cubicBezTo>
                    <a:lnTo>
                      <a:pt x="58787" y="80813"/>
                    </a:lnTo>
                    <a:cubicBezTo>
                      <a:pt x="57398" y="78035"/>
                      <a:pt x="56505" y="74786"/>
                      <a:pt x="56108" y="71065"/>
                    </a:cubicBezTo>
                    <a:cubicBezTo>
                      <a:pt x="51147" y="75282"/>
                      <a:pt x="46372" y="78258"/>
                      <a:pt x="41783" y="79995"/>
                    </a:cubicBezTo>
                    <a:cubicBezTo>
                      <a:pt x="37194" y="81731"/>
                      <a:pt x="32271" y="82599"/>
                      <a:pt x="27012" y="82599"/>
                    </a:cubicBezTo>
                    <a:cubicBezTo>
                      <a:pt x="18330" y="82599"/>
                      <a:pt x="11658" y="80478"/>
                      <a:pt x="6995" y="76237"/>
                    </a:cubicBezTo>
                    <a:cubicBezTo>
                      <a:pt x="2331" y="71995"/>
                      <a:pt x="0" y="66575"/>
                      <a:pt x="0" y="59977"/>
                    </a:cubicBezTo>
                    <a:cubicBezTo>
                      <a:pt x="0" y="56108"/>
                      <a:pt x="880" y="52573"/>
                      <a:pt x="2641" y="49373"/>
                    </a:cubicBezTo>
                    <a:cubicBezTo>
                      <a:pt x="4403" y="46173"/>
                      <a:pt x="6709" y="43606"/>
                      <a:pt x="9562" y="41671"/>
                    </a:cubicBezTo>
                    <a:cubicBezTo>
                      <a:pt x="12414" y="39737"/>
                      <a:pt x="15627" y="38273"/>
                      <a:pt x="19199" y="37281"/>
                    </a:cubicBezTo>
                    <a:cubicBezTo>
                      <a:pt x="21828" y="36586"/>
                      <a:pt x="25797" y="35917"/>
                      <a:pt x="31105" y="35272"/>
                    </a:cubicBezTo>
                    <a:cubicBezTo>
                      <a:pt x="41920" y="33982"/>
                      <a:pt x="49882" y="32444"/>
                      <a:pt x="54992" y="30658"/>
                    </a:cubicBezTo>
                    <a:cubicBezTo>
                      <a:pt x="55041" y="28823"/>
                      <a:pt x="55066" y="27657"/>
                      <a:pt x="55066" y="27161"/>
                    </a:cubicBezTo>
                    <a:cubicBezTo>
                      <a:pt x="55066" y="21704"/>
                      <a:pt x="53801" y="17859"/>
                      <a:pt x="51271" y="15626"/>
                    </a:cubicBezTo>
                    <a:cubicBezTo>
                      <a:pt x="47848" y="12600"/>
                      <a:pt x="42763" y="11087"/>
                      <a:pt x="36016" y="11087"/>
                    </a:cubicBezTo>
                    <a:cubicBezTo>
                      <a:pt x="29716" y="11087"/>
                      <a:pt x="25065" y="12191"/>
                      <a:pt x="22063" y="14399"/>
                    </a:cubicBezTo>
                    <a:cubicBezTo>
                      <a:pt x="19062" y="16606"/>
                      <a:pt x="16842" y="20513"/>
                      <a:pt x="15403" y="26119"/>
                    </a:cubicBezTo>
                    <a:lnTo>
                      <a:pt x="2307" y="24333"/>
                    </a:lnTo>
                    <a:cubicBezTo>
                      <a:pt x="3497" y="18727"/>
                      <a:pt x="5457" y="14200"/>
                      <a:pt x="8185" y="10752"/>
                    </a:cubicBezTo>
                    <a:cubicBezTo>
                      <a:pt x="10914" y="7304"/>
                      <a:pt x="14858" y="4650"/>
                      <a:pt x="20017" y="2790"/>
                    </a:cubicBezTo>
                    <a:cubicBezTo>
                      <a:pt x="25176" y="930"/>
                      <a:pt x="31154" y="0"/>
                      <a:pt x="37951" y="0"/>
                    </a:cubicBezTo>
                    <a:close/>
                    <a:moveTo>
                      <a:pt x="54992" y="41150"/>
                    </a:moveTo>
                    <a:cubicBezTo>
                      <a:pt x="50130" y="43135"/>
                      <a:pt x="42837" y="44822"/>
                      <a:pt x="33114" y="46211"/>
                    </a:cubicBezTo>
                    <a:cubicBezTo>
                      <a:pt x="27607" y="47004"/>
                      <a:pt x="23713" y="47897"/>
                      <a:pt x="21431" y="48890"/>
                    </a:cubicBezTo>
                    <a:cubicBezTo>
                      <a:pt x="19149" y="49882"/>
                      <a:pt x="17388" y="51333"/>
                      <a:pt x="16147" y="53243"/>
                    </a:cubicBezTo>
                    <a:cubicBezTo>
                      <a:pt x="14907" y="55153"/>
                      <a:pt x="14287" y="57273"/>
                      <a:pt x="14287" y="59605"/>
                    </a:cubicBezTo>
                    <a:cubicBezTo>
                      <a:pt x="14287" y="63177"/>
                      <a:pt x="15639" y="66154"/>
                      <a:pt x="18343" y="68535"/>
                    </a:cubicBezTo>
                    <a:cubicBezTo>
                      <a:pt x="21046" y="70916"/>
                      <a:pt x="25003" y="72107"/>
                      <a:pt x="30212" y="72107"/>
                    </a:cubicBezTo>
                    <a:cubicBezTo>
                      <a:pt x="35371" y="72107"/>
                      <a:pt x="39960" y="70978"/>
                      <a:pt x="43978" y="68721"/>
                    </a:cubicBezTo>
                    <a:cubicBezTo>
                      <a:pt x="47997" y="66464"/>
                      <a:pt x="50949" y="63375"/>
                      <a:pt x="52834" y="59456"/>
                    </a:cubicBezTo>
                    <a:cubicBezTo>
                      <a:pt x="54272" y="56430"/>
                      <a:pt x="54992" y="51965"/>
                      <a:pt x="54992" y="46062"/>
                    </a:cubicBezTo>
                    <a:lnTo>
                      <a:pt x="54992" y="4115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23" name="Freihandform: Form 2922">
                <a:extLst>
                  <a:ext uri="{FF2B5EF4-FFF2-40B4-BE49-F238E27FC236}">
                    <a16:creationId xmlns:a16="http://schemas.microsoft.com/office/drawing/2014/main" id="{4DA3ABAC-CCB6-5A91-0E4A-C24D424238F1}"/>
                  </a:ext>
                </a:extLst>
              </p:cNvPr>
              <p:cNvSpPr/>
              <p:nvPr/>
            </p:nvSpPr>
            <p:spPr>
              <a:xfrm>
                <a:off x="9529033" y="2822732"/>
                <a:ext cx="64071" cy="80814"/>
              </a:xfrm>
              <a:custGeom>
                <a:avLst/>
                <a:gdLst/>
                <a:ahLst/>
                <a:cxnLst/>
                <a:rect l="l" t="t" r="r" b="b"/>
                <a:pathLst>
                  <a:path w="64071" h="80814">
                    <a:moveTo>
                      <a:pt x="0" y="0"/>
                    </a:moveTo>
                    <a:lnTo>
                      <a:pt x="13395" y="0"/>
                    </a:lnTo>
                    <a:lnTo>
                      <a:pt x="13395" y="43830"/>
                    </a:lnTo>
                    <a:cubicBezTo>
                      <a:pt x="13395" y="50825"/>
                      <a:pt x="13668" y="55538"/>
                      <a:pt x="14213" y="57969"/>
                    </a:cubicBezTo>
                    <a:cubicBezTo>
                      <a:pt x="15057" y="61491"/>
                      <a:pt x="16843" y="64257"/>
                      <a:pt x="19571" y="66266"/>
                    </a:cubicBezTo>
                    <a:cubicBezTo>
                      <a:pt x="22300" y="68275"/>
                      <a:pt x="25673" y="69280"/>
                      <a:pt x="29691" y="69280"/>
                    </a:cubicBezTo>
                    <a:cubicBezTo>
                      <a:pt x="33710" y="69280"/>
                      <a:pt x="37480" y="68251"/>
                      <a:pt x="41002" y="66192"/>
                    </a:cubicBezTo>
                    <a:cubicBezTo>
                      <a:pt x="44525" y="64133"/>
                      <a:pt x="47018" y="61330"/>
                      <a:pt x="48481" y="57783"/>
                    </a:cubicBezTo>
                    <a:cubicBezTo>
                      <a:pt x="49944" y="54236"/>
                      <a:pt x="50676" y="49089"/>
                      <a:pt x="50676" y="42342"/>
                    </a:cubicBezTo>
                    <a:lnTo>
                      <a:pt x="50676" y="0"/>
                    </a:lnTo>
                    <a:lnTo>
                      <a:pt x="64071" y="0"/>
                    </a:lnTo>
                    <a:lnTo>
                      <a:pt x="64071" y="79028"/>
                    </a:lnTo>
                    <a:lnTo>
                      <a:pt x="52090" y="79028"/>
                    </a:lnTo>
                    <a:lnTo>
                      <a:pt x="52090" y="67420"/>
                    </a:lnTo>
                    <a:cubicBezTo>
                      <a:pt x="45939" y="76349"/>
                      <a:pt x="37579" y="80814"/>
                      <a:pt x="27013" y="80814"/>
                    </a:cubicBezTo>
                    <a:cubicBezTo>
                      <a:pt x="22349" y="80814"/>
                      <a:pt x="17996" y="79921"/>
                      <a:pt x="13953" y="78135"/>
                    </a:cubicBezTo>
                    <a:cubicBezTo>
                      <a:pt x="9910" y="76349"/>
                      <a:pt x="6908" y="74105"/>
                      <a:pt x="4949" y="71401"/>
                    </a:cubicBezTo>
                    <a:cubicBezTo>
                      <a:pt x="2989" y="68697"/>
                      <a:pt x="1613" y="65386"/>
                      <a:pt x="819" y="61466"/>
                    </a:cubicBezTo>
                    <a:cubicBezTo>
                      <a:pt x="273" y="58837"/>
                      <a:pt x="0" y="54670"/>
                      <a:pt x="0" y="48965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24" name="Freihandform: Form 2923">
                <a:extLst>
                  <a:ext uri="{FF2B5EF4-FFF2-40B4-BE49-F238E27FC236}">
                    <a16:creationId xmlns:a16="http://schemas.microsoft.com/office/drawing/2014/main" id="{D5C04108-854B-0960-601F-0B0805374474}"/>
                  </a:ext>
                </a:extLst>
              </p:cNvPr>
              <p:cNvSpPr/>
              <p:nvPr/>
            </p:nvSpPr>
            <p:spPr>
              <a:xfrm>
                <a:off x="9712241" y="2822733"/>
                <a:ext cx="72405" cy="111101"/>
              </a:xfrm>
              <a:custGeom>
                <a:avLst/>
                <a:gdLst/>
                <a:ahLst/>
                <a:cxnLst/>
                <a:rect l="l" t="t" r="r" b="b"/>
                <a:pathLst>
                  <a:path w="72405" h="111101">
                    <a:moveTo>
                      <a:pt x="0" y="0"/>
                    </a:moveTo>
                    <a:lnTo>
                      <a:pt x="14436" y="0"/>
                    </a:lnTo>
                    <a:lnTo>
                      <a:pt x="30882" y="45765"/>
                    </a:lnTo>
                    <a:cubicBezTo>
                      <a:pt x="33015" y="51569"/>
                      <a:pt x="34925" y="57671"/>
                      <a:pt x="36611" y="64071"/>
                    </a:cubicBezTo>
                    <a:cubicBezTo>
                      <a:pt x="38149" y="57919"/>
                      <a:pt x="39985" y="51917"/>
                      <a:pt x="42118" y="46063"/>
                    </a:cubicBezTo>
                    <a:lnTo>
                      <a:pt x="59010" y="0"/>
                    </a:lnTo>
                    <a:lnTo>
                      <a:pt x="72405" y="0"/>
                    </a:lnTo>
                    <a:lnTo>
                      <a:pt x="42341" y="80368"/>
                    </a:lnTo>
                    <a:cubicBezTo>
                      <a:pt x="39117" y="89049"/>
                      <a:pt x="36611" y="95027"/>
                      <a:pt x="34825" y="98301"/>
                    </a:cubicBezTo>
                    <a:cubicBezTo>
                      <a:pt x="32444" y="102717"/>
                      <a:pt x="29716" y="105954"/>
                      <a:pt x="26640" y="108012"/>
                    </a:cubicBezTo>
                    <a:cubicBezTo>
                      <a:pt x="23564" y="110071"/>
                      <a:pt x="19893" y="111101"/>
                      <a:pt x="15627" y="111101"/>
                    </a:cubicBezTo>
                    <a:cubicBezTo>
                      <a:pt x="13047" y="111101"/>
                      <a:pt x="10170" y="110555"/>
                      <a:pt x="6995" y="109464"/>
                    </a:cubicBezTo>
                    <a:lnTo>
                      <a:pt x="5506" y="96888"/>
                    </a:lnTo>
                    <a:cubicBezTo>
                      <a:pt x="8433" y="97681"/>
                      <a:pt x="10988" y="98078"/>
                      <a:pt x="13171" y="98078"/>
                    </a:cubicBezTo>
                    <a:cubicBezTo>
                      <a:pt x="16148" y="98078"/>
                      <a:pt x="18529" y="97582"/>
                      <a:pt x="20315" y="96590"/>
                    </a:cubicBezTo>
                    <a:cubicBezTo>
                      <a:pt x="22101" y="95598"/>
                      <a:pt x="23564" y="94209"/>
                      <a:pt x="24705" y="92423"/>
                    </a:cubicBezTo>
                    <a:cubicBezTo>
                      <a:pt x="25548" y="91083"/>
                      <a:pt x="26913" y="87759"/>
                      <a:pt x="28798" y="82451"/>
                    </a:cubicBezTo>
                    <a:cubicBezTo>
                      <a:pt x="29046" y="81707"/>
                      <a:pt x="29443" y="80616"/>
                      <a:pt x="29989" y="7917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25" name="Freihandform: Form 2924">
                <a:extLst>
                  <a:ext uri="{FF2B5EF4-FFF2-40B4-BE49-F238E27FC236}">
                    <a16:creationId xmlns:a16="http://schemas.microsoft.com/office/drawing/2014/main" id="{513C72C3-5707-B209-956C-142019D8D23D}"/>
                  </a:ext>
                </a:extLst>
              </p:cNvPr>
              <p:cNvSpPr/>
              <p:nvPr/>
            </p:nvSpPr>
            <p:spPr>
              <a:xfrm>
                <a:off x="10072330" y="2822732"/>
                <a:ext cx="13395" cy="79028"/>
              </a:xfrm>
              <a:custGeom>
                <a:avLst/>
                <a:gdLst/>
                <a:ahLst/>
                <a:cxnLst/>
                <a:rect l="l" t="t" r="r" b="b"/>
                <a:pathLst>
                  <a:path w="13395" h="79028">
                    <a:moveTo>
                      <a:pt x="0" y="0"/>
                    </a:moveTo>
                    <a:lnTo>
                      <a:pt x="13395" y="0"/>
                    </a:lnTo>
                    <a:lnTo>
                      <a:pt x="13395" y="79028"/>
                    </a:lnTo>
                    <a:lnTo>
                      <a:pt x="0" y="7902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26" name="Freihandform: Form 2925">
                <a:extLst>
                  <a:ext uri="{FF2B5EF4-FFF2-40B4-BE49-F238E27FC236}">
                    <a16:creationId xmlns:a16="http://schemas.microsoft.com/office/drawing/2014/main" id="{4AE719C2-F332-B637-7807-210501FA6F5F}"/>
                  </a:ext>
                </a:extLst>
              </p:cNvPr>
              <p:cNvSpPr/>
              <p:nvPr/>
            </p:nvSpPr>
            <p:spPr>
              <a:xfrm>
                <a:off x="10102766" y="2822733"/>
                <a:ext cx="72405" cy="111101"/>
              </a:xfrm>
              <a:custGeom>
                <a:avLst/>
                <a:gdLst/>
                <a:ahLst/>
                <a:cxnLst/>
                <a:rect l="l" t="t" r="r" b="b"/>
                <a:pathLst>
                  <a:path w="72405" h="111101">
                    <a:moveTo>
                      <a:pt x="0" y="0"/>
                    </a:moveTo>
                    <a:lnTo>
                      <a:pt x="14436" y="0"/>
                    </a:lnTo>
                    <a:lnTo>
                      <a:pt x="30881" y="45765"/>
                    </a:lnTo>
                    <a:cubicBezTo>
                      <a:pt x="33015" y="51569"/>
                      <a:pt x="34925" y="57671"/>
                      <a:pt x="36611" y="64071"/>
                    </a:cubicBezTo>
                    <a:cubicBezTo>
                      <a:pt x="38149" y="57919"/>
                      <a:pt x="39985" y="51917"/>
                      <a:pt x="42118" y="46063"/>
                    </a:cubicBezTo>
                    <a:lnTo>
                      <a:pt x="59010" y="0"/>
                    </a:lnTo>
                    <a:lnTo>
                      <a:pt x="72405" y="0"/>
                    </a:lnTo>
                    <a:lnTo>
                      <a:pt x="42341" y="80368"/>
                    </a:lnTo>
                    <a:cubicBezTo>
                      <a:pt x="39117" y="89049"/>
                      <a:pt x="36611" y="95027"/>
                      <a:pt x="34825" y="98301"/>
                    </a:cubicBezTo>
                    <a:cubicBezTo>
                      <a:pt x="32444" y="102717"/>
                      <a:pt x="29716" y="105954"/>
                      <a:pt x="26640" y="108012"/>
                    </a:cubicBezTo>
                    <a:cubicBezTo>
                      <a:pt x="23564" y="110071"/>
                      <a:pt x="19893" y="111101"/>
                      <a:pt x="15627" y="111101"/>
                    </a:cubicBezTo>
                    <a:cubicBezTo>
                      <a:pt x="13047" y="111101"/>
                      <a:pt x="10170" y="110555"/>
                      <a:pt x="6995" y="109464"/>
                    </a:cubicBezTo>
                    <a:lnTo>
                      <a:pt x="5506" y="96888"/>
                    </a:lnTo>
                    <a:cubicBezTo>
                      <a:pt x="8433" y="97681"/>
                      <a:pt x="10988" y="98078"/>
                      <a:pt x="13171" y="98078"/>
                    </a:cubicBezTo>
                    <a:cubicBezTo>
                      <a:pt x="16147" y="98078"/>
                      <a:pt x="18529" y="97582"/>
                      <a:pt x="20315" y="96590"/>
                    </a:cubicBezTo>
                    <a:cubicBezTo>
                      <a:pt x="22101" y="95598"/>
                      <a:pt x="23564" y="94209"/>
                      <a:pt x="24705" y="92423"/>
                    </a:cubicBezTo>
                    <a:cubicBezTo>
                      <a:pt x="25548" y="91083"/>
                      <a:pt x="26913" y="87759"/>
                      <a:pt x="28798" y="82451"/>
                    </a:cubicBezTo>
                    <a:cubicBezTo>
                      <a:pt x="29046" y="81707"/>
                      <a:pt x="29443" y="80616"/>
                      <a:pt x="29989" y="7917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901" name="Gruppieren 2900">
              <a:extLst>
                <a:ext uri="{FF2B5EF4-FFF2-40B4-BE49-F238E27FC236}">
                  <a16:creationId xmlns:a16="http://schemas.microsoft.com/office/drawing/2014/main" id="{B9CBD15A-FEF2-C4D3-A5DA-A793AD8E8EB1}"/>
                </a:ext>
              </a:extLst>
            </p:cNvPr>
            <p:cNvGrpSpPr/>
            <p:nvPr/>
          </p:nvGrpSpPr>
          <p:grpSpPr>
            <a:xfrm>
              <a:off x="7371937" y="2418515"/>
              <a:ext cx="234008" cy="37225"/>
              <a:chOff x="9422620" y="3228960"/>
              <a:chExt cx="709166" cy="112811"/>
            </a:xfrm>
          </p:grpSpPr>
          <p:sp>
            <p:nvSpPr>
              <p:cNvPr id="2902" name="Freihandform: Form 2901">
                <a:extLst>
                  <a:ext uri="{FF2B5EF4-FFF2-40B4-BE49-F238E27FC236}">
                    <a16:creationId xmlns:a16="http://schemas.microsoft.com/office/drawing/2014/main" id="{AE1196FF-75BE-B600-C341-A14831B1992C}"/>
                  </a:ext>
                </a:extLst>
              </p:cNvPr>
              <p:cNvSpPr/>
              <p:nvPr/>
            </p:nvSpPr>
            <p:spPr>
              <a:xfrm>
                <a:off x="9422620" y="3228960"/>
                <a:ext cx="100906" cy="112811"/>
              </a:xfrm>
              <a:custGeom>
                <a:avLst/>
                <a:gdLst/>
                <a:ahLst/>
                <a:cxnLst/>
                <a:rect l="l" t="t" r="r" b="b"/>
                <a:pathLst>
                  <a:path w="100906" h="112811">
                    <a:moveTo>
                      <a:pt x="54620" y="0"/>
                    </a:moveTo>
                    <a:cubicBezTo>
                      <a:pt x="62508" y="0"/>
                      <a:pt x="69639" y="1277"/>
                      <a:pt x="76014" y="3832"/>
                    </a:cubicBezTo>
                    <a:cubicBezTo>
                      <a:pt x="82389" y="6387"/>
                      <a:pt x="87387" y="9946"/>
                      <a:pt x="91009" y="14511"/>
                    </a:cubicBezTo>
                    <a:cubicBezTo>
                      <a:pt x="94630" y="19075"/>
                      <a:pt x="97383" y="25028"/>
                      <a:pt x="99268" y="32370"/>
                    </a:cubicBezTo>
                    <a:lnTo>
                      <a:pt x="86246" y="35942"/>
                    </a:lnTo>
                    <a:cubicBezTo>
                      <a:pt x="84609" y="30386"/>
                      <a:pt x="82575" y="26020"/>
                      <a:pt x="80144" y="22845"/>
                    </a:cubicBezTo>
                    <a:cubicBezTo>
                      <a:pt x="77713" y="19670"/>
                      <a:pt x="74241" y="17127"/>
                      <a:pt x="69726" y="15217"/>
                    </a:cubicBezTo>
                    <a:cubicBezTo>
                      <a:pt x="65212" y="13308"/>
                      <a:pt x="60201" y="12352"/>
                      <a:pt x="54694" y="12352"/>
                    </a:cubicBezTo>
                    <a:cubicBezTo>
                      <a:pt x="48096" y="12352"/>
                      <a:pt x="42391" y="13357"/>
                      <a:pt x="37579" y="15366"/>
                    </a:cubicBezTo>
                    <a:cubicBezTo>
                      <a:pt x="32767" y="17375"/>
                      <a:pt x="28885" y="20017"/>
                      <a:pt x="25933" y="23291"/>
                    </a:cubicBezTo>
                    <a:cubicBezTo>
                      <a:pt x="22982" y="26566"/>
                      <a:pt x="20687" y="30162"/>
                      <a:pt x="19050" y="34081"/>
                    </a:cubicBezTo>
                    <a:cubicBezTo>
                      <a:pt x="16272" y="40828"/>
                      <a:pt x="14883" y="48146"/>
                      <a:pt x="14883" y="56034"/>
                    </a:cubicBezTo>
                    <a:cubicBezTo>
                      <a:pt x="14883" y="65757"/>
                      <a:pt x="16557" y="73893"/>
                      <a:pt x="19906" y="80441"/>
                    </a:cubicBezTo>
                    <a:cubicBezTo>
                      <a:pt x="23255" y="86990"/>
                      <a:pt x="28129" y="91852"/>
                      <a:pt x="34528" y="95027"/>
                    </a:cubicBezTo>
                    <a:cubicBezTo>
                      <a:pt x="40928" y="98201"/>
                      <a:pt x="47724" y="99789"/>
                      <a:pt x="54918" y="99789"/>
                    </a:cubicBezTo>
                    <a:cubicBezTo>
                      <a:pt x="61168" y="99789"/>
                      <a:pt x="67270" y="98586"/>
                      <a:pt x="73224" y="96180"/>
                    </a:cubicBezTo>
                    <a:cubicBezTo>
                      <a:pt x="79177" y="93774"/>
                      <a:pt x="83691" y="91207"/>
                      <a:pt x="86767" y="88478"/>
                    </a:cubicBezTo>
                    <a:lnTo>
                      <a:pt x="86767" y="68163"/>
                    </a:lnTo>
                    <a:lnTo>
                      <a:pt x="54694" y="68163"/>
                    </a:lnTo>
                    <a:lnTo>
                      <a:pt x="54694" y="55364"/>
                    </a:lnTo>
                    <a:lnTo>
                      <a:pt x="100906" y="55289"/>
                    </a:lnTo>
                    <a:lnTo>
                      <a:pt x="100906" y="95771"/>
                    </a:lnTo>
                    <a:cubicBezTo>
                      <a:pt x="93811" y="101426"/>
                      <a:pt x="86494" y="105680"/>
                      <a:pt x="78953" y="108533"/>
                    </a:cubicBezTo>
                    <a:cubicBezTo>
                      <a:pt x="71413" y="111385"/>
                      <a:pt x="63674" y="112811"/>
                      <a:pt x="55736" y="112811"/>
                    </a:cubicBezTo>
                    <a:cubicBezTo>
                      <a:pt x="45021" y="112811"/>
                      <a:pt x="35285" y="110517"/>
                      <a:pt x="26529" y="105928"/>
                    </a:cubicBezTo>
                    <a:cubicBezTo>
                      <a:pt x="17773" y="101339"/>
                      <a:pt x="11162" y="94704"/>
                      <a:pt x="6697" y="86022"/>
                    </a:cubicBezTo>
                    <a:cubicBezTo>
                      <a:pt x="2233" y="77341"/>
                      <a:pt x="0" y="67642"/>
                      <a:pt x="0" y="56927"/>
                    </a:cubicBezTo>
                    <a:cubicBezTo>
                      <a:pt x="0" y="46310"/>
                      <a:pt x="2220" y="36401"/>
                      <a:pt x="6660" y="27198"/>
                    </a:cubicBezTo>
                    <a:cubicBezTo>
                      <a:pt x="11100" y="17996"/>
                      <a:pt x="17487" y="11162"/>
                      <a:pt x="25822" y="6697"/>
                    </a:cubicBezTo>
                    <a:cubicBezTo>
                      <a:pt x="34156" y="2232"/>
                      <a:pt x="43756" y="0"/>
                      <a:pt x="5462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03" name="Freihandform: Form 2902">
                <a:extLst>
                  <a:ext uri="{FF2B5EF4-FFF2-40B4-BE49-F238E27FC236}">
                    <a16:creationId xmlns:a16="http://schemas.microsoft.com/office/drawing/2014/main" id="{72DDA6B1-AA5E-4CC1-59FA-B71A541B6317}"/>
                  </a:ext>
                </a:extLst>
              </p:cNvPr>
              <p:cNvSpPr/>
              <p:nvPr/>
            </p:nvSpPr>
            <p:spPr>
              <a:xfrm>
                <a:off x="9774525" y="3228960"/>
                <a:ext cx="96441" cy="112811"/>
              </a:xfrm>
              <a:custGeom>
                <a:avLst/>
                <a:gdLst/>
                <a:ahLst/>
                <a:cxnLst/>
                <a:rect l="l" t="t" r="r" b="b"/>
                <a:pathLst>
                  <a:path w="96441" h="112811">
                    <a:moveTo>
                      <a:pt x="51495" y="0"/>
                    </a:moveTo>
                    <a:cubicBezTo>
                      <a:pt x="62409" y="0"/>
                      <a:pt x="71587" y="2778"/>
                      <a:pt x="79028" y="8334"/>
                    </a:cubicBezTo>
                    <a:cubicBezTo>
                      <a:pt x="86469" y="13890"/>
                      <a:pt x="91654" y="21704"/>
                      <a:pt x="94580" y="31775"/>
                    </a:cubicBezTo>
                    <a:lnTo>
                      <a:pt x="80367" y="35123"/>
                    </a:lnTo>
                    <a:cubicBezTo>
                      <a:pt x="77837" y="27186"/>
                      <a:pt x="74166" y="21406"/>
                      <a:pt x="69354" y="17785"/>
                    </a:cubicBezTo>
                    <a:cubicBezTo>
                      <a:pt x="64542" y="14163"/>
                      <a:pt x="58490" y="12352"/>
                      <a:pt x="51197" y="12352"/>
                    </a:cubicBezTo>
                    <a:cubicBezTo>
                      <a:pt x="42813" y="12352"/>
                      <a:pt x="35806" y="14362"/>
                      <a:pt x="30175" y="18380"/>
                    </a:cubicBezTo>
                    <a:cubicBezTo>
                      <a:pt x="24544" y="22398"/>
                      <a:pt x="20588" y="27793"/>
                      <a:pt x="18306" y="34565"/>
                    </a:cubicBezTo>
                    <a:cubicBezTo>
                      <a:pt x="16024" y="41337"/>
                      <a:pt x="14883" y="48319"/>
                      <a:pt x="14883" y="55513"/>
                    </a:cubicBezTo>
                    <a:cubicBezTo>
                      <a:pt x="14883" y="64790"/>
                      <a:pt x="16235" y="72888"/>
                      <a:pt x="18939" y="79809"/>
                    </a:cubicBezTo>
                    <a:cubicBezTo>
                      <a:pt x="21642" y="86729"/>
                      <a:pt x="25847" y="91901"/>
                      <a:pt x="31552" y="95324"/>
                    </a:cubicBezTo>
                    <a:cubicBezTo>
                      <a:pt x="37257" y="98747"/>
                      <a:pt x="43433" y="100459"/>
                      <a:pt x="50081" y="100459"/>
                    </a:cubicBezTo>
                    <a:cubicBezTo>
                      <a:pt x="58167" y="100459"/>
                      <a:pt x="65013" y="98127"/>
                      <a:pt x="70619" y="93464"/>
                    </a:cubicBezTo>
                    <a:cubicBezTo>
                      <a:pt x="76225" y="88801"/>
                      <a:pt x="80020" y="81880"/>
                      <a:pt x="82005" y="72702"/>
                    </a:cubicBezTo>
                    <a:lnTo>
                      <a:pt x="96441" y="76349"/>
                    </a:lnTo>
                    <a:cubicBezTo>
                      <a:pt x="93415" y="88205"/>
                      <a:pt x="87970" y="97247"/>
                      <a:pt x="80107" y="103473"/>
                    </a:cubicBezTo>
                    <a:cubicBezTo>
                      <a:pt x="72244" y="109698"/>
                      <a:pt x="62632" y="112811"/>
                      <a:pt x="51272" y="112811"/>
                    </a:cubicBezTo>
                    <a:cubicBezTo>
                      <a:pt x="39514" y="112811"/>
                      <a:pt x="29952" y="110418"/>
                      <a:pt x="22585" y="105631"/>
                    </a:cubicBezTo>
                    <a:cubicBezTo>
                      <a:pt x="15218" y="100843"/>
                      <a:pt x="9612" y="93910"/>
                      <a:pt x="5767" y="84832"/>
                    </a:cubicBezTo>
                    <a:cubicBezTo>
                      <a:pt x="1923" y="75753"/>
                      <a:pt x="0" y="66005"/>
                      <a:pt x="0" y="55587"/>
                    </a:cubicBezTo>
                    <a:cubicBezTo>
                      <a:pt x="0" y="44227"/>
                      <a:pt x="2171" y="34317"/>
                      <a:pt x="6511" y="25859"/>
                    </a:cubicBezTo>
                    <a:cubicBezTo>
                      <a:pt x="10852" y="17400"/>
                      <a:pt x="17029" y="10976"/>
                      <a:pt x="25041" y="6585"/>
                    </a:cubicBezTo>
                    <a:cubicBezTo>
                      <a:pt x="33052" y="2195"/>
                      <a:pt x="41871" y="0"/>
                      <a:pt x="51495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04" name="Freihandform: Form 2903">
                <a:extLst>
                  <a:ext uri="{FF2B5EF4-FFF2-40B4-BE49-F238E27FC236}">
                    <a16:creationId xmlns:a16="http://schemas.microsoft.com/office/drawing/2014/main" id="{AE0A1160-6768-6E42-067F-09B550C3E68C}"/>
                  </a:ext>
                </a:extLst>
              </p:cNvPr>
              <p:cNvSpPr/>
              <p:nvPr/>
            </p:nvSpPr>
            <p:spPr>
              <a:xfrm>
                <a:off x="9538930" y="3230819"/>
                <a:ext cx="13395" cy="15404"/>
              </a:xfrm>
              <a:custGeom>
                <a:avLst/>
                <a:gdLst/>
                <a:ahLst/>
                <a:cxnLst/>
                <a:rect l="l" t="t" r="r" b="b"/>
                <a:pathLst>
                  <a:path w="13395" h="15404">
                    <a:moveTo>
                      <a:pt x="0" y="0"/>
                    </a:moveTo>
                    <a:lnTo>
                      <a:pt x="13395" y="0"/>
                    </a:lnTo>
                    <a:lnTo>
                      <a:pt x="13395" y="15404"/>
                    </a:lnTo>
                    <a:lnTo>
                      <a:pt x="0" y="1540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05" name="Freihandform: Form 2904">
                <a:extLst>
                  <a:ext uri="{FF2B5EF4-FFF2-40B4-BE49-F238E27FC236}">
                    <a16:creationId xmlns:a16="http://schemas.microsoft.com/office/drawing/2014/main" id="{4F6FE820-7F95-31AF-C994-232102E69339}"/>
                  </a:ext>
                </a:extLst>
              </p:cNvPr>
              <p:cNvSpPr/>
              <p:nvPr/>
            </p:nvSpPr>
            <p:spPr>
              <a:xfrm>
                <a:off x="9977080" y="3230819"/>
                <a:ext cx="13395" cy="15404"/>
              </a:xfrm>
              <a:custGeom>
                <a:avLst/>
                <a:gdLst/>
                <a:ahLst/>
                <a:cxnLst/>
                <a:rect l="l" t="t" r="r" b="b"/>
                <a:pathLst>
                  <a:path w="13395" h="15404">
                    <a:moveTo>
                      <a:pt x="0" y="0"/>
                    </a:moveTo>
                    <a:lnTo>
                      <a:pt x="13395" y="0"/>
                    </a:lnTo>
                    <a:lnTo>
                      <a:pt x="13395" y="15404"/>
                    </a:lnTo>
                    <a:lnTo>
                      <a:pt x="0" y="1540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06" name="Freihandform: Form 2905">
                <a:extLst>
                  <a:ext uri="{FF2B5EF4-FFF2-40B4-BE49-F238E27FC236}">
                    <a16:creationId xmlns:a16="http://schemas.microsoft.com/office/drawing/2014/main" id="{AC3F20B5-39DB-D55F-2CB5-F86F5B08B75B}"/>
                  </a:ext>
                </a:extLst>
              </p:cNvPr>
              <p:cNvSpPr/>
              <p:nvPr/>
            </p:nvSpPr>
            <p:spPr>
              <a:xfrm>
                <a:off x="9639092" y="3259096"/>
                <a:ext cx="72777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2777" h="82600">
                    <a:moveTo>
                      <a:pt x="37951" y="0"/>
                    </a:moveTo>
                    <a:cubicBezTo>
                      <a:pt x="44698" y="0"/>
                      <a:pt x="50180" y="794"/>
                      <a:pt x="54396" y="2382"/>
                    </a:cubicBezTo>
                    <a:cubicBezTo>
                      <a:pt x="58613" y="3969"/>
                      <a:pt x="61714" y="5966"/>
                      <a:pt x="63698" y="8372"/>
                    </a:cubicBezTo>
                    <a:cubicBezTo>
                      <a:pt x="65682" y="10778"/>
                      <a:pt x="67071" y="13817"/>
                      <a:pt x="67865" y="17488"/>
                    </a:cubicBezTo>
                    <a:cubicBezTo>
                      <a:pt x="68312" y="19770"/>
                      <a:pt x="68535" y="23887"/>
                      <a:pt x="68535" y="29840"/>
                    </a:cubicBezTo>
                    <a:lnTo>
                      <a:pt x="68535" y="47700"/>
                    </a:lnTo>
                    <a:cubicBezTo>
                      <a:pt x="68535" y="60152"/>
                      <a:pt x="68820" y="68027"/>
                      <a:pt x="69391" y="71326"/>
                    </a:cubicBezTo>
                    <a:cubicBezTo>
                      <a:pt x="69961" y="74625"/>
                      <a:pt x="71090" y="77788"/>
                      <a:pt x="72777" y="80814"/>
                    </a:cubicBezTo>
                    <a:lnTo>
                      <a:pt x="58787" y="80814"/>
                    </a:lnTo>
                    <a:cubicBezTo>
                      <a:pt x="57398" y="78036"/>
                      <a:pt x="56505" y="74787"/>
                      <a:pt x="56108" y="71066"/>
                    </a:cubicBezTo>
                    <a:cubicBezTo>
                      <a:pt x="51147" y="75283"/>
                      <a:pt x="46372" y="78259"/>
                      <a:pt x="41783" y="79996"/>
                    </a:cubicBezTo>
                    <a:cubicBezTo>
                      <a:pt x="37194" y="81732"/>
                      <a:pt x="32271" y="82600"/>
                      <a:pt x="27012" y="82600"/>
                    </a:cubicBezTo>
                    <a:cubicBezTo>
                      <a:pt x="18330" y="82600"/>
                      <a:pt x="11658" y="80479"/>
                      <a:pt x="6995" y="76238"/>
                    </a:cubicBezTo>
                    <a:cubicBezTo>
                      <a:pt x="2331" y="71996"/>
                      <a:pt x="0" y="66576"/>
                      <a:pt x="0" y="59978"/>
                    </a:cubicBezTo>
                    <a:cubicBezTo>
                      <a:pt x="0" y="56109"/>
                      <a:pt x="880" y="52574"/>
                      <a:pt x="2641" y="49374"/>
                    </a:cubicBezTo>
                    <a:cubicBezTo>
                      <a:pt x="4402" y="46174"/>
                      <a:pt x="6709" y="43607"/>
                      <a:pt x="9562" y="41672"/>
                    </a:cubicBezTo>
                    <a:cubicBezTo>
                      <a:pt x="12414" y="39738"/>
                      <a:pt x="15627" y="38274"/>
                      <a:pt x="19198" y="37282"/>
                    </a:cubicBezTo>
                    <a:cubicBezTo>
                      <a:pt x="21828" y="36587"/>
                      <a:pt x="25797" y="35918"/>
                      <a:pt x="31105" y="35273"/>
                    </a:cubicBezTo>
                    <a:cubicBezTo>
                      <a:pt x="41920" y="33983"/>
                      <a:pt x="49882" y="32445"/>
                      <a:pt x="54992" y="30659"/>
                    </a:cubicBezTo>
                    <a:cubicBezTo>
                      <a:pt x="55041" y="28824"/>
                      <a:pt x="55066" y="27658"/>
                      <a:pt x="55066" y="27162"/>
                    </a:cubicBezTo>
                    <a:cubicBezTo>
                      <a:pt x="55066" y="21705"/>
                      <a:pt x="53801" y="17860"/>
                      <a:pt x="51271" y="15627"/>
                    </a:cubicBezTo>
                    <a:cubicBezTo>
                      <a:pt x="47848" y="12601"/>
                      <a:pt x="42763" y="11088"/>
                      <a:pt x="36016" y="11088"/>
                    </a:cubicBezTo>
                    <a:cubicBezTo>
                      <a:pt x="29716" y="11088"/>
                      <a:pt x="25065" y="12192"/>
                      <a:pt x="22063" y="14400"/>
                    </a:cubicBezTo>
                    <a:cubicBezTo>
                      <a:pt x="19062" y="16607"/>
                      <a:pt x="16842" y="20514"/>
                      <a:pt x="15403" y="26120"/>
                    </a:cubicBezTo>
                    <a:lnTo>
                      <a:pt x="2306" y="24334"/>
                    </a:lnTo>
                    <a:cubicBezTo>
                      <a:pt x="3497" y="18728"/>
                      <a:pt x="5457" y="14201"/>
                      <a:pt x="8185" y="10753"/>
                    </a:cubicBezTo>
                    <a:cubicBezTo>
                      <a:pt x="10914" y="7305"/>
                      <a:pt x="14858" y="4651"/>
                      <a:pt x="20017" y="2791"/>
                    </a:cubicBezTo>
                    <a:cubicBezTo>
                      <a:pt x="25176" y="931"/>
                      <a:pt x="31154" y="0"/>
                      <a:pt x="37951" y="0"/>
                    </a:cubicBezTo>
                    <a:close/>
                    <a:moveTo>
                      <a:pt x="54992" y="41151"/>
                    </a:moveTo>
                    <a:cubicBezTo>
                      <a:pt x="50130" y="43136"/>
                      <a:pt x="42837" y="44823"/>
                      <a:pt x="33114" y="46212"/>
                    </a:cubicBezTo>
                    <a:cubicBezTo>
                      <a:pt x="27607" y="47005"/>
                      <a:pt x="23713" y="47898"/>
                      <a:pt x="21431" y="48890"/>
                    </a:cubicBezTo>
                    <a:cubicBezTo>
                      <a:pt x="19149" y="49883"/>
                      <a:pt x="17388" y="51334"/>
                      <a:pt x="16147" y="53244"/>
                    </a:cubicBezTo>
                    <a:cubicBezTo>
                      <a:pt x="14907" y="55154"/>
                      <a:pt x="14287" y="57274"/>
                      <a:pt x="14287" y="59606"/>
                    </a:cubicBezTo>
                    <a:cubicBezTo>
                      <a:pt x="14287" y="63178"/>
                      <a:pt x="15639" y="66155"/>
                      <a:pt x="18343" y="68536"/>
                    </a:cubicBezTo>
                    <a:cubicBezTo>
                      <a:pt x="21046" y="70917"/>
                      <a:pt x="25003" y="72108"/>
                      <a:pt x="30212" y="72108"/>
                    </a:cubicBezTo>
                    <a:cubicBezTo>
                      <a:pt x="35371" y="72108"/>
                      <a:pt x="39960" y="70979"/>
                      <a:pt x="43978" y="68722"/>
                    </a:cubicBezTo>
                    <a:cubicBezTo>
                      <a:pt x="47997" y="66465"/>
                      <a:pt x="50948" y="63376"/>
                      <a:pt x="52834" y="59457"/>
                    </a:cubicBezTo>
                    <a:cubicBezTo>
                      <a:pt x="54272" y="56431"/>
                      <a:pt x="54992" y="51966"/>
                      <a:pt x="54992" y="46063"/>
                    </a:cubicBezTo>
                    <a:lnTo>
                      <a:pt x="54992" y="4115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07" name="Freihandform: Form 2906">
                <a:extLst>
                  <a:ext uri="{FF2B5EF4-FFF2-40B4-BE49-F238E27FC236}">
                    <a16:creationId xmlns:a16="http://schemas.microsoft.com/office/drawing/2014/main" id="{80D8663A-BE4D-00EC-FA98-5993C0B89B74}"/>
                  </a:ext>
                </a:extLst>
              </p:cNvPr>
              <p:cNvSpPr/>
              <p:nvPr/>
            </p:nvSpPr>
            <p:spPr>
              <a:xfrm>
                <a:off x="9886742" y="3259096"/>
                <a:ext cx="72777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2777" h="82600">
                    <a:moveTo>
                      <a:pt x="37951" y="0"/>
                    </a:moveTo>
                    <a:cubicBezTo>
                      <a:pt x="44698" y="0"/>
                      <a:pt x="50179" y="794"/>
                      <a:pt x="54396" y="2382"/>
                    </a:cubicBezTo>
                    <a:cubicBezTo>
                      <a:pt x="58613" y="3969"/>
                      <a:pt x="61714" y="5966"/>
                      <a:pt x="63698" y="8372"/>
                    </a:cubicBezTo>
                    <a:cubicBezTo>
                      <a:pt x="65683" y="10778"/>
                      <a:pt x="67071" y="13817"/>
                      <a:pt x="67865" y="17488"/>
                    </a:cubicBezTo>
                    <a:cubicBezTo>
                      <a:pt x="68312" y="19770"/>
                      <a:pt x="68535" y="23887"/>
                      <a:pt x="68535" y="29840"/>
                    </a:cubicBezTo>
                    <a:lnTo>
                      <a:pt x="68535" y="47700"/>
                    </a:lnTo>
                    <a:cubicBezTo>
                      <a:pt x="68535" y="60152"/>
                      <a:pt x="68820" y="68027"/>
                      <a:pt x="69391" y="71326"/>
                    </a:cubicBezTo>
                    <a:cubicBezTo>
                      <a:pt x="69961" y="74625"/>
                      <a:pt x="71090" y="77788"/>
                      <a:pt x="72777" y="80814"/>
                    </a:cubicBezTo>
                    <a:lnTo>
                      <a:pt x="58787" y="80814"/>
                    </a:lnTo>
                    <a:cubicBezTo>
                      <a:pt x="57398" y="78036"/>
                      <a:pt x="56505" y="74787"/>
                      <a:pt x="56108" y="71066"/>
                    </a:cubicBezTo>
                    <a:cubicBezTo>
                      <a:pt x="51147" y="75283"/>
                      <a:pt x="46372" y="78259"/>
                      <a:pt x="41783" y="79996"/>
                    </a:cubicBezTo>
                    <a:cubicBezTo>
                      <a:pt x="37194" y="81732"/>
                      <a:pt x="32271" y="82600"/>
                      <a:pt x="27012" y="82600"/>
                    </a:cubicBezTo>
                    <a:cubicBezTo>
                      <a:pt x="18330" y="82600"/>
                      <a:pt x="11658" y="80479"/>
                      <a:pt x="6995" y="76238"/>
                    </a:cubicBezTo>
                    <a:cubicBezTo>
                      <a:pt x="2331" y="71996"/>
                      <a:pt x="0" y="66576"/>
                      <a:pt x="0" y="59978"/>
                    </a:cubicBezTo>
                    <a:cubicBezTo>
                      <a:pt x="0" y="56109"/>
                      <a:pt x="880" y="52574"/>
                      <a:pt x="2641" y="49374"/>
                    </a:cubicBezTo>
                    <a:cubicBezTo>
                      <a:pt x="4403" y="46174"/>
                      <a:pt x="6709" y="43607"/>
                      <a:pt x="9562" y="41672"/>
                    </a:cubicBezTo>
                    <a:cubicBezTo>
                      <a:pt x="12414" y="39738"/>
                      <a:pt x="15627" y="38274"/>
                      <a:pt x="19198" y="37282"/>
                    </a:cubicBezTo>
                    <a:cubicBezTo>
                      <a:pt x="21828" y="36587"/>
                      <a:pt x="25797" y="35918"/>
                      <a:pt x="31105" y="35273"/>
                    </a:cubicBezTo>
                    <a:cubicBezTo>
                      <a:pt x="41920" y="33983"/>
                      <a:pt x="49882" y="32445"/>
                      <a:pt x="54992" y="30659"/>
                    </a:cubicBezTo>
                    <a:cubicBezTo>
                      <a:pt x="55041" y="28824"/>
                      <a:pt x="55066" y="27658"/>
                      <a:pt x="55066" y="27162"/>
                    </a:cubicBezTo>
                    <a:cubicBezTo>
                      <a:pt x="55066" y="21705"/>
                      <a:pt x="53801" y="17860"/>
                      <a:pt x="51271" y="15627"/>
                    </a:cubicBezTo>
                    <a:cubicBezTo>
                      <a:pt x="47848" y="12601"/>
                      <a:pt x="42763" y="11088"/>
                      <a:pt x="36016" y="11088"/>
                    </a:cubicBezTo>
                    <a:cubicBezTo>
                      <a:pt x="29716" y="11088"/>
                      <a:pt x="25065" y="12192"/>
                      <a:pt x="22063" y="14400"/>
                    </a:cubicBezTo>
                    <a:cubicBezTo>
                      <a:pt x="19062" y="16607"/>
                      <a:pt x="16842" y="20514"/>
                      <a:pt x="15403" y="26120"/>
                    </a:cubicBezTo>
                    <a:lnTo>
                      <a:pt x="2306" y="24334"/>
                    </a:lnTo>
                    <a:cubicBezTo>
                      <a:pt x="3497" y="18728"/>
                      <a:pt x="5457" y="14201"/>
                      <a:pt x="8185" y="10753"/>
                    </a:cubicBezTo>
                    <a:cubicBezTo>
                      <a:pt x="10914" y="7305"/>
                      <a:pt x="14858" y="4651"/>
                      <a:pt x="20017" y="2791"/>
                    </a:cubicBezTo>
                    <a:cubicBezTo>
                      <a:pt x="25176" y="931"/>
                      <a:pt x="31154" y="0"/>
                      <a:pt x="37951" y="0"/>
                    </a:cubicBezTo>
                    <a:close/>
                    <a:moveTo>
                      <a:pt x="54992" y="41151"/>
                    </a:moveTo>
                    <a:cubicBezTo>
                      <a:pt x="50130" y="43136"/>
                      <a:pt x="42837" y="44823"/>
                      <a:pt x="33114" y="46212"/>
                    </a:cubicBezTo>
                    <a:cubicBezTo>
                      <a:pt x="27607" y="47005"/>
                      <a:pt x="23713" y="47898"/>
                      <a:pt x="21431" y="48890"/>
                    </a:cubicBezTo>
                    <a:cubicBezTo>
                      <a:pt x="19149" y="49883"/>
                      <a:pt x="17388" y="51334"/>
                      <a:pt x="16147" y="53244"/>
                    </a:cubicBezTo>
                    <a:cubicBezTo>
                      <a:pt x="14907" y="55154"/>
                      <a:pt x="14287" y="57274"/>
                      <a:pt x="14287" y="59606"/>
                    </a:cubicBezTo>
                    <a:cubicBezTo>
                      <a:pt x="14287" y="63178"/>
                      <a:pt x="15639" y="66155"/>
                      <a:pt x="18343" y="68536"/>
                    </a:cubicBezTo>
                    <a:cubicBezTo>
                      <a:pt x="21046" y="70917"/>
                      <a:pt x="25003" y="72108"/>
                      <a:pt x="30212" y="72108"/>
                    </a:cubicBezTo>
                    <a:cubicBezTo>
                      <a:pt x="35371" y="72108"/>
                      <a:pt x="39960" y="70979"/>
                      <a:pt x="43978" y="68722"/>
                    </a:cubicBezTo>
                    <a:cubicBezTo>
                      <a:pt x="47997" y="66465"/>
                      <a:pt x="50949" y="63376"/>
                      <a:pt x="52834" y="59457"/>
                    </a:cubicBezTo>
                    <a:cubicBezTo>
                      <a:pt x="54272" y="56431"/>
                      <a:pt x="54992" y="51966"/>
                      <a:pt x="54992" y="46063"/>
                    </a:cubicBezTo>
                    <a:lnTo>
                      <a:pt x="54992" y="4115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08" name="Freihandform: Form 2907">
                <a:extLst>
                  <a:ext uri="{FF2B5EF4-FFF2-40B4-BE49-F238E27FC236}">
                    <a16:creationId xmlns:a16="http://schemas.microsoft.com/office/drawing/2014/main" id="{8D48821B-0EEC-FBDD-2AC4-DBEC81534E13}"/>
                  </a:ext>
                </a:extLst>
              </p:cNvPr>
              <p:cNvSpPr/>
              <p:nvPr/>
            </p:nvSpPr>
            <p:spPr>
              <a:xfrm>
                <a:off x="10014957" y="3259096"/>
                <a:ext cx="42937" cy="80814"/>
              </a:xfrm>
              <a:custGeom>
                <a:avLst/>
                <a:gdLst/>
                <a:ahLst/>
                <a:cxnLst/>
                <a:rect l="l" t="t" r="r" b="b"/>
                <a:pathLst>
                  <a:path w="42937" h="80814">
                    <a:moveTo>
                      <a:pt x="29170" y="0"/>
                    </a:moveTo>
                    <a:cubicBezTo>
                      <a:pt x="33685" y="0"/>
                      <a:pt x="38274" y="1439"/>
                      <a:pt x="42937" y="4316"/>
                    </a:cubicBezTo>
                    <a:lnTo>
                      <a:pt x="38323" y="16744"/>
                    </a:lnTo>
                    <a:cubicBezTo>
                      <a:pt x="35049" y="14809"/>
                      <a:pt x="31775" y="13841"/>
                      <a:pt x="28501" y="13841"/>
                    </a:cubicBezTo>
                    <a:cubicBezTo>
                      <a:pt x="25574" y="13841"/>
                      <a:pt x="22944" y="14722"/>
                      <a:pt x="20613" y="16483"/>
                    </a:cubicBezTo>
                    <a:cubicBezTo>
                      <a:pt x="18281" y="18244"/>
                      <a:pt x="16619" y="20688"/>
                      <a:pt x="15627" y="23813"/>
                    </a:cubicBezTo>
                    <a:cubicBezTo>
                      <a:pt x="14139" y="28575"/>
                      <a:pt x="13395" y="33784"/>
                      <a:pt x="13395" y="39440"/>
                    </a:cubicBezTo>
                    <a:lnTo>
                      <a:pt x="13395" y="80814"/>
                    </a:lnTo>
                    <a:lnTo>
                      <a:pt x="0" y="80814"/>
                    </a:lnTo>
                    <a:lnTo>
                      <a:pt x="0" y="1786"/>
                    </a:lnTo>
                    <a:lnTo>
                      <a:pt x="12055" y="1786"/>
                    </a:lnTo>
                    <a:lnTo>
                      <a:pt x="12055" y="13767"/>
                    </a:lnTo>
                    <a:cubicBezTo>
                      <a:pt x="15131" y="8161"/>
                      <a:pt x="17971" y="4465"/>
                      <a:pt x="20576" y="2679"/>
                    </a:cubicBezTo>
                    <a:cubicBezTo>
                      <a:pt x="23180" y="893"/>
                      <a:pt x="26045" y="0"/>
                      <a:pt x="2917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09" name="Freihandform: Form 2908">
                <a:extLst>
                  <a:ext uri="{FF2B5EF4-FFF2-40B4-BE49-F238E27FC236}">
                    <a16:creationId xmlns:a16="http://schemas.microsoft.com/office/drawing/2014/main" id="{2972ED79-852E-9837-C04F-35592CAD6132}"/>
                  </a:ext>
                </a:extLst>
              </p:cNvPr>
              <p:cNvSpPr/>
              <p:nvPr/>
            </p:nvSpPr>
            <p:spPr>
              <a:xfrm>
                <a:off x="10057744" y="3259096"/>
                <a:ext cx="74042" cy="82600"/>
              </a:xfrm>
              <a:custGeom>
                <a:avLst/>
                <a:gdLst/>
                <a:ahLst/>
                <a:cxnLst/>
                <a:rect l="l" t="t" r="r" b="b"/>
                <a:pathLst>
                  <a:path w="74042" h="82600">
                    <a:moveTo>
                      <a:pt x="37058" y="0"/>
                    </a:moveTo>
                    <a:cubicBezTo>
                      <a:pt x="47923" y="0"/>
                      <a:pt x="56803" y="3560"/>
                      <a:pt x="63699" y="10679"/>
                    </a:cubicBezTo>
                    <a:cubicBezTo>
                      <a:pt x="70594" y="17798"/>
                      <a:pt x="74042" y="27633"/>
                      <a:pt x="74042" y="40184"/>
                    </a:cubicBezTo>
                    <a:cubicBezTo>
                      <a:pt x="74042" y="50354"/>
                      <a:pt x="72517" y="58353"/>
                      <a:pt x="69466" y="64183"/>
                    </a:cubicBezTo>
                    <a:cubicBezTo>
                      <a:pt x="66415" y="70012"/>
                      <a:pt x="61975" y="74538"/>
                      <a:pt x="56146" y="77763"/>
                    </a:cubicBezTo>
                    <a:cubicBezTo>
                      <a:pt x="50316" y="80988"/>
                      <a:pt x="43954" y="82600"/>
                      <a:pt x="37058" y="82600"/>
                    </a:cubicBezTo>
                    <a:cubicBezTo>
                      <a:pt x="25996" y="82600"/>
                      <a:pt x="17053" y="79053"/>
                      <a:pt x="10232" y="71959"/>
                    </a:cubicBezTo>
                    <a:cubicBezTo>
                      <a:pt x="3411" y="64865"/>
                      <a:pt x="0" y="54645"/>
                      <a:pt x="0" y="41300"/>
                    </a:cubicBezTo>
                    <a:cubicBezTo>
                      <a:pt x="0" y="26666"/>
                      <a:pt x="4068" y="15826"/>
                      <a:pt x="12204" y="8781"/>
                    </a:cubicBezTo>
                    <a:cubicBezTo>
                      <a:pt x="19001" y="2927"/>
                      <a:pt x="27285" y="0"/>
                      <a:pt x="37058" y="0"/>
                    </a:cubicBezTo>
                    <a:close/>
                    <a:moveTo>
                      <a:pt x="37058" y="11088"/>
                    </a:moveTo>
                    <a:cubicBezTo>
                      <a:pt x="30361" y="11088"/>
                      <a:pt x="24805" y="13593"/>
                      <a:pt x="20390" y="18604"/>
                    </a:cubicBezTo>
                    <a:cubicBezTo>
                      <a:pt x="15974" y="23615"/>
                      <a:pt x="13767" y="31180"/>
                      <a:pt x="13767" y="41300"/>
                    </a:cubicBezTo>
                    <a:cubicBezTo>
                      <a:pt x="13767" y="51421"/>
                      <a:pt x="15974" y="58998"/>
                      <a:pt x="20390" y="64034"/>
                    </a:cubicBezTo>
                    <a:cubicBezTo>
                      <a:pt x="24805" y="69069"/>
                      <a:pt x="30361" y="71587"/>
                      <a:pt x="37058" y="71587"/>
                    </a:cubicBezTo>
                    <a:cubicBezTo>
                      <a:pt x="43706" y="71587"/>
                      <a:pt x="49237" y="69057"/>
                      <a:pt x="53653" y="63997"/>
                    </a:cubicBezTo>
                    <a:cubicBezTo>
                      <a:pt x="58068" y="58936"/>
                      <a:pt x="60276" y="51222"/>
                      <a:pt x="60276" y="40854"/>
                    </a:cubicBezTo>
                    <a:cubicBezTo>
                      <a:pt x="60276" y="31081"/>
                      <a:pt x="58056" y="23676"/>
                      <a:pt x="53616" y="18641"/>
                    </a:cubicBezTo>
                    <a:cubicBezTo>
                      <a:pt x="49176" y="13606"/>
                      <a:pt x="43656" y="11088"/>
                      <a:pt x="37058" y="11088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10" name="Freihandform: Form 2909">
                <a:extLst>
                  <a:ext uri="{FF2B5EF4-FFF2-40B4-BE49-F238E27FC236}">
                    <a16:creationId xmlns:a16="http://schemas.microsoft.com/office/drawing/2014/main" id="{6624D1F7-0965-3819-7C92-2133E447BABF}"/>
                  </a:ext>
                </a:extLst>
              </p:cNvPr>
              <p:cNvSpPr/>
              <p:nvPr/>
            </p:nvSpPr>
            <p:spPr>
              <a:xfrm>
                <a:off x="9538930" y="3260882"/>
                <a:ext cx="13395" cy="79028"/>
              </a:xfrm>
              <a:custGeom>
                <a:avLst/>
                <a:gdLst/>
                <a:ahLst/>
                <a:cxnLst/>
                <a:rect l="l" t="t" r="r" b="b"/>
                <a:pathLst>
                  <a:path w="13395" h="79028">
                    <a:moveTo>
                      <a:pt x="0" y="0"/>
                    </a:moveTo>
                    <a:lnTo>
                      <a:pt x="13395" y="0"/>
                    </a:lnTo>
                    <a:lnTo>
                      <a:pt x="13395" y="79028"/>
                    </a:lnTo>
                    <a:lnTo>
                      <a:pt x="0" y="7902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11" name="Freihandform: Form 2910">
                <a:extLst>
                  <a:ext uri="{FF2B5EF4-FFF2-40B4-BE49-F238E27FC236}">
                    <a16:creationId xmlns:a16="http://schemas.microsoft.com/office/drawing/2014/main" id="{54906DF8-45EB-6F4E-BE6E-BE6057B38B7E}"/>
                  </a:ext>
                </a:extLst>
              </p:cNvPr>
              <p:cNvSpPr/>
              <p:nvPr/>
            </p:nvSpPr>
            <p:spPr>
              <a:xfrm>
                <a:off x="9569887" y="3260882"/>
                <a:ext cx="69949" cy="79028"/>
              </a:xfrm>
              <a:custGeom>
                <a:avLst/>
                <a:gdLst/>
                <a:ahLst/>
                <a:cxnLst/>
                <a:rect l="l" t="t" r="r" b="b"/>
                <a:pathLst>
                  <a:path w="69949" h="79028">
                    <a:moveTo>
                      <a:pt x="2976" y="0"/>
                    </a:moveTo>
                    <a:lnTo>
                      <a:pt x="67568" y="0"/>
                    </a:lnTo>
                    <a:lnTo>
                      <a:pt x="67568" y="8856"/>
                    </a:lnTo>
                    <a:lnTo>
                      <a:pt x="24779" y="59011"/>
                    </a:lnTo>
                    <a:lnTo>
                      <a:pt x="16519" y="68164"/>
                    </a:lnTo>
                    <a:cubicBezTo>
                      <a:pt x="22522" y="67717"/>
                      <a:pt x="28153" y="67494"/>
                      <a:pt x="33411" y="67494"/>
                    </a:cubicBezTo>
                    <a:lnTo>
                      <a:pt x="69949" y="67494"/>
                    </a:lnTo>
                    <a:lnTo>
                      <a:pt x="69949" y="79028"/>
                    </a:lnTo>
                    <a:lnTo>
                      <a:pt x="0" y="79028"/>
                    </a:lnTo>
                    <a:lnTo>
                      <a:pt x="0" y="68164"/>
                    </a:lnTo>
                    <a:lnTo>
                      <a:pt x="50303" y="10418"/>
                    </a:lnTo>
                    <a:cubicBezTo>
                      <a:pt x="44598" y="10716"/>
                      <a:pt x="39563" y="10865"/>
                      <a:pt x="35197" y="10865"/>
                    </a:cubicBezTo>
                    <a:lnTo>
                      <a:pt x="2976" y="10865"/>
                    </a:lnTo>
                    <a:lnTo>
                      <a:pt x="2976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12" name="Freihandform: Form 2911">
                <a:extLst>
                  <a:ext uri="{FF2B5EF4-FFF2-40B4-BE49-F238E27FC236}">
                    <a16:creationId xmlns:a16="http://schemas.microsoft.com/office/drawing/2014/main" id="{F477A0BC-74F8-B832-9951-320E2418B3FB}"/>
                  </a:ext>
                </a:extLst>
              </p:cNvPr>
              <p:cNvSpPr/>
              <p:nvPr/>
            </p:nvSpPr>
            <p:spPr>
              <a:xfrm>
                <a:off x="9977080" y="3260882"/>
                <a:ext cx="13395" cy="79028"/>
              </a:xfrm>
              <a:custGeom>
                <a:avLst/>
                <a:gdLst/>
                <a:ahLst/>
                <a:cxnLst/>
                <a:rect l="l" t="t" r="r" b="b"/>
                <a:pathLst>
                  <a:path w="13395" h="79028">
                    <a:moveTo>
                      <a:pt x="0" y="0"/>
                    </a:moveTo>
                    <a:lnTo>
                      <a:pt x="13395" y="0"/>
                    </a:lnTo>
                    <a:lnTo>
                      <a:pt x="13395" y="79028"/>
                    </a:lnTo>
                    <a:lnTo>
                      <a:pt x="0" y="7902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913" name="Freihandform: Form 2912">
                <a:extLst>
                  <a:ext uri="{FF2B5EF4-FFF2-40B4-BE49-F238E27FC236}">
                    <a16:creationId xmlns:a16="http://schemas.microsoft.com/office/drawing/2014/main" id="{35697694-B2EF-C137-95A8-A7E984A4061C}"/>
                  </a:ext>
                </a:extLst>
              </p:cNvPr>
              <p:cNvSpPr/>
              <p:nvPr/>
            </p:nvSpPr>
            <p:spPr>
              <a:xfrm>
                <a:off x="9724147" y="3293700"/>
                <a:ext cx="41151" cy="13469"/>
              </a:xfrm>
              <a:custGeom>
                <a:avLst/>
                <a:gdLst/>
                <a:ahLst/>
                <a:cxnLst/>
                <a:rect l="l" t="t" r="r" b="b"/>
                <a:pathLst>
                  <a:path w="41151" h="13469">
                    <a:moveTo>
                      <a:pt x="0" y="0"/>
                    </a:moveTo>
                    <a:lnTo>
                      <a:pt x="41151" y="0"/>
                    </a:lnTo>
                    <a:lnTo>
                      <a:pt x="41151" y="13469"/>
                    </a:lnTo>
                    <a:lnTo>
                      <a:pt x="0" y="134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7" name="Rechteck 16">
            <a:extLst>
              <a:ext uri="{FF2B5EF4-FFF2-40B4-BE49-F238E27FC236}">
                <a16:creationId xmlns:a16="http://schemas.microsoft.com/office/drawing/2014/main" id="{8B71BFA9-F66B-CD5C-E599-28DB1EAAAB64}"/>
              </a:ext>
            </a:extLst>
          </p:cNvPr>
          <p:cNvSpPr/>
          <p:nvPr/>
        </p:nvSpPr>
        <p:spPr bwMode="gray">
          <a:xfrm>
            <a:off x="3992157" y="-23721"/>
            <a:ext cx="244033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179560E3-32A4-A99B-C166-0E57C635C1E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992157" y="148437"/>
            <a:ext cx="2440330" cy="966787"/>
          </a:xfrm>
        </p:spPr>
        <p:txBody>
          <a:bodyPr/>
          <a:lstStyle/>
          <a:p>
            <a:pPr algn="ctr"/>
            <a:r>
              <a:rPr lang="en-US" sz="1600" b="1" dirty="0">
                <a:cs typeface="Arial" panose="020B0604020202020204" pitchFamily="34" charset="0"/>
              </a:rPr>
              <a:t>Gateways</a:t>
            </a:r>
            <a:br>
              <a:rPr lang="en-US" sz="1600" b="1" dirty="0">
                <a:cs typeface="Arial" panose="020B0604020202020204" pitchFamily="34" charset="0"/>
              </a:rPr>
            </a:br>
            <a:r>
              <a:rPr lang="en-US" sz="1600" b="1" dirty="0">
                <a:cs typeface="Arial" panose="020B0604020202020204" pitchFamily="34" charset="0"/>
              </a:rPr>
              <a:t>at a glance: </a:t>
            </a:r>
            <a:br>
              <a:rPr lang="en-US" sz="1600" b="1" dirty="0">
                <a:cs typeface="Arial" panose="020B0604020202020204" pitchFamily="34" charset="0"/>
              </a:rPr>
            </a:br>
            <a:br>
              <a:rPr lang="en-US" sz="1600" b="1" dirty="0">
                <a:cs typeface="Arial" panose="020B0604020202020204" pitchFamily="34" charset="0"/>
              </a:rPr>
            </a:br>
            <a:r>
              <a:rPr lang="en-US" sz="1050" b="0" dirty="0">
                <a:cs typeface="Arial" panose="020B0604020202020204" pitchFamily="34" charset="0"/>
              </a:rPr>
              <a:t>Top European destinations beyond FRA from North America</a:t>
            </a:r>
            <a:endParaRPr lang="en-US" sz="1050" b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437A4E-8936-0166-8712-C44D0A78A9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4495395" y="4950945"/>
            <a:ext cx="6480000" cy="107722"/>
          </a:xfrm>
        </p:spPr>
        <p:txBody>
          <a:bodyPr/>
          <a:lstStyle/>
          <a:p>
            <a:r>
              <a:rPr lang="en-US"/>
              <a:t>Condor Sales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649429-1284-AF9A-0670-D6F8028BD0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7883920" y="4961244"/>
            <a:ext cx="828402" cy="107722"/>
          </a:xfrm>
        </p:spPr>
        <p:txBody>
          <a:bodyPr/>
          <a:lstStyle/>
          <a:p>
            <a:r>
              <a:rPr lang="en-US"/>
              <a:t>Page </a:t>
            </a:r>
            <a:fld id="{C1238E5F-BF35-42A5-A94E-68B816B46E96}" type="slidenum">
              <a:rPr lang="en-US" smtClean="0"/>
              <a:pPr/>
              <a:t>18</a:t>
            </a:fld>
            <a:endParaRPr lang="en-US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19B91C2-1CBF-D441-09E9-A9C7643B7D7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992157" y="4134661"/>
            <a:ext cx="324000" cy="742950"/>
            <a:chOff x="0" y="4144960"/>
            <a:chExt cx="324000" cy="742950"/>
          </a:xfrm>
          <a:solidFill>
            <a:schemeClr val="bg2"/>
          </a:solidFill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4C845BF7-97E7-FF83-CA25-01CD76B61A4F}"/>
                </a:ext>
              </a:extLst>
            </p:cNvPr>
            <p:cNvSpPr/>
            <p:nvPr/>
          </p:nvSpPr>
          <p:spPr bwMode="gray">
            <a:xfrm>
              <a:off x="0" y="4144960"/>
              <a:ext cx="323528" cy="7429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8D91ED6A-C84C-57BC-FD25-1B3551D99F3B}"/>
                </a:ext>
              </a:extLst>
            </p:cNvPr>
            <p:cNvGrpSpPr/>
            <p:nvPr/>
          </p:nvGrpSpPr>
          <p:grpSpPr bwMode="gray">
            <a:xfrm>
              <a:off x="0" y="4144960"/>
              <a:ext cx="324000" cy="742950"/>
              <a:chOff x="0" y="4154488"/>
              <a:chExt cx="324000" cy="742950"/>
            </a:xfrm>
            <a:grpFill/>
          </p:grpSpPr>
          <p:sp>
            <p:nvSpPr>
              <p:cNvPr id="8" name="Rechteck 7">
                <a:extLst>
                  <a:ext uri="{FF2B5EF4-FFF2-40B4-BE49-F238E27FC236}">
                    <a16:creationId xmlns:a16="http://schemas.microsoft.com/office/drawing/2014/main" id="{820FA071-6283-772F-524A-390BBA125269}"/>
                  </a:ext>
                </a:extLst>
              </p:cNvPr>
              <p:cNvSpPr/>
              <p:nvPr userDrawn="1"/>
            </p:nvSpPr>
            <p:spPr bwMode="gray">
              <a:xfrm>
                <a:off x="0" y="41544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7F3ABFFF-DF11-181E-2EAA-E2CFF616222F}"/>
                  </a:ext>
                </a:extLst>
              </p:cNvPr>
              <p:cNvSpPr/>
              <p:nvPr userDrawn="1"/>
            </p:nvSpPr>
            <p:spPr bwMode="gray">
              <a:xfrm>
                <a:off x="0" y="43195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F8741166-9DD4-E95A-E772-C917C196829F}"/>
                  </a:ext>
                </a:extLst>
              </p:cNvPr>
              <p:cNvSpPr/>
              <p:nvPr userDrawn="1"/>
            </p:nvSpPr>
            <p:spPr bwMode="gray">
              <a:xfrm>
                <a:off x="0" y="44846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46892E36-E5DB-B47E-1601-260B4E558AAF}"/>
                  </a:ext>
                </a:extLst>
              </p:cNvPr>
              <p:cNvSpPr/>
              <p:nvPr userDrawn="1"/>
            </p:nvSpPr>
            <p:spPr bwMode="gray">
              <a:xfrm>
                <a:off x="0" y="46497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CB8D3D85-25A3-FE0A-A77A-4C5B9443A3A8}"/>
                  </a:ext>
                </a:extLst>
              </p:cNvPr>
              <p:cNvSpPr/>
              <p:nvPr userDrawn="1"/>
            </p:nvSpPr>
            <p:spPr bwMode="gray">
              <a:xfrm>
                <a:off x="0" y="48148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5A96ECAC-551D-A1D8-4596-7587F8781A9D}"/>
              </a:ext>
            </a:extLst>
          </p:cNvPr>
          <p:cNvSpPr txBox="1"/>
          <p:nvPr/>
        </p:nvSpPr>
        <p:spPr>
          <a:xfrm>
            <a:off x="4487831" y="1386480"/>
            <a:ext cx="1971655" cy="329320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Florenc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Brussel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R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cs typeface="Calibri"/>
              </a:rPr>
              <a:t>Ven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cs typeface="Calibri"/>
              </a:rPr>
              <a:t>Vien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cs typeface="Calibri"/>
              </a:rPr>
              <a:t>N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cs typeface="Calibri"/>
              </a:rPr>
              <a:t>Hambur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cs typeface="Calibri"/>
              </a:rPr>
              <a:t>Prag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cs typeface="Calibri"/>
              </a:rPr>
              <a:t>Budapes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/>
              <a:t>Zagre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cs typeface="Calibri"/>
              </a:rPr>
              <a:t>Athe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cs typeface="Calibri"/>
              </a:rPr>
              <a:t>Warsa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cs typeface="Calibri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F0B5F4A-D500-5AEF-0042-1924DA2ACE89}"/>
              </a:ext>
            </a:extLst>
          </p:cNvPr>
          <p:cNvSpPr txBox="1"/>
          <p:nvPr/>
        </p:nvSpPr>
        <p:spPr>
          <a:xfrm>
            <a:off x="5633580" y="2463078"/>
            <a:ext cx="6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200" err="1"/>
          </a:p>
        </p:txBody>
      </p:sp>
    </p:spTree>
    <p:extLst>
      <p:ext uri="{BB962C8B-B14F-4D97-AF65-F5344CB8AC3E}">
        <p14:creationId xmlns:p14="http://schemas.microsoft.com/office/powerpoint/2010/main" val="25339133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AF770-1614-8140-B722-EE8BA3D5B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Fly beyond Frankfurt</a:t>
            </a:r>
            <a:endParaRPr lang="de-DE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465AC1-E771-C13B-7445-8EFA6AE6A4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CF2ED6-C866-FC56-9A19-23DEE854E2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BCE48E-BD49-A3CB-0348-A960E0934C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238" y="901393"/>
            <a:ext cx="7144631" cy="39023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633763A-A22D-6BA5-9607-1BFD95D1A0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6246" y="3745699"/>
            <a:ext cx="1028270" cy="10580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AF82313-97A2-FE1B-3CB0-451A9075DB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8528" y="1105742"/>
            <a:ext cx="492948" cy="196671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A88A044-4B1A-E5E0-67A9-AA40713ABC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37576" y="1101383"/>
            <a:ext cx="488548" cy="88130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416D897-7322-539F-ED31-D706ACC61A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37576" y="2089097"/>
            <a:ext cx="642004" cy="6862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D4A9282-00D5-F155-6ED2-3EA28C3176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66246" y="3440700"/>
            <a:ext cx="1028270" cy="27857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14C4F67-FCA3-D8D9-E6A2-27D6DEF78A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37576" y="2820759"/>
            <a:ext cx="673649" cy="25169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A49879F-055E-10F9-EF38-64F928B134B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88528" y="3115248"/>
            <a:ext cx="860435" cy="28265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48F4F08-5BD4-D707-B3E4-D810AC2918B9}"/>
              </a:ext>
            </a:extLst>
          </p:cNvPr>
          <p:cNvSpPr txBox="1"/>
          <p:nvPr/>
        </p:nvSpPr>
        <p:spPr>
          <a:xfrm>
            <a:off x="7766246" y="863512"/>
            <a:ext cx="10598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 b="1" u="sng" dirty="0"/>
              <a:t>Top examples:</a:t>
            </a:r>
            <a:endParaRPr lang="de-DE" sz="1200" b="1" u="sng" dirty="0" err="1"/>
          </a:p>
        </p:txBody>
      </p:sp>
    </p:spTree>
    <p:extLst>
      <p:ext uri="{BB962C8B-B14F-4D97-AF65-F5344CB8AC3E}">
        <p14:creationId xmlns:p14="http://schemas.microsoft.com/office/powerpoint/2010/main" val="15373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Transport, Flugzeug enthält.&#10;&#10;Automatisch generierte Beschreibung">
            <a:extLst>
              <a:ext uri="{FF2B5EF4-FFF2-40B4-BE49-F238E27FC236}">
                <a16:creationId xmlns:a16="http://schemas.microsoft.com/office/drawing/2014/main" id="{518D980D-7E04-430C-8BB5-0AE42AC6E4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3000"/>
                    </a14:imgEffect>
                    <a14:imgEffect>
                      <a14:brightnessContrast contrast="-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552" y="272088"/>
            <a:ext cx="8204732" cy="4619782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3913431" y="854601"/>
            <a:ext cx="1367682" cy="34624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1650" b="1">
                <a:solidFill>
                  <a:srgbClr val="FFC737"/>
                </a:solidFill>
                <a:latin typeface="Montserrat Light" charset="0"/>
                <a:ea typeface="Montserrat Light" charset="0"/>
                <a:cs typeface="Montserrat Light" charset="0"/>
              </a:rPr>
              <a:t>who we are</a:t>
            </a:r>
          </a:p>
        </p:txBody>
      </p:sp>
      <p:sp>
        <p:nvSpPr>
          <p:cNvPr id="12" name="Rechteck 11"/>
          <p:cNvSpPr/>
          <p:nvPr/>
        </p:nvSpPr>
        <p:spPr>
          <a:xfrm>
            <a:off x="5427960" y="3373815"/>
            <a:ext cx="3043159" cy="120032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336947" marR="21193">
              <a:spcBef>
                <a:spcPts val="390"/>
              </a:spcBef>
              <a:spcAft>
                <a:spcPts val="225"/>
              </a:spcAft>
            </a:pPr>
            <a:r>
              <a:rPr lang="en-US" sz="1200" spc="-1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or operates a fleet of more than </a:t>
            </a:r>
            <a:r>
              <a:rPr lang="en-US" sz="1200" b="1" spc="-1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aircrafts</a:t>
            </a:r>
            <a:r>
              <a:rPr lang="en-US" sz="1200" spc="-1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which are maintained by its subsidiary Condor Technik GmbH according to the highest safety standards at its Frankfurt and Düsseldorf locations.</a:t>
            </a:r>
          </a:p>
        </p:txBody>
      </p:sp>
      <p:sp>
        <p:nvSpPr>
          <p:cNvPr id="13" name="Rechteck 12"/>
          <p:cNvSpPr/>
          <p:nvPr/>
        </p:nvSpPr>
        <p:spPr>
          <a:xfrm>
            <a:off x="191691" y="3127401"/>
            <a:ext cx="290462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37542" marR="21193" algn="r">
              <a:spcBef>
                <a:spcPts val="390"/>
              </a:spcBef>
              <a:spcAft>
                <a:spcPts val="225"/>
              </a:spcAft>
            </a:pPr>
            <a:r>
              <a:rPr lang="en-US" sz="1200" spc="-1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or has been flying its guests to the most beautiful holiday destinations in the world </a:t>
            </a:r>
            <a:r>
              <a:rPr lang="en-US" sz="1200" b="1" spc="-1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ce 1956</a:t>
            </a:r>
            <a:r>
              <a:rPr lang="en-US" sz="1200" spc="-1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ccording to a survey conducted by the German Institute for Service Quality, Condor has repeatedly been named </a:t>
            </a:r>
            <a:r>
              <a:rPr lang="en-US" sz="1200" b="1" spc="-1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many's most popular holiday airline </a:t>
            </a:r>
            <a:r>
              <a:rPr lang="en-US" sz="1200" spc="-1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many years.</a:t>
            </a:r>
          </a:p>
        </p:txBody>
      </p:sp>
      <p:sp>
        <p:nvSpPr>
          <p:cNvPr id="14" name="Rechteck 13"/>
          <p:cNvSpPr/>
          <p:nvPr/>
        </p:nvSpPr>
        <p:spPr>
          <a:xfrm>
            <a:off x="6305001" y="1260585"/>
            <a:ext cx="269171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36947" marR="21193">
              <a:spcBef>
                <a:spcPts val="390"/>
              </a:spcBef>
              <a:spcAft>
                <a:spcPts val="225"/>
              </a:spcAft>
            </a:pPr>
            <a:br>
              <a:rPr lang="en-US" sz="1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spc="-1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ry year, around </a:t>
            </a:r>
            <a:r>
              <a:rPr lang="en-US" sz="1200" b="1" spc="-1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.4 million passengers </a:t>
            </a:r>
            <a:r>
              <a:rPr lang="en-US" sz="1200" spc="-1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y with Condor from eight German airports to around </a:t>
            </a:r>
            <a:r>
              <a:rPr lang="en-US" sz="1200" b="1" spc="-1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 destinations</a:t>
            </a:r>
            <a:r>
              <a:rPr lang="en-US" sz="1200" spc="-17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Europe, Africa and America.</a:t>
            </a:r>
          </a:p>
        </p:txBody>
      </p:sp>
      <p:cxnSp>
        <p:nvCxnSpPr>
          <p:cNvPr id="8" name="Gerade Verbindung 7"/>
          <p:cNvCxnSpPr/>
          <p:nvPr/>
        </p:nvCxnSpPr>
        <p:spPr>
          <a:xfrm flipH="1">
            <a:off x="6310604" y="1542758"/>
            <a:ext cx="237826" cy="0"/>
          </a:xfrm>
          <a:prstGeom prst="line">
            <a:avLst/>
          </a:prstGeom>
          <a:ln w="38100"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0" name="Gerade Verbindung 9"/>
          <p:cNvCxnSpPr>
            <a:cxnSpLocks/>
          </p:cNvCxnSpPr>
          <p:nvPr/>
        </p:nvCxnSpPr>
        <p:spPr>
          <a:xfrm flipH="1">
            <a:off x="5556569" y="1541020"/>
            <a:ext cx="759392" cy="625238"/>
          </a:xfrm>
          <a:prstGeom prst="line">
            <a:avLst/>
          </a:prstGeom>
          <a:ln w="38100"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flipH="1">
            <a:off x="3101230" y="3795978"/>
            <a:ext cx="237826" cy="0"/>
          </a:xfrm>
          <a:prstGeom prst="line">
            <a:avLst/>
          </a:prstGeom>
          <a:ln w="38100"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6" name="Gerade Verbindung 25"/>
          <p:cNvCxnSpPr>
            <a:cxnSpLocks/>
          </p:cNvCxnSpPr>
          <p:nvPr/>
        </p:nvCxnSpPr>
        <p:spPr>
          <a:xfrm flipH="1">
            <a:off x="3339056" y="2955724"/>
            <a:ext cx="680692" cy="840254"/>
          </a:xfrm>
          <a:prstGeom prst="line">
            <a:avLst/>
          </a:prstGeom>
          <a:ln w="38100"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4" name="Gerade Verbindung 33"/>
          <p:cNvCxnSpPr>
            <a:cxnSpLocks/>
          </p:cNvCxnSpPr>
          <p:nvPr/>
        </p:nvCxnSpPr>
        <p:spPr>
          <a:xfrm>
            <a:off x="4910648" y="3023291"/>
            <a:ext cx="517311" cy="915409"/>
          </a:xfrm>
          <a:prstGeom prst="line">
            <a:avLst/>
          </a:prstGeom>
          <a:ln w="38100"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/>
        </p:nvCxnSpPr>
        <p:spPr>
          <a:xfrm flipH="1">
            <a:off x="5427960" y="3938700"/>
            <a:ext cx="237826" cy="0"/>
          </a:xfrm>
          <a:prstGeom prst="line">
            <a:avLst/>
          </a:prstGeom>
          <a:ln w="38100"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31B9A07-AC0D-48AB-9A76-E48608F2095C}"/>
              </a:ext>
            </a:extLst>
          </p:cNvPr>
          <p:cNvGrpSpPr/>
          <p:nvPr/>
        </p:nvGrpSpPr>
        <p:grpSpPr>
          <a:xfrm>
            <a:off x="1191" y="4144960"/>
            <a:ext cx="323916" cy="742950"/>
            <a:chOff x="0" y="4144960"/>
            <a:chExt cx="324000" cy="742950"/>
          </a:xfrm>
          <a:solidFill>
            <a:schemeClr val="bg2"/>
          </a:solidFill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A22FED39-9230-473C-BA7A-88AAB075298A}"/>
                </a:ext>
              </a:extLst>
            </p:cNvPr>
            <p:cNvSpPr/>
            <p:nvPr userDrawn="1"/>
          </p:nvSpPr>
          <p:spPr>
            <a:xfrm>
              <a:off x="0" y="4144960"/>
              <a:ext cx="323528" cy="7429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3599"/>
            </a:p>
          </p:txBody>
        </p: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61B6E36D-975F-411B-BEDB-E928E7C89341}"/>
                </a:ext>
              </a:extLst>
            </p:cNvPr>
            <p:cNvGrpSpPr/>
            <p:nvPr/>
          </p:nvGrpSpPr>
          <p:grpSpPr>
            <a:xfrm>
              <a:off x="0" y="4144960"/>
              <a:ext cx="324000" cy="742950"/>
              <a:chOff x="0" y="4154488"/>
              <a:chExt cx="324000" cy="742950"/>
            </a:xfrm>
            <a:grpFill/>
          </p:grpSpPr>
          <p:sp>
            <p:nvSpPr>
              <p:cNvPr id="21" name="Rechteck 20">
                <a:extLst>
                  <a:ext uri="{FF2B5EF4-FFF2-40B4-BE49-F238E27FC236}">
                    <a16:creationId xmlns:a16="http://schemas.microsoft.com/office/drawing/2014/main" id="{802D1D50-1A6A-46D1-BC96-4D9C67253E67}"/>
                  </a:ext>
                </a:extLst>
              </p:cNvPr>
              <p:cNvSpPr/>
              <p:nvPr userDrawn="1"/>
            </p:nvSpPr>
            <p:spPr>
              <a:xfrm>
                <a:off x="0" y="41544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3599"/>
              </a:p>
            </p:txBody>
          </p:sp>
          <p:sp>
            <p:nvSpPr>
              <p:cNvPr id="22" name="Rechteck 21">
                <a:extLst>
                  <a:ext uri="{FF2B5EF4-FFF2-40B4-BE49-F238E27FC236}">
                    <a16:creationId xmlns:a16="http://schemas.microsoft.com/office/drawing/2014/main" id="{97829F60-32EC-4688-8F43-4F21DE0B57F7}"/>
                  </a:ext>
                </a:extLst>
              </p:cNvPr>
              <p:cNvSpPr/>
              <p:nvPr userDrawn="1"/>
            </p:nvSpPr>
            <p:spPr>
              <a:xfrm>
                <a:off x="0" y="43195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3599"/>
              </a:p>
            </p:txBody>
          </p: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1015C074-8A2C-42C1-8E36-A0FD960B56F6}"/>
                  </a:ext>
                </a:extLst>
              </p:cNvPr>
              <p:cNvSpPr/>
              <p:nvPr userDrawn="1"/>
            </p:nvSpPr>
            <p:spPr>
              <a:xfrm>
                <a:off x="0" y="44846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3599"/>
              </a:p>
            </p:txBody>
          </p:sp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CC447BCC-6C96-487C-8599-2B716DEB15C8}"/>
                  </a:ext>
                </a:extLst>
              </p:cNvPr>
              <p:cNvSpPr/>
              <p:nvPr userDrawn="1"/>
            </p:nvSpPr>
            <p:spPr>
              <a:xfrm>
                <a:off x="0" y="46497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3599"/>
              </a:p>
            </p:txBody>
          </p:sp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4B5B3D00-93A0-47FB-A1D2-F2B9134DE425}"/>
                  </a:ext>
                </a:extLst>
              </p:cNvPr>
              <p:cNvSpPr/>
              <p:nvPr userDrawn="1"/>
            </p:nvSpPr>
            <p:spPr>
              <a:xfrm>
                <a:off x="0" y="48148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3599"/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DF990BE-DC00-0E16-2523-019AAD2B07CC}"/>
              </a:ext>
            </a:extLst>
          </p:cNvPr>
          <p:cNvSpPr txBox="1"/>
          <p:nvPr/>
        </p:nvSpPr>
        <p:spPr>
          <a:xfrm>
            <a:off x="356559" y="149524"/>
            <a:ext cx="23897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3200" b="1" cap="all"/>
            </a:lvl1pPr>
          </a:lstStyle>
          <a:p>
            <a:r>
              <a:rPr lang="en-US"/>
              <a:t>Born to Fly</a:t>
            </a:r>
          </a:p>
        </p:txBody>
      </p:sp>
    </p:spTree>
    <p:extLst>
      <p:ext uri="{BB962C8B-B14F-4D97-AF65-F5344CB8AC3E}">
        <p14:creationId xmlns:p14="http://schemas.microsoft.com/office/powerpoint/2010/main" val="343786947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8A6AF4-9E6F-516A-E624-A7BD55BC989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Our Interline Partners Worldwide/Partner Airline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437A4E-8936-0166-8712-C44D0A78A9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Condor Sales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649429-1284-AF9A-0670-D6F8028BD0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1238E5F-BF35-42A5-A94E-68B816B46E96}" type="slidenum">
              <a:rPr lang="en-US" smtClean="0"/>
              <a:pPr/>
              <a:t>20</a:t>
            </a:fld>
            <a:endParaRPr lang="en-US"/>
          </a:p>
        </p:txBody>
      </p:sp>
      <p:grpSp>
        <p:nvGrpSpPr>
          <p:cNvPr id="837" name="Gruppieren 836">
            <a:extLst>
              <a:ext uri="{FF2B5EF4-FFF2-40B4-BE49-F238E27FC236}">
                <a16:creationId xmlns:a16="http://schemas.microsoft.com/office/drawing/2014/main" id="{ADB42558-24C9-B149-6FB1-87DBE442438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87081" y="879562"/>
            <a:ext cx="8561383" cy="3924436"/>
            <a:chOff x="187081" y="879562"/>
            <a:chExt cx="8561383" cy="3924436"/>
          </a:xfrm>
        </p:grpSpPr>
        <p:grpSp>
          <p:nvGrpSpPr>
            <p:cNvPr id="3" name="Group 461">
              <a:extLst>
                <a:ext uri="{FF2B5EF4-FFF2-40B4-BE49-F238E27FC236}">
                  <a16:creationId xmlns:a16="http://schemas.microsoft.com/office/drawing/2014/main" id="{5BB189EC-EE35-FA03-E81D-5840F36A3E03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503238" y="879562"/>
              <a:ext cx="8209222" cy="3887720"/>
              <a:chOff x="285" y="2943"/>
              <a:chExt cx="2517" cy="1192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6" name="Freeform 87">
                <a:extLst>
                  <a:ext uri="{FF2B5EF4-FFF2-40B4-BE49-F238E27FC236}">
                    <a16:creationId xmlns:a16="http://schemas.microsoft.com/office/drawing/2014/main" id="{872586C7-26C1-8967-1ECF-7833177E33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08" y="3631"/>
                <a:ext cx="3" cy="2"/>
              </a:xfrm>
              <a:custGeom>
                <a:avLst/>
                <a:gdLst>
                  <a:gd name="T0" fmla="*/ 3 w 5"/>
                  <a:gd name="T1" fmla="*/ 1 h 3"/>
                  <a:gd name="T2" fmla="*/ 0 w 5"/>
                  <a:gd name="T3" fmla="*/ 2 h 3"/>
                  <a:gd name="T4" fmla="*/ 0 w 5"/>
                  <a:gd name="T5" fmla="*/ 0 h 3"/>
                  <a:gd name="T6" fmla="*/ 3 w 5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" h="3">
                    <a:moveTo>
                      <a:pt x="5" y="2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" name="Freeform 88">
                <a:extLst>
                  <a:ext uri="{FF2B5EF4-FFF2-40B4-BE49-F238E27FC236}">
                    <a16:creationId xmlns:a16="http://schemas.microsoft.com/office/drawing/2014/main" id="{814082EC-D235-51C6-396C-43341B19CE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50" y="3605"/>
                <a:ext cx="80" cy="75"/>
              </a:xfrm>
              <a:custGeom>
                <a:avLst/>
                <a:gdLst>
                  <a:gd name="T0" fmla="*/ 80 w 181"/>
                  <a:gd name="T1" fmla="*/ 32 h 173"/>
                  <a:gd name="T2" fmla="*/ 72 w 181"/>
                  <a:gd name="T3" fmla="*/ 30 h 173"/>
                  <a:gd name="T4" fmla="*/ 72 w 181"/>
                  <a:gd name="T5" fmla="*/ 30 h 173"/>
                  <a:gd name="T6" fmla="*/ 68 w 181"/>
                  <a:gd name="T7" fmla="*/ 42 h 173"/>
                  <a:gd name="T8" fmla="*/ 70 w 181"/>
                  <a:gd name="T9" fmla="*/ 42 h 173"/>
                  <a:gd name="T10" fmla="*/ 68 w 181"/>
                  <a:gd name="T11" fmla="*/ 47 h 173"/>
                  <a:gd name="T12" fmla="*/ 63 w 181"/>
                  <a:gd name="T13" fmla="*/ 50 h 173"/>
                  <a:gd name="T14" fmla="*/ 59 w 181"/>
                  <a:gd name="T15" fmla="*/ 55 h 173"/>
                  <a:gd name="T16" fmla="*/ 60 w 181"/>
                  <a:gd name="T17" fmla="*/ 59 h 173"/>
                  <a:gd name="T18" fmla="*/ 61 w 181"/>
                  <a:gd name="T19" fmla="*/ 59 h 173"/>
                  <a:gd name="T20" fmla="*/ 59 w 181"/>
                  <a:gd name="T21" fmla="*/ 62 h 173"/>
                  <a:gd name="T22" fmla="*/ 57 w 181"/>
                  <a:gd name="T23" fmla="*/ 65 h 173"/>
                  <a:gd name="T24" fmla="*/ 55 w 181"/>
                  <a:gd name="T25" fmla="*/ 72 h 173"/>
                  <a:gd name="T26" fmla="*/ 45 w 181"/>
                  <a:gd name="T27" fmla="*/ 75 h 173"/>
                  <a:gd name="T28" fmla="*/ 44 w 181"/>
                  <a:gd name="T29" fmla="*/ 71 h 173"/>
                  <a:gd name="T30" fmla="*/ 42 w 181"/>
                  <a:gd name="T31" fmla="*/ 69 h 173"/>
                  <a:gd name="T32" fmla="*/ 37 w 181"/>
                  <a:gd name="T33" fmla="*/ 69 h 173"/>
                  <a:gd name="T34" fmla="*/ 32 w 181"/>
                  <a:gd name="T35" fmla="*/ 66 h 173"/>
                  <a:gd name="T36" fmla="*/ 27 w 181"/>
                  <a:gd name="T37" fmla="*/ 69 h 173"/>
                  <a:gd name="T38" fmla="*/ 23 w 181"/>
                  <a:gd name="T39" fmla="*/ 70 h 173"/>
                  <a:gd name="T40" fmla="*/ 21 w 181"/>
                  <a:gd name="T41" fmla="*/ 65 h 173"/>
                  <a:gd name="T42" fmla="*/ 14 w 181"/>
                  <a:gd name="T43" fmla="*/ 66 h 173"/>
                  <a:gd name="T44" fmla="*/ 15 w 181"/>
                  <a:gd name="T45" fmla="*/ 65 h 173"/>
                  <a:gd name="T46" fmla="*/ 13 w 181"/>
                  <a:gd name="T47" fmla="*/ 66 h 173"/>
                  <a:gd name="T48" fmla="*/ 9 w 181"/>
                  <a:gd name="T49" fmla="*/ 65 h 173"/>
                  <a:gd name="T50" fmla="*/ 8 w 181"/>
                  <a:gd name="T51" fmla="*/ 56 h 173"/>
                  <a:gd name="T52" fmla="*/ 8 w 181"/>
                  <a:gd name="T53" fmla="*/ 50 h 173"/>
                  <a:gd name="T54" fmla="*/ 3 w 181"/>
                  <a:gd name="T55" fmla="*/ 45 h 173"/>
                  <a:gd name="T56" fmla="*/ 4 w 181"/>
                  <a:gd name="T57" fmla="*/ 45 h 173"/>
                  <a:gd name="T58" fmla="*/ 2 w 181"/>
                  <a:gd name="T59" fmla="*/ 40 h 173"/>
                  <a:gd name="T60" fmla="*/ 2 w 181"/>
                  <a:gd name="T61" fmla="*/ 38 h 173"/>
                  <a:gd name="T62" fmla="*/ 0 w 181"/>
                  <a:gd name="T63" fmla="*/ 32 h 173"/>
                  <a:gd name="T64" fmla="*/ 2 w 181"/>
                  <a:gd name="T65" fmla="*/ 27 h 173"/>
                  <a:gd name="T66" fmla="*/ 0 w 181"/>
                  <a:gd name="T67" fmla="*/ 27 h 173"/>
                  <a:gd name="T68" fmla="*/ 6 w 181"/>
                  <a:gd name="T69" fmla="*/ 20 h 173"/>
                  <a:gd name="T70" fmla="*/ 7 w 181"/>
                  <a:gd name="T71" fmla="*/ 27 h 173"/>
                  <a:gd name="T72" fmla="*/ 15 w 181"/>
                  <a:gd name="T73" fmla="*/ 32 h 173"/>
                  <a:gd name="T74" fmla="*/ 26 w 181"/>
                  <a:gd name="T75" fmla="*/ 29 h 173"/>
                  <a:gd name="T76" fmla="*/ 29 w 181"/>
                  <a:gd name="T77" fmla="*/ 25 h 173"/>
                  <a:gd name="T78" fmla="*/ 39 w 181"/>
                  <a:gd name="T79" fmla="*/ 28 h 173"/>
                  <a:gd name="T80" fmla="*/ 46 w 181"/>
                  <a:gd name="T81" fmla="*/ 25 h 173"/>
                  <a:gd name="T82" fmla="*/ 49 w 181"/>
                  <a:gd name="T83" fmla="*/ 17 h 173"/>
                  <a:gd name="T84" fmla="*/ 51 w 181"/>
                  <a:gd name="T85" fmla="*/ 13 h 173"/>
                  <a:gd name="T86" fmla="*/ 53 w 181"/>
                  <a:gd name="T87" fmla="*/ 6 h 173"/>
                  <a:gd name="T88" fmla="*/ 55 w 181"/>
                  <a:gd name="T89" fmla="*/ 0 h 173"/>
                  <a:gd name="T90" fmla="*/ 61 w 181"/>
                  <a:gd name="T91" fmla="*/ 1 h 173"/>
                  <a:gd name="T92" fmla="*/ 68 w 181"/>
                  <a:gd name="T93" fmla="*/ 2 h 173"/>
                  <a:gd name="T94" fmla="*/ 68 w 181"/>
                  <a:gd name="T95" fmla="*/ 3 h 173"/>
                  <a:gd name="T96" fmla="*/ 68 w 181"/>
                  <a:gd name="T97" fmla="*/ 4 h 173"/>
                  <a:gd name="T98" fmla="*/ 70 w 181"/>
                  <a:gd name="T99" fmla="*/ 7 h 173"/>
                  <a:gd name="T100" fmla="*/ 68 w 181"/>
                  <a:gd name="T101" fmla="*/ 7 h 173"/>
                  <a:gd name="T102" fmla="*/ 65 w 181"/>
                  <a:gd name="T103" fmla="*/ 7 h 173"/>
                  <a:gd name="T104" fmla="*/ 66 w 181"/>
                  <a:gd name="T105" fmla="*/ 10 h 173"/>
                  <a:gd name="T106" fmla="*/ 72 w 181"/>
                  <a:gd name="T107" fmla="*/ 20 h 173"/>
                  <a:gd name="T108" fmla="*/ 72 w 181"/>
                  <a:gd name="T109" fmla="*/ 23 h 173"/>
                  <a:gd name="T110" fmla="*/ 76 w 181"/>
                  <a:gd name="T111" fmla="*/ 27 h 173"/>
                  <a:gd name="T112" fmla="*/ 80 w 181"/>
                  <a:gd name="T113" fmla="*/ 32 h 17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81" h="173">
                    <a:moveTo>
                      <a:pt x="181" y="73"/>
                    </a:moveTo>
                    <a:lnTo>
                      <a:pt x="164" y="70"/>
                    </a:lnTo>
                    <a:lnTo>
                      <a:pt x="154" y="97"/>
                    </a:lnTo>
                    <a:lnTo>
                      <a:pt x="158" y="98"/>
                    </a:lnTo>
                    <a:lnTo>
                      <a:pt x="153" y="108"/>
                    </a:lnTo>
                    <a:lnTo>
                      <a:pt x="142" y="115"/>
                    </a:lnTo>
                    <a:lnTo>
                      <a:pt x="134" y="128"/>
                    </a:lnTo>
                    <a:lnTo>
                      <a:pt x="136" y="136"/>
                    </a:lnTo>
                    <a:lnTo>
                      <a:pt x="139" y="136"/>
                    </a:lnTo>
                    <a:lnTo>
                      <a:pt x="134" y="143"/>
                    </a:lnTo>
                    <a:lnTo>
                      <a:pt x="130" y="150"/>
                    </a:lnTo>
                    <a:lnTo>
                      <a:pt x="125" y="166"/>
                    </a:lnTo>
                    <a:lnTo>
                      <a:pt x="102" y="173"/>
                    </a:lnTo>
                    <a:lnTo>
                      <a:pt x="99" y="163"/>
                    </a:lnTo>
                    <a:lnTo>
                      <a:pt x="96" y="160"/>
                    </a:lnTo>
                    <a:lnTo>
                      <a:pt x="83" y="160"/>
                    </a:lnTo>
                    <a:lnTo>
                      <a:pt x="72" y="153"/>
                    </a:lnTo>
                    <a:lnTo>
                      <a:pt x="62" y="160"/>
                    </a:lnTo>
                    <a:lnTo>
                      <a:pt x="52" y="161"/>
                    </a:lnTo>
                    <a:lnTo>
                      <a:pt x="48" y="150"/>
                    </a:lnTo>
                    <a:lnTo>
                      <a:pt x="32" y="153"/>
                    </a:lnTo>
                    <a:lnTo>
                      <a:pt x="34" y="151"/>
                    </a:lnTo>
                    <a:lnTo>
                      <a:pt x="29" y="153"/>
                    </a:lnTo>
                    <a:lnTo>
                      <a:pt x="21" y="150"/>
                    </a:lnTo>
                    <a:lnTo>
                      <a:pt x="18" y="130"/>
                    </a:lnTo>
                    <a:lnTo>
                      <a:pt x="18" y="115"/>
                    </a:lnTo>
                    <a:lnTo>
                      <a:pt x="6" y="103"/>
                    </a:lnTo>
                    <a:lnTo>
                      <a:pt x="9" y="103"/>
                    </a:lnTo>
                    <a:lnTo>
                      <a:pt x="4" y="93"/>
                    </a:lnTo>
                    <a:lnTo>
                      <a:pt x="4" y="88"/>
                    </a:lnTo>
                    <a:lnTo>
                      <a:pt x="0" y="73"/>
                    </a:lnTo>
                    <a:lnTo>
                      <a:pt x="4" y="62"/>
                    </a:lnTo>
                    <a:lnTo>
                      <a:pt x="1" y="63"/>
                    </a:lnTo>
                    <a:lnTo>
                      <a:pt x="14" y="47"/>
                    </a:lnTo>
                    <a:lnTo>
                      <a:pt x="15" y="62"/>
                    </a:lnTo>
                    <a:lnTo>
                      <a:pt x="34" y="73"/>
                    </a:lnTo>
                    <a:lnTo>
                      <a:pt x="59" y="67"/>
                    </a:lnTo>
                    <a:lnTo>
                      <a:pt x="65" y="58"/>
                    </a:lnTo>
                    <a:lnTo>
                      <a:pt x="88" y="65"/>
                    </a:lnTo>
                    <a:lnTo>
                      <a:pt x="103" y="57"/>
                    </a:lnTo>
                    <a:lnTo>
                      <a:pt x="111" y="40"/>
                    </a:lnTo>
                    <a:lnTo>
                      <a:pt x="116" y="29"/>
                    </a:lnTo>
                    <a:lnTo>
                      <a:pt x="119" y="14"/>
                    </a:lnTo>
                    <a:lnTo>
                      <a:pt x="124" y="0"/>
                    </a:lnTo>
                    <a:lnTo>
                      <a:pt x="139" y="2"/>
                    </a:lnTo>
                    <a:lnTo>
                      <a:pt x="154" y="5"/>
                    </a:lnTo>
                    <a:lnTo>
                      <a:pt x="153" y="7"/>
                    </a:lnTo>
                    <a:lnTo>
                      <a:pt x="154" y="9"/>
                    </a:lnTo>
                    <a:lnTo>
                      <a:pt x="159" y="15"/>
                    </a:lnTo>
                    <a:lnTo>
                      <a:pt x="153" y="15"/>
                    </a:lnTo>
                    <a:lnTo>
                      <a:pt x="148" y="15"/>
                    </a:lnTo>
                    <a:lnTo>
                      <a:pt x="150" y="24"/>
                    </a:lnTo>
                    <a:lnTo>
                      <a:pt x="164" y="45"/>
                    </a:lnTo>
                    <a:lnTo>
                      <a:pt x="162" y="52"/>
                    </a:lnTo>
                    <a:lnTo>
                      <a:pt x="171" y="62"/>
                    </a:lnTo>
                    <a:lnTo>
                      <a:pt x="181" y="7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8" name="Freeform 89">
                <a:extLst>
                  <a:ext uri="{FF2B5EF4-FFF2-40B4-BE49-F238E27FC236}">
                    <a16:creationId xmlns:a16="http://schemas.microsoft.com/office/drawing/2014/main" id="{976CB89A-1EB5-719E-37F2-3BE6FFDEC1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39" y="3594"/>
                <a:ext cx="88" cy="103"/>
              </a:xfrm>
              <a:custGeom>
                <a:avLst/>
                <a:gdLst>
                  <a:gd name="T0" fmla="*/ 88 w 198"/>
                  <a:gd name="T1" fmla="*/ 80 h 235"/>
                  <a:gd name="T2" fmla="*/ 88 w 198"/>
                  <a:gd name="T3" fmla="*/ 80 h 235"/>
                  <a:gd name="T4" fmla="*/ 87 w 198"/>
                  <a:gd name="T5" fmla="*/ 92 h 235"/>
                  <a:gd name="T6" fmla="*/ 85 w 198"/>
                  <a:gd name="T7" fmla="*/ 103 h 235"/>
                  <a:gd name="T8" fmla="*/ 81 w 198"/>
                  <a:gd name="T9" fmla="*/ 99 h 235"/>
                  <a:gd name="T10" fmla="*/ 80 w 198"/>
                  <a:gd name="T11" fmla="*/ 102 h 235"/>
                  <a:gd name="T12" fmla="*/ 76 w 198"/>
                  <a:gd name="T13" fmla="*/ 100 h 235"/>
                  <a:gd name="T14" fmla="*/ 76 w 198"/>
                  <a:gd name="T15" fmla="*/ 103 h 235"/>
                  <a:gd name="T16" fmla="*/ 69 w 198"/>
                  <a:gd name="T17" fmla="*/ 95 h 235"/>
                  <a:gd name="T18" fmla="*/ 65 w 198"/>
                  <a:gd name="T19" fmla="*/ 91 h 235"/>
                  <a:gd name="T20" fmla="*/ 60 w 198"/>
                  <a:gd name="T21" fmla="*/ 86 h 235"/>
                  <a:gd name="T22" fmla="*/ 56 w 198"/>
                  <a:gd name="T23" fmla="*/ 82 h 235"/>
                  <a:gd name="T24" fmla="*/ 51 w 198"/>
                  <a:gd name="T25" fmla="*/ 78 h 235"/>
                  <a:gd name="T26" fmla="*/ 48 w 198"/>
                  <a:gd name="T27" fmla="*/ 70 h 235"/>
                  <a:gd name="T28" fmla="*/ 44 w 198"/>
                  <a:gd name="T29" fmla="*/ 63 h 235"/>
                  <a:gd name="T30" fmla="*/ 43 w 198"/>
                  <a:gd name="T31" fmla="*/ 61 h 235"/>
                  <a:gd name="T32" fmla="*/ 39 w 198"/>
                  <a:gd name="T33" fmla="*/ 55 h 235"/>
                  <a:gd name="T34" fmla="*/ 34 w 198"/>
                  <a:gd name="T35" fmla="*/ 49 h 235"/>
                  <a:gd name="T36" fmla="*/ 32 w 198"/>
                  <a:gd name="T37" fmla="*/ 43 h 235"/>
                  <a:gd name="T38" fmla="*/ 30 w 198"/>
                  <a:gd name="T39" fmla="*/ 36 h 235"/>
                  <a:gd name="T40" fmla="*/ 23 w 198"/>
                  <a:gd name="T41" fmla="*/ 30 h 235"/>
                  <a:gd name="T42" fmla="*/ 17 w 198"/>
                  <a:gd name="T43" fmla="*/ 22 h 235"/>
                  <a:gd name="T44" fmla="*/ 12 w 198"/>
                  <a:gd name="T45" fmla="*/ 17 h 235"/>
                  <a:gd name="T46" fmla="*/ 5 w 198"/>
                  <a:gd name="T47" fmla="*/ 10 h 235"/>
                  <a:gd name="T48" fmla="*/ 0 w 198"/>
                  <a:gd name="T49" fmla="*/ 0 h 235"/>
                  <a:gd name="T50" fmla="*/ 5 w 198"/>
                  <a:gd name="T51" fmla="*/ 0 h 235"/>
                  <a:gd name="T52" fmla="*/ 12 w 198"/>
                  <a:gd name="T53" fmla="*/ 2 h 235"/>
                  <a:gd name="T54" fmla="*/ 17 w 198"/>
                  <a:gd name="T55" fmla="*/ 3 h 235"/>
                  <a:gd name="T56" fmla="*/ 25 w 198"/>
                  <a:gd name="T57" fmla="*/ 11 h 235"/>
                  <a:gd name="T58" fmla="*/ 25 w 198"/>
                  <a:gd name="T59" fmla="*/ 13 h 235"/>
                  <a:gd name="T60" fmla="*/ 33 w 198"/>
                  <a:gd name="T61" fmla="*/ 20 h 235"/>
                  <a:gd name="T62" fmla="*/ 40 w 198"/>
                  <a:gd name="T63" fmla="*/ 26 h 235"/>
                  <a:gd name="T64" fmla="*/ 46 w 198"/>
                  <a:gd name="T65" fmla="*/ 32 h 235"/>
                  <a:gd name="T66" fmla="*/ 46 w 198"/>
                  <a:gd name="T67" fmla="*/ 30 h 235"/>
                  <a:gd name="T68" fmla="*/ 54 w 198"/>
                  <a:gd name="T69" fmla="*/ 35 h 235"/>
                  <a:gd name="T70" fmla="*/ 58 w 198"/>
                  <a:gd name="T71" fmla="*/ 40 h 235"/>
                  <a:gd name="T72" fmla="*/ 65 w 198"/>
                  <a:gd name="T73" fmla="*/ 46 h 235"/>
                  <a:gd name="T74" fmla="*/ 65 w 198"/>
                  <a:gd name="T75" fmla="*/ 46 h 235"/>
                  <a:gd name="T76" fmla="*/ 71 w 198"/>
                  <a:gd name="T77" fmla="*/ 51 h 235"/>
                  <a:gd name="T78" fmla="*/ 68 w 198"/>
                  <a:gd name="T79" fmla="*/ 52 h 235"/>
                  <a:gd name="T80" fmla="*/ 68 w 198"/>
                  <a:gd name="T81" fmla="*/ 53 h 235"/>
                  <a:gd name="T82" fmla="*/ 68 w 198"/>
                  <a:gd name="T83" fmla="*/ 55 h 235"/>
                  <a:gd name="T84" fmla="*/ 69 w 198"/>
                  <a:gd name="T85" fmla="*/ 58 h 235"/>
                  <a:gd name="T86" fmla="*/ 75 w 198"/>
                  <a:gd name="T87" fmla="*/ 59 h 235"/>
                  <a:gd name="T88" fmla="*/ 76 w 198"/>
                  <a:gd name="T89" fmla="*/ 66 h 235"/>
                  <a:gd name="T90" fmla="*/ 78 w 198"/>
                  <a:gd name="T91" fmla="*/ 68 h 235"/>
                  <a:gd name="T92" fmla="*/ 78 w 198"/>
                  <a:gd name="T93" fmla="*/ 72 h 235"/>
                  <a:gd name="T94" fmla="*/ 84 w 198"/>
                  <a:gd name="T95" fmla="*/ 72 h 235"/>
                  <a:gd name="T96" fmla="*/ 88 w 198"/>
                  <a:gd name="T97" fmla="*/ 80 h 23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98" h="235">
                    <a:moveTo>
                      <a:pt x="198" y="182"/>
                    </a:moveTo>
                    <a:lnTo>
                      <a:pt x="197" y="182"/>
                    </a:lnTo>
                    <a:lnTo>
                      <a:pt x="195" y="210"/>
                    </a:lnTo>
                    <a:lnTo>
                      <a:pt x="192" y="235"/>
                    </a:lnTo>
                    <a:lnTo>
                      <a:pt x="183" y="227"/>
                    </a:lnTo>
                    <a:lnTo>
                      <a:pt x="181" y="233"/>
                    </a:lnTo>
                    <a:lnTo>
                      <a:pt x="172" y="228"/>
                    </a:lnTo>
                    <a:lnTo>
                      <a:pt x="172" y="235"/>
                    </a:lnTo>
                    <a:lnTo>
                      <a:pt x="155" y="217"/>
                    </a:lnTo>
                    <a:lnTo>
                      <a:pt x="146" y="207"/>
                    </a:lnTo>
                    <a:lnTo>
                      <a:pt x="135" y="197"/>
                    </a:lnTo>
                    <a:lnTo>
                      <a:pt x="125" y="187"/>
                    </a:lnTo>
                    <a:lnTo>
                      <a:pt x="115" y="177"/>
                    </a:lnTo>
                    <a:lnTo>
                      <a:pt x="108" y="160"/>
                    </a:lnTo>
                    <a:lnTo>
                      <a:pt x="99" y="144"/>
                    </a:lnTo>
                    <a:lnTo>
                      <a:pt x="96" y="140"/>
                    </a:lnTo>
                    <a:lnTo>
                      <a:pt x="87" y="126"/>
                    </a:lnTo>
                    <a:lnTo>
                      <a:pt x="77" y="111"/>
                    </a:lnTo>
                    <a:lnTo>
                      <a:pt x="71" y="97"/>
                    </a:lnTo>
                    <a:lnTo>
                      <a:pt x="67" y="82"/>
                    </a:lnTo>
                    <a:lnTo>
                      <a:pt x="51" y="68"/>
                    </a:lnTo>
                    <a:lnTo>
                      <a:pt x="39" y="51"/>
                    </a:lnTo>
                    <a:lnTo>
                      <a:pt x="26" y="38"/>
                    </a:lnTo>
                    <a:lnTo>
                      <a:pt x="12" y="23"/>
                    </a:lnTo>
                    <a:lnTo>
                      <a:pt x="0" y="0"/>
                    </a:lnTo>
                    <a:lnTo>
                      <a:pt x="12" y="1"/>
                    </a:lnTo>
                    <a:lnTo>
                      <a:pt x="26" y="5"/>
                    </a:lnTo>
                    <a:lnTo>
                      <a:pt x="39" y="6"/>
                    </a:lnTo>
                    <a:lnTo>
                      <a:pt x="56" y="24"/>
                    </a:lnTo>
                    <a:lnTo>
                      <a:pt x="57" y="29"/>
                    </a:lnTo>
                    <a:lnTo>
                      <a:pt x="74" y="46"/>
                    </a:lnTo>
                    <a:lnTo>
                      <a:pt x="90" y="59"/>
                    </a:lnTo>
                    <a:lnTo>
                      <a:pt x="104" y="74"/>
                    </a:lnTo>
                    <a:lnTo>
                      <a:pt x="104" y="68"/>
                    </a:lnTo>
                    <a:lnTo>
                      <a:pt x="121" y="79"/>
                    </a:lnTo>
                    <a:lnTo>
                      <a:pt x="130" y="92"/>
                    </a:lnTo>
                    <a:lnTo>
                      <a:pt x="146" y="104"/>
                    </a:lnTo>
                    <a:lnTo>
                      <a:pt x="147" y="104"/>
                    </a:lnTo>
                    <a:lnTo>
                      <a:pt x="159" y="116"/>
                    </a:lnTo>
                    <a:lnTo>
                      <a:pt x="152" y="119"/>
                    </a:lnTo>
                    <a:lnTo>
                      <a:pt x="153" y="122"/>
                    </a:lnTo>
                    <a:lnTo>
                      <a:pt x="152" y="126"/>
                    </a:lnTo>
                    <a:lnTo>
                      <a:pt x="155" y="132"/>
                    </a:lnTo>
                    <a:lnTo>
                      <a:pt x="169" y="135"/>
                    </a:lnTo>
                    <a:lnTo>
                      <a:pt x="172" y="150"/>
                    </a:lnTo>
                    <a:lnTo>
                      <a:pt x="175" y="155"/>
                    </a:lnTo>
                    <a:lnTo>
                      <a:pt x="175" y="164"/>
                    </a:lnTo>
                    <a:lnTo>
                      <a:pt x="189" y="164"/>
                    </a:lnTo>
                    <a:lnTo>
                      <a:pt x="198" y="18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9" name="Freeform 90">
                <a:extLst>
                  <a:ext uri="{FF2B5EF4-FFF2-40B4-BE49-F238E27FC236}">
                    <a16:creationId xmlns:a16="http://schemas.microsoft.com/office/drawing/2014/main" id="{C9AE4AEF-0626-47C4-8970-BEC754DA8C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28" y="3648"/>
                <a:ext cx="78" cy="79"/>
              </a:xfrm>
              <a:custGeom>
                <a:avLst/>
                <a:gdLst>
                  <a:gd name="T0" fmla="*/ 60 w 178"/>
                  <a:gd name="T1" fmla="*/ 67 h 179"/>
                  <a:gd name="T2" fmla="*/ 61 w 178"/>
                  <a:gd name="T3" fmla="*/ 70 h 179"/>
                  <a:gd name="T4" fmla="*/ 70 w 178"/>
                  <a:gd name="T5" fmla="*/ 73 h 179"/>
                  <a:gd name="T6" fmla="*/ 75 w 178"/>
                  <a:gd name="T7" fmla="*/ 72 h 179"/>
                  <a:gd name="T8" fmla="*/ 76 w 178"/>
                  <a:gd name="T9" fmla="*/ 57 h 179"/>
                  <a:gd name="T10" fmla="*/ 77 w 178"/>
                  <a:gd name="T11" fmla="*/ 42 h 179"/>
                  <a:gd name="T12" fmla="*/ 78 w 178"/>
                  <a:gd name="T13" fmla="*/ 28 h 179"/>
                  <a:gd name="T14" fmla="*/ 73 w 178"/>
                  <a:gd name="T15" fmla="*/ 19 h 179"/>
                  <a:gd name="T16" fmla="*/ 53 w 178"/>
                  <a:gd name="T17" fmla="*/ 10 h 179"/>
                  <a:gd name="T18" fmla="*/ 41 w 178"/>
                  <a:gd name="T19" fmla="*/ 19 h 179"/>
                  <a:gd name="T20" fmla="*/ 29 w 178"/>
                  <a:gd name="T21" fmla="*/ 24 h 179"/>
                  <a:gd name="T22" fmla="*/ 26 w 178"/>
                  <a:gd name="T23" fmla="*/ 21 h 179"/>
                  <a:gd name="T24" fmla="*/ 24 w 178"/>
                  <a:gd name="T25" fmla="*/ 8 h 179"/>
                  <a:gd name="T26" fmla="*/ 16 w 178"/>
                  <a:gd name="T27" fmla="*/ 2 h 179"/>
                  <a:gd name="T28" fmla="*/ 1 w 178"/>
                  <a:gd name="T29" fmla="*/ 5 h 179"/>
                  <a:gd name="T30" fmla="*/ 7 w 178"/>
                  <a:gd name="T31" fmla="*/ 12 h 179"/>
                  <a:gd name="T32" fmla="*/ 16 w 178"/>
                  <a:gd name="T33" fmla="*/ 16 h 179"/>
                  <a:gd name="T34" fmla="*/ 21 w 178"/>
                  <a:gd name="T35" fmla="*/ 19 h 179"/>
                  <a:gd name="T36" fmla="*/ 20 w 178"/>
                  <a:gd name="T37" fmla="*/ 20 h 179"/>
                  <a:gd name="T38" fmla="*/ 10 w 178"/>
                  <a:gd name="T39" fmla="*/ 21 h 179"/>
                  <a:gd name="T40" fmla="*/ 14 w 178"/>
                  <a:gd name="T41" fmla="*/ 29 h 179"/>
                  <a:gd name="T42" fmla="*/ 17 w 178"/>
                  <a:gd name="T43" fmla="*/ 33 h 179"/>
                  <a:gd name="T44" fmla="*/ 20 w 178"/>
                  <a:gd name="T45" fmla="*/ 30 h 179"/>
                  <a:gd name="T46" fmla="*/ 28 w 178"/>
                  <a:gd name="T47" fmla="*/ 32 h 179"/>
                  <a:gd name="T48" fmla="*/ 35 w 178"/>
                  <a:gd name="T49" fmla="*/ 37 h 179"/>
                  <a:gd name="T50" fmla="*/ 46 w 178"/>
                  <a:gd name="T51" fmla="*/ 42 h 179"/>
                  <a:gd name="T52" fmla="*/ 55 w 178"/>
                  <a:gd name="T53" fmla="*/ 49 h 179"/>
                  <a:gd name="T54" fmla="*/ 61 w 178"/>
                  <a:gd name="T55" fmla="*/ 59 h 179"/>
                  <a:gd name="T56" fmla="*/ 61 w 178"/>
                  <a:gd name="T57" fmla="*/ 62 h 179"/>
                  <a:gd name="T58" fmla="*/ 59 w 178"/>
                  <a:gd name="T59" fmla="*/ 65 h 179"/>
                  <a:gd name="T60" fmla="*/ 50 w 178"/>
                  <a:gd name="T61" fmla="*/ 72 h 179"/>
                  <a:gd name="T62" fmla="*/ 60 w 178"/>
                  <a:gd name="T63" fmla="*/ 67 h 17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78" h="179">
                    <a:moveTo>
                      <a:pt x="136" y="151"/>
                    </a:moveTo>
                    <a:lnTo>
                      <a:pt x="136" y="151"/>
                    </a:lnTo>
                    <a:lnTo>
                      <a:pt x="135" y="161"/>
                    </a:lnTo>
                    <a:lnTo>
                      <a:pt x="139" y="158"/>
                    </a:lnTo>
                    <a:lnTo>
                      <a:pt x="155" y="156"/>
                    </a:lnTo>
                    <a:lnTo>
                      <a:pt x="159" y="166"/>
                    </a:lnTo>
                    <a:lnTo>
                      <a:pt x="170" y="179"/>
                    </a:lnTo>
                    <a:lnTo>
                      <a:pt x="172" y="163"/>
                    </a:lnTo>
                    <a:lnTo>
                      <a:pt x="173" y="146"/>
                    </a:lnTo>
                    <a:lnTo>
                      <a:pt x="173" y="130"/>
                    </a:lnTo>
                    <a:lnTo>
                      <a:pt x="176" y="113"/>
                    </a:lnTo>
                    <a:lnTo>
                      <a:pt x="176" y="96"/>
                    </a:lnTo>
                    <a:lnTo>
                      <a:pt x="176" y="78"/>
                    </a:lnTo>
                    <a:lnTo>
                      <a:pt x="178" y="63"/>
                    </a:lnTo>
                    <a:lnTo>
                      <a:pt x="178" y="45"/>
                    </a:lnTo>
                    <a:lnTo>
                      <a:pt x="166" y="43"/>
                    </a:lnTo>
                    <a:lnTo>
                      <a:pt x="144" y="32"/>
                    </a:lnTo>
                    <a:lnTo>
                      <a:pt x="122" y="22"/>
                    </a:lnTo>
                    <a:lnTo>
                      <a:pt x="110" y="32"/>
                    </a:lnTo>
                    <a:lnTo>
                      <a:pt x="93" y="42"/>
                    </a:lnTo>
                    <a:lnTo>
                      <a:pt x="74" y="60"/>
                    </a:lnTo>
                    <a:lnTo>
                      <a:pt x="67" y="55"/>
                    </a:lnTo>
                    <a:lnTo>
                      <a:pt x="60" y="45"/>
                    </a:lnTo>
                    <a:lnTo>
                      <a:pt x="59" y="48"/>
                    </a:lnTo>
                    <a:lnTo>
                      <a:pt x="54" y="27"/>
                    </a:lnTo>
                    <a:lnTo>
                      <a:pt x="54" y="17"/>
                    </a:lnTo>
                    <a:lnTo>
                      <a:pt x="53" y="7"/>
                    </a:lnTo>
                    <a:lnTo>
                      <a:pt x="37" y="5"/>
                    </a:lnTo>
                    <a:lnTo>
                      <a:pt x="20" y="0"/>
                    </a:lnTo>
                    <a:lnTo>
                      <a:pt x="3" y="12"/>
                    </a:lnTo>
                    <a:lnTo>
                      <a:pt x="0" y="22"/>
                    </a:lnTo>
                    <a:lnTo>
                      <a:pt x="15" y="27"/>
                    </a:lnTo>
                    <a:lnTo>
                      <a:pt x="23" y="40"/>
                    </a:lnTo>
                    <a:lnTo>
                      <a:pt x="37" y="37"/>
                    </a:lnTo>
                    <a:lnTo>
                      <a:pt x="48" y="37"/>
                    </a:lnTo>
                    <a:lnTo>
                      <a:pt x="48" y="42"/>
                    </a:lnTo>
                    <a:lnTo>
                      <a:pt x="48" y="45"/>
                    </a:lnTo>
                    <a:lnTo>
                      <a:pt x="45" y="45"/>
                    </a:lnTo>
                    <a:lnTo>
                      <a:pt x="39" y="45"/>
                    </a:lnTo>
                    <a:lnTo>
                      <a:pt x="23" y="48"/>
                    </a:lnTo>
                    <a:lnTo>
                      <a:pt x="15" y="53"/>
                    </a:lnTo>
                    <a:lnTo>
                      <a:pt x="31" y="65"/>
                    </a:lnTo>
                    <a:lnTo>
                      <a:pt x="29" y="73"/>
                    </a:lnTo>
                    <a:lnTo>
                      <a:pt x="39" y="75"/>
                    </a:lnTo>
                    <a:lnTo>
                      <a:pt x="48" y="55"/>
                    </a:lnTo>
                    <a:lnTo>
                      <a:pt x="46" y="68"/>
                    </a:lnTo>
                    <a:lnTo>
                      <a:pt x="62" y="73"/>
                    </a:lnTo>
                    <a:lnTo>
                      <a:pt x="65" y="73"/>
                    </a:lnTo>
                    <a:lnTo>
                      <a:pt x="65" y="78"/>
                    </a:lnTo>
                    <a:lnTo>
                      <a:pt x="79" y="83"/>
                    </a:lnTo>
                    <a:lnTo>
                      <a:pt x="91" y="90"/>
                    </a:lnTo>
                    <a:lnTo>
                      <a:pt x="105" y="96"/>
                    </a:lnTo>
                    <a:lnTo>
                      <a:pt x="118" y="100"/>
                    </a:lnTo>
                    <a:lnTo>
                      <a:pt x="125" y="110"/>
                    </a:lnTo>
                    <a:lnTo>
                      <a:pt x="135" y="133"/>
                    </a:lnTo>
                    <a:lnTo>
                      <a:pt x="139" y="134"/>
                    </a:lnTo>
                    <a:lnTo>
                      <a:pt x="130" y="134"/>
                    </a:lnTo>
                    <a:lnTo>
                      <a:pt x="139" y="141"/>
                    </a:lnTo>
                    <a:lnTo>
                      <a:pt x="132" y="141"/>
                    </a:lnTo>
                    <a:lnTo>
                      <a:pt x="135" y="148"/>
                    </a:lnTo>
                    <a:lnTo>
                      <a:pt x="122" y="144"/>
                    </a:lnTo>
                    <a:lnTo>
                      <a:pt x="113" y="164"/>
                    </a:lnTo>
                    <a:lnTo>
                      <a:pt x="127" y="161"/>
                    </a:lnTo>
                    <a:lnTo>
                      <a:pt x="136" y="15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10" name="Freeform 91">
                <a:extLst>
                  <a:ext uri="{FF2B5EF4-FFF2-40B4-BE49-F238E27FC236}">
                    <a16:creationId xmlns:a16="http://schemas.microsoft.com/office/drawing/2014/main" id="{60C840AC-9B1A-09CB-C7DB-4BF290A2D9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30" y="3630"/>
                <a:ext cx="52" cy="65"/>
              </a:xfrm>
              <a:custGeom>
                <a:avLst/>
                <a:gdLst>
                  <a:gd name="T0" fmla="*/ 52 w 116"/>
                  <a:gd name="T1" fmla="*/ 2 h 151"/>
                  <a:gd name="T2" fmla="*/ 49 w 116"/>
                  <a:gd name="T3" fmla="*/ 0 h 151"/>
                  <a:gd name="T4" fmla="*/ 42 w 116"/>
                  <a:gd name="T5" fmla="*/ 8 h 151"/>
                  <a:gd name="T6" fmla="*/ 31 w 116"/>
                  <a:gd name="T7" fmla="*/ 6 h 151"/>
                  <a:gd name="T8" fmla="*/ 21 w 116"/>
                  <a:gd name="T9" fmla="*/ 4 h 151"/>
                  <a:gd name="T10" fmla="*/ 16 w 116"/>
                  <a:gd name="T11" fmla="*/ 4 h 151"/>
                  <a:gd name="T12" fmla="*/ 13 w 116"/>
                  <a:gd name="T13" fmla="*/ 8 h 151"/>
                  <a:gd name="T14" fmla="*/ 11 w 116"/>
                  <a:gd name="T15" fmla="*/ 8 h 151"/>
                  <a:gd name="T16" fmla="*/ 7 w 116"/>
                  <a:gd name="T17" fmla="*/ 15 h 151"/>
                  <a:gd name="T18" fmla="*/ 8 w 116"/>
                  <a:gd name="T19" fmla="*/ 23 h 151"/>
                  <a:gd name="T20" fmla="*/ 7 w 116"/>
                  <a:gd name="T21" fmla="*/ 22 h 151"/>
                  <a:gd name="T22" fmla="*/ 4 w 116"/>
                  <a:gd name="T23" fmla="*/ 30 h 151"/>
                  <a:gd name="T24" fmla="*/ 0 w 116"/>
                  <a:gd name="T25" fmla="*/ 39 h 151"/>
                  <a:gd name="T26" fmla="*/ 0 w 116"/>
                  <a:gd name="T27" fmla="*/ 46 h 151"/>
                  <a:gd name="T28" fmla="*/ 4 w 116"/>
                  <a:gd name="T29" fmla="*/ 47 h 151"/>
                  <a:gd name="T30" fmla="*/ 4 w 116"/>
                  <a:gd name="T31" fmla="*/ 54 h 151"/>
                  <a:gd name="T32" fmla="*/ 4 w 116"/>
                  <a:gd name="T33" fmla="*/ 61 h 151"/>
                  <a:gd name="T34" fmla="*/ 4 w 116"/>
                  <a:gd name="T35" fmla="*/ 65 h 151"/>
                  <a:gd name="T36" fmla="*/ 12 w 116"/>
                  <a:gd name="T37" fmla="*/ 64 h 151"/>
                  <a:gd name="T38" fmla="*/ 11 w 116"/>
                  <a:gd name="T39" fmla="*/ 53 h 151"/>
                  <a:gd name="T40" fmla="*/ 11 w 116"/>
                  <a:gd name="T41" fmla="*/ 42 h 151"/>
                  <a:gd name="T42" fmla="*/ 16 w 116"/>
                  <a:gd name="T43" fmla="*/ 39 h 151"/>
                  <a:gd name="T44" fmla="*/ 17 w 116"/>
                  <a:gd name="T45" fmla="*/ 44 h 151"/>
                  <a:gd name="T46" fmla="*/ 17 w 116"/>
                  <a:gd name="T47" fmla="*/ 48 h 151"/>
                  <a:gd name="T48" fmla="*/ 21 w 116"/>
                  <a:gd name="T49" fmla="*/ 53 h 151"/>
                  <a:gd name="T50" fmla="*/ 22 w 116"/>
                  <a:gd name="T51" fmla="*/ 58 h 151"/>
                  <a:gd name="T52" fmla="*/ 25 w 116"/>
                  <a:gd name="T53" fmla="*/ 56 h 151"/>
                  <a:gd name="T54" fmla="*/ 30 w 116"/>
                  <a:gd name="T55" fmla="*/ 54 h 151"/>
                  <a:gd name="T56" fmla="*/ 32 w 116"/>
                  <a:gd name="T57" fmla="*/ 53 h 151"/>
                  <a:gd name="T58" fmla="*/ 27 w 116"/>
                  <a:gd name="T59" fmla="*/ 45 h 151"/>
                  <a:gd name="T60" fmla="*/ 28 w 116"/>
                  <a:gd name="T61" fmla="*/ 43 h 151"/>
                  <a:gd name="T62" fmla="*/ 23 w 116"/>
                  <a:gd name="T63" fmla="*/ 37 h 151"/>
                  <a:gd name="T64" fmla="*/ 21 w 116"/>
                  <a:gd name="T65" fmla="*/ 31 h 151"/>
                  <a:gd name="T66" fmla="*/ 23 w 116"/>
                  <a:gd name="T67" fmla="*/ 32 h 151"/>
                  <a:gd name="T68" fmla="*/ 29 w 116"/>
                  <a:gd name="T69" fmla="*/ 26 h 151"/>
                  <a:gd name="T70" fmla="*/ 35 w 116"/>
                  <a:gd name="T71" fmla="*/ 23 h 151"/>
                  <a:gd name="T72" fmla="*/ 37 w 116"/>
                  <a:gd name="T73" fmla="*/ 23 h 151"/>
                  <a:gd name="T74" fmla="*/ 36 w 116"/>
                  <a:gd name="T75" fmla="*/ 20 h 151"/>
                  <a:gd name="T76" fmla="*/ 32 w 116"/>
                  <a:gd name="T77" fmla="*/ 21 h 151"/>
                  <a:gd name="T78" fmla="*/ 23 w 116"/>
                  <a:gd name="T79" fmla="*/ 23 h 151"/>
                  <a:gd name="T80" fmla="*/ 16 w 116"/>
                  <a:gd name="T81" fmla="*/ 26 h 151"/>
                  <a:gd name="T82" fmla="*/ 9 w 116"/>
                  <a:gd name="T83" fmla="*/ 19 h 151"/>
                  <a:gd name="T84" fmla="*/ 13 w 116"/>
                  <a:gd name="T85" fmla="*/ 11 h 151"/>
                  <a:gd name="T86" fmla="*/ 23 w 116"/>
                  <a:gd name="T87" fmla="*/ 12 h 151"/>
                  <a:gd name="T88" fmla="*/ 36 w 116"/>
                  <a:gd name="T89" fmla="*/ 12 h 151"/>
                  <a:gd name="T90" fmla="*/ 46 w 116"/>
                  <a:gd name="T91" fmla="*/ 10 h 151"/>
                  <a:gd name="T92" fmla="*/ 52 w 116"/>
                  <a:gd name="T93" fmla="*/ 2 h 151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16" h="151">
                    <a:moveTo>
                      <a:pt x="116" y="5"/>
                    </a:moveTo>
                    <a:lnTo>
                      <a:pt x="110" y="0"/>
                    </a:lnTo>
                    <a:lnTo>
                      <a:pt x="93" y="18"/>
                    </a:lnTo>
                    <a:lnTo>
                      <a:pt x="69" y="13"/>
                    </a:lnTo>
                    <a:lnTo>
                      <a:pt x="46" y="10"/>
                    </a:lnTo>
                    <a:lnTo>
                      <a:pt x="35" y="10"/>
                    </a:lnTo>
                    <a:lnTo>
                      <a:pt x="29" y="18"/>
                    </a:lnTo>
                    <a:lnTo>
                      <a:pt x="25" y="18"/>
                    </a:lnTo>
                    <a:lnTo>
                      <a:pt x="15" y="35"/>
                    </a:lnTo>
                    <a:lnTo>
                      <a:pt x="18" y="53"/>
                    </a:lnTo>
                    <a:lnTo>
                      <a:pt x="15" y="50"/>
                    </a:lnTo>
                    <a:lnTo>
                      <a:pt x="8" y="70"/>
                    </a:lnTo>
                    <a:lnTo>
                      <a:pt x="0" y="90"/>
                    </a:lnTo>
                    <a:lnTo>
                      <a:pt x="1" y="108"/>
                    </a:lnTo>
                    <a:lnTo>
                      <a:pt x="9" y="110"/>
                    </a:lnTo>
                    <a:lnTo>
                      <a:pt x="9" y="126"/>
                    </a:lnTo>
                    <a:lnTo>
                      <a:pt x="8" y="141"/>
                    </a:lnTo>
                    <a:lnTo>
                      <a:pt x="9" y="151"/>
                    </a:lnTo>
                    <a:lnTo>
                      <a:pt x="26" y="149"/>
                    </a:lnTo>
                    <a:lnTo>
                      <a:pt x="25" y="124"/>
                    </a:lnTo>
                    <a:lnTo>
                      <a:pt x="25" y="98"/>
                    </a:lnTo>
                    <a:lnTo>
                      <a:pt x="35" y="90"/>
                    </a:lnTo>
                    <a:lnTo>
                      <a:pt x="37" y="103"/>
                    </a:lnTo>
                    <a:lnTo>
                      <a:pt x="38" y="111"/>
                    </a:lnTo>
                    <a:lnTo>
                      <a:pt x="46" y="123"/>
                    </a:lnTo>
                    <a:lnTo>
                      <a:pt x="49" y="134"/>
                    </a:lnTo>
                    <a:lnTo>
                      <a:pt x="55" y="131"/>
                    </a:lnTo>
                    <a:lnTo>
                      <a:pt x="66" y="126"/>
                    </a:lnTo>
                    <a:lnTo>
                      <a:pt x="71" y="123"/>
                    </a:lnTo>
                    <a:lnTo>
                      <a:pt x="60" y="105"/>
                    </a:lnTo>
                    <a:lnTo>
                      <a:pt x="63" y="100"/>
                    </a:lnTo>
                    <a:lnTo>
                      <a:pt x="52" y="86"/>
                    </a:lnTo>
                    <a:lnTo>
                      <a:pt x="46" y="73"/>
                    </a:lnTo>
                    <a:lnTo>
                      <a:pt x="52" y="75"/>
                    </a:lnTo>
                    <a:lnTo>
                      <a:pt x="65" y="61"/>
                    </a:lnTo>
                    <a:lnTo>
                      <a:pt x="79" y="53"/>
                    </a:lnTo>
                    <a:lnTo>
                      <a:pt x="83" y="53"/>
                    </a:lnTo>
                    <a:lnTo>
                      <a:pt x="80" y="47"/>
                    </a:lnTo>
                    <a:lnTo>
                      <a:pt x="72" y="48"/>
                    </a:lnTo>
                    <a:lnTo>
                      <a:pt x="51" y="53"/>
                    </a:lnTo>
                    <a:lnTo>
                      <a:pt x="35" y="61"/>
                    </a:lnTo>
                    <a:lnTo>
                      <a:pt x="21" y="43"/>
                    </a:lnTo>
                    <a:lnTo>
                      <a:pt x="29" y="25"/>
                    </a:lnTo>
                    <a:lnTo>
                      <a:pt x="52" y="27"/>
                    </a:lnTo>
                    <a:lnTo>
                      <a:pt x="80" y="28"/>
                    </a:lnTo>
                    <a:lnTo>
                      <a:pt x="103" y="23"/>
                    </a:lnTo>
                    <a:lnTo>
                      <a:pt x="116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11" name="Freeform 92">
                <a:extLst>
                  <a:ext uri="{FF2B5EF4-FFF2-40B4-BE49-F238E27FC236}">
                    <a16:creationId xmlns:a16="http://schemas.microsoft.com/office/drawing/2014/main" id="{837D723B-1E5E-6EC9-52C2-F41670B2DC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20" y="3698"/>
                <a:ext cx="73" cy="25"/>
              </a:xfrm>
              <a:custGeom>
                <a:avLst/>
                <a:gdLst>
                  <a:gd name="T0" fmla="*/ 73 w 165"/>
                  <a:gd name="T1" fmla="*/ 25 h 58"/>
                  <a:gd name="T2" fmla="*/ 73 w 165"/>
                  <a:gd name="T3" fmla="*/ 24 h 58"/>
                  <a:gd name="T4" fmla="*/ 73 w 165"/>
                  <a:gd name="T5" fmla="*/ 16 h 58"/>
                  <a:gd name="T6" fmla="*/ 66 w 165"/>
                  <a:gd name="T7" fmla="*/ 16 h 58"/>
                  <a:gd name="T8" fmla="*/ 61 w 165"/>
                  <a:gd name="T9" fmla="*/ 15 h 58"/>
                  <a:gd name="T10" fmla="*/ 58 w 165"/>
                  <a:gd name="T11" fmla="*/ 10 h 58"/>
                  <a:gd name="T12" fmla="*/ 49 w 165"/>
                  <a:gd name="T13" fmla="*/ 6 h 58"/>
                  <a:gd name="T14" fmla="*/ 45 w 165"/>
                  <a:gd name="T15" fmla="*/ 4 h 58"/>
                  <a:gd name="T16" fmla="*/ 42 w 165"/>
                  <a:gd name="T17" fmla="*/ 8 h 58"/>
                  <a:gd name="T18" fmla="*/ 35 w 165"/>
                  <a:gd name="T19" fmla="*/ 8 h 58"/>
                  <a:gd name="T20" fmla="*/ 29 w 165"/>
                  <a:gd name="T21" fmla="*/ 8 h 58"/>
                  <a:gd name="T22" fmla="*/ 26 w 165"/>
                  <a:gd name="T23" fmla="*/ 4 h 58"/>
                  <a:gd name="T24" fmla="*/ 17 w 165"/>
                  <a:gd name="T25" fmla="*/ 0 h 58"/>
                  <a:gd name="T26" fmla="*/ 7 w 165"/>
                  <a:gd name="T27" fmla="*/ 0 h 58"/>
                  <a:gd name="T28" fmla="*/ 2 w 165"/>
                  <a:gd name="T29" fmla="*/ 6 h 58"/>
                  <a:gd name="T30" fmla="*/ 0 w 165"/>
                  <a:gd name="T31" fmla="*/ 6 h 58"/>
                  <a:gd name="T32" fmla="*/ 8 w 165"/>
                  <a:gd name="T33" fmla="*/ 8 h 58"/>
                  <a:gd name="T34" fmla="*/ 8 w 165"/>
                  <a:gd name="T35" fmla="*/ 11 h 58"/>
                  <a:gd name="T36" fmla="*/ 16 w 165"/>
                  <a:gd name="T37" fmla="*/ 13 h 58"/>
                  <a:gd name="T38" fmla="*/ 24 w 165"/>
                  <a:gd name="T39" fmla="*/ 16 h 58"/>
                  <a:gd name="T40" fmla="*/ 32 w 165"/>
                  <a:gd name="T41" fmla="*/ 18 h 58"/>
                  <a:gd name="T42" fmla="*/ 39 w 165"/>
                  <a:gd name="T43" fmla="*/ 19 h 58"/>
                  <a:gd name="T44" fmla="*/ 50 w 165"/>
                  <a:gd name="T45" fmla="*/ 20 h 58"/>
                  <a:gd name="T46" fmla="*/ 60 w 165"/>
                  <a:gd name="T47" fmla="*/ 21 h 58"/>
                  <a:gd name="T48" fmla="*/ 66 w 165"/>
                  <a:gd name="T49" fmla="*/ 23 h 58"/>
                  <a:gd name="T50" fmla="*/ 73 w 165"/>
                  <a:gd name="T51" fmla="*/ 25 h 5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5" h="58">
                    <a:moveTo>
                      <a:pt x="165" y="58"/>
                    </a:moveTo>
                    <a:lnTo>
                      <a:pt x="164" y="56"/>
                    </a:lnTo>
                    <a:lnTo>
                      <a:pt x="164" y="38"/>
                    </a:lnTo>
                    <a:lnTo>
                      <a:pt x="150" y="36"/>
                    </a:lnTo>
                    <a:lnTo>
                      <a:pt x="137" y="34"/>
                    </a:lnTo>
                    <a:lnTo>
                      <a:pt x="131" y="23"/>
                    </a:lnTo>
                    <a:lnTo>
                      <a:pt x="110" y="15"/>
                    </a:lnTo>
                    <a:lnTo>
                      <a:pt x="102" y="10"/>
                    </a:lnTo>
                    <a:lnTo>
                      <a:pt x="94" y="18"/>
                    </a:lnTo>
                    <a:lnTo>
                      <a:pt x="79" y="18"/>
                    </a:lnTo>
                    <a:lnTo>
                      <a:pt x="66" y="18"/>
                    </a:lnTo>
                    <a:lnTo>
                      <a:pt x="58" y="10"/>
                    </a:lnTo>
                    <a:lnTo>
                      <a:pt x="38" y="1"/>
                    </a:lnTo>
                    <a:lnTo>
                      <a:pt x="15" y="0"/>
                    </a:lnTo>
                    <a:lnTo>
                      <a:pt x="4" y="13"/>
                    </a:lnTo>
                    <a:lnTo>
                      <a:pt x="0" y="15"/>
                    </a:lnTo>
                    <a:lnTo>
                      <a:pt x="18" y="19"/>
                    </a:lnTo>
                    <a:lnTo>
                      <a:pt x="18" y="26"/>
                    </a:lnTo>
                    <a:lnTo>
                      <a:pt x="37" y="31"/>
                    </a:lnTo>
                    <a:lnTo>
                      <a:pt x="55" y="36"/>
                    </a:lnTo>
                    <a:lnTo>
                      <a:pt x="72" y="41"/>
                    </a:lnTo>
                    <a:lnTo>
                      <a:pt x="89" y="43"/>
                    </a:lnTo>
                    <a:lnTo>
                      <a:pt x="113" y="46"/>
                    </a:lnTo>
                    <a:lnTo>
                      <a:pt x="136" y="48"/>
                    </a:lnTo>
                    <a:lnTo>
                      <a:pt x="150" y="54"/>
                    </a:lnTo>
                    <a:lnTo>
                      <a:pt x="165" y="5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13" name="Freeform 93">
                <a:extLst>
                  <a:ext uri="{FF2B5EF4-FFF2-40B4-BE49-F238E27FC236}">
                    <a16:creationId xmlns:a16="http://schemas.microsoft.com/office/drawing/2014/main" id="{397DF57D-F2E1-7469-865D-8C18D3488D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63" y="3720"/>
                <a:ext cx="31" cy="18"/>
              </a:xfrm>
              <a:custGeom>
                <a:avLst/>
                <a:gdLst>
                  <a:gd name="T0" fmla="*/ 31 w 70"/>
                  <a:gd name="T1" fmla="*/ 0 h 40"/>
                  <a:gd name="T2" fmla="*/ 20 w 70"/>
                  <a:gd name="T3" fmla="*/ 1 h 40"/>
                  <a:gd name="T4" fmla="*/ 12 w 70"/>
                  <a:gd name="T5" fmla="*/ 5 h 40"/>
                  <a:gd name="T6" fmla="*/ 4 w 70"/>
                  <a:gd name="T7" fmla="*/ 8 h 40"/>
                  <a:gd name="T8" fmla="*/ 1 w 70"/>
                  <a:gd name="T9" fmla="*/ 15 h 40"/>
                  <a:gd name="T10" fmla="*/ 0 w 70"/>
                  <a:gd name="T11" fmla="*/ 16 h 40"/>
                  <a:gd name="T12" fmla="*/ 1 w 70"/>
                  <a:gd name="T13" fmla="*/ 18 h 40"/>
                  <a:gd name="T14" fmla="*/ 10 w 70"/>
                  <a:gd name="T15" fmla="*/ 12 h 40"/>
                  <a:gd name="T16" fmla="*/ 20 w 70"/>
                  <a:gd name="T17" fmla="*/ 6 h 40"/>
                  <a:gd name="T18" fmla="*/ 31 w 70"/>
                  <a:gd name="T19" fmla="*/ 0 h 4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70" h="40">
                    <a:moveTo>
                      <a:pt x="70" y="0"/>
                    </a:moveTo>
                    <a:lnTo>
                      <a:pt x="45" y="2"/>
                    </a:lnTo>
                    <a:lnTo>
                      <a:pt x="26" y="10"/>
                    </a:lnTo>
                    <a:lnTo>
                      <a:pt x="9" y="18"/>
                    </a:lnTo>
                    <a:lnTo>
                      <a:pt x="2" y="33"/>
                    </a:lnTo>
                    <a:lnTo>
                      <a:pt x="0" y="35"/>
                    </a:lnTo>
                    <a:lnTo>
                      <a:pt x="2" y="40"/>
                    </a:lnTo>
                    <a:lnTo>
                      <a:pt x="23" y="27"/>
                    </a:lnTo>
                    <a:lnTo>
                      <a:pt x="46" y="13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14" name="Freeform 94">
                <a:extLst>
                  <a:ext uri="{FF2B5EF4-FFF2-40B4-BE49-F238E27FC236}">
                    <a16:creationId xmlns:a16="http://schemas.microsoft.com/office/drawing/2014/main" id="{087C5E15-70E3-3888-3A2F-33CFB8A469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00" y="3625"/>
                <a:ext cx="10" cy="27"/>
              </a:xfrm>
              <a:custGeom>
                <a:avLst/>
                <a:gdLst>
                  <a:gd name="T0" fmla="*/ 10 w 25"/>
                  <a:gd name="T1" fmla="*/ 18 h 61"/>
                  <a:gd name="T2" fmla="*/ 6 w 25"/>
                  <a:gd name="T3" fmla="*/ 12 h 61"/>
                  <a:gd name="T4" fmla="*/ 8 w 25"/>
                  <a:gd name="T5" fmla="*/ 7 h 61"/>
                  <a:gd name="T6" fmla="*/ 7 w 25"/>
                  <a:gd name="T7" fmla="*/ 6 h 61"/>
                  <a:gd name="T8" fmla="*/ 4 w 25"/>
                  <a:gd name="T9" fmla="*/ 8 h 61"/>
                  <a:gd name="T10" fmla="*/ 2 w 25"/>
                  <a:gd name="T11" fmla="*/ 12 h 61"/>
                  <a:gd name="T12" fmla="*/ 2 w 25"/>
                  <a:gd name="T13" fmla="*/ 9 h 61"/>
                  <a:gd name="T14" fmla="*/ 3 w 25"/>
                  <a:gd name="T15" fmla="*/ 4 h 61"/>
                  <a:gd name="T16" fmla="*/ 4 w 25"/>
                  <a:gd name="T17" fmla="*/ 0 h 61"/>
                  <a:gd name="T18" fmla="*/ 0 w 25"/>
                  <a:gd name="T19" fmla="*/ 7 h 61"/>
                  <a:gd name="T20" fmla="*/ 1 w 25"/>
                  <a:gd name="T21" fmla="*/ 12 h 61"/>
                  <a:gd name="T22" fmla="*/ 1 w 25"/>
                  <a:gd name="T23" fmla="*/ 20 h 61"/>
                  <a:gd name="T24" fmla="*/ 6 w 25"/>
                  <a:gd name="T25" fmla="*/ 27 h 61"/>
                  <a:gd name="T26" fmla="*/ 2 w 25"/>
                  <a:gd name="T27" fmla="*/ 16 h 61"/>
                  <a:gd name="T28" fmla="*/ 10 w 25"/>
                  <a:gd name="T29" fmla="*/ 18 h 6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5" h="61">
                    <a:moveTo>
                      <a:pt x="25" y="40"/>
                    </a:moveTo>
                    <a:lnTo>
                      <a:pt x="14" y="26"/>
                    </a:lnTo>
                    <a:lnTo>
                      <a:pt x="20" y="16"/>
                    </a:lnTo>
                    <a:lnTo>
                      <a:pt x="17" y="13"/>
                    </a:lnTo>
                    <a:lnTo>
                      <a:pt x="11" y="18"/>
                    </a:lnTo>
                    <a:lnTo>
                      <a:pt x="5" y="28"/>
                    </a:lnTo>
                    <a:lnTo>
                      <a:pt x="5" y="21"/>
                    </a:lnTo>
                    <a:lnTo>
                      <a:pt x="8" y="8"/>
                    </a:lnTo>
                    <a:lnTo>
                      <a:pt x="9" y="0"/>
                    </a:lnTo>
                    <a:lnTo>
                      <a:pt x="0" y="15"/>
                    </a:lnTo>
                    <a:lnTo>
                      <a:pt x="2" y="28"/>
                    </a:lnTo>
                    <a:lnTo>
                      <a:pt x="3" y="45"/>
                    </a:lnTo>
                    <a:lnTo>
                      <a:pt x="14" y="61"/>
                    </a:lnTo>
                    <a:lnTo>
                      <a:pt x="6" y="36"/>
                    </a:lnTo>
                    <a:lnTo>
                      <a:pt x="25" y="4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15" name="Freeform 95">
                <a:extLst>
                  <a:ext uri="{FF2B5EF4-FFF2-40B4-BE49-F238E27FC236}">
                    <a16:creationId xmlns:a16="http://schemas.microsoft.com/office/drawing/2014/main" id="{57A2171A-22C4-7538-FA8D-44EF82FACA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02" y="3670"/>
                <a:ext cx="23" cy="8"/>
              </a:xfrm>
              <a:custGeom>
                <a:avLst/>
                <a:gdLst>
                  <a:gd name="T0" fmla="*/ 23 w 53"/>
                  <a:gd name="T1" fmla="*/ 7 h 20"/>
                  <a:gd name="T2" fmla="*/ 22 w 53"/>
                  <a:gd name="T3" fmla="*/ 8 h 20"/>
                  <a:gd name="T4" fmla="*/ 12 w 53"/>
                  <a:gd name="T5" fmla="*/ 4 h 20"/>
                  <a:gd name="T6" fmla="*/ 6 w 53"/>
                  <a:gd name="T7" fmla="*/ 4 h 20"/>
                  <a:gd name="T8" fmla="*/ 1 w 53"/>
                  <a:gd name="T9" fmla="*/ 3 h 20"/>
                  <a:gd name="T10" fmla="*/ 0 w 53"/>
                  <a:gd name="T11" fmla="*/ 5 h 20"/>
                  <a:gd name="T12" fmla="*/ 1 w 53"/>
                  <a:gd name="T13" fmla="*/ 2 h 20"/>
                  <a:gd name="T14" fmla="*/ 5 w 53"/>
                  <a:gd name="T15" fmla="*/ 0 h 20"/>
                  <a:gd name="T16" fmla="*/ 12 w 53"/>
                  <a:gd name="T17" fmla="*/ 1 h 20"/>
                  <a:gd name="T18" fmla="*/ 20 w 53"/>
                  <a:gd name="T19" fmla="*/ 1 h 20"/>
                  <a:gd name="T20" fmla="*/ 23 w 53"/>
                  <a:gd name="T21" fmla="*/ 7 h 2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3" h="20">
                    <a:moveTo>
                      <a:pt x="53" y="17"/>
                    </a:moveTo>
                    <a:lnTo>
                      <a:pt x="51" y="20"/>
                    </a:lnTo>
                    <a:lnTo>
                      <a:pt x="28" y="10"/>
                    </a:lnTo>
                    <a:lnTo>
                      <a:pt x="13" y="10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5"/>
                    </a:lnTo>
                    <a:lnTo>
                      <a:pt x="11" y="0"/>
                    </a:lnTo>
                    <a:lnTo>
                      <a:pt x="28" y="2"/>
                    </a:lnTo>
                    <a:lnTo>
                      <a:pt x="45" y="3"/>
                    </a:lnTo>
                    <a:lnTo>
                      <a:pt x="53" y="1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16" name="Freeform 96">
                <a:extLst>
                  <a:ext uri="{FF2B5EF4-FFF2-40B4-BE49-F238E27FC236}">
                    <a16:creationId xmlns:a16="http://schemas.microsoft.com/office/drawing/2014/main" id="{1D52C161-7A4B-68C4-9225-48DFD6E6D3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35" y="3719"/>
                <a:ext cx="25" cy="5"/>
              </a:xfrm>
              <a:custGeom>
                <a:avLst/>
                <a:gdLst>
                  <a:gd name="T0" fmla="*/ 25 w 59"/>
                  <a:gd name="T1" fmla="*/ 0 h 11"/>
                  <a:gd name="T2" fmla="*/ 25 w 59"/>
                  <a:gd name="T3" fmla="*/ 0 h 11"/>
                  <a:gd name="T4" fmla="*/ 23 w 59"/>
                  <a:gd name="T5" fmla="*/ 0 h 11"/>
                  <a:gd name="T6" fmla="*/ 20 w 59"/>
                  <a:gd name="T7" fmla="*/ 2 h 11"/>
                  <a:gd name="T8" fmla="*/ 16 w 59"/>
                  <a:gd name="T9" fmla="*/ 2 h 11"/>
                  <a:gd name="T10" fmla="*/ 11 w 59"/>
                  <a:gd name="T11" fmla="*/ 1 h 11"/>
                  <a:gd name="T12" fmla="*/ 4 w 59"/>
                  <a:gd name="T13" fmla="*/ 0 h 11"/>
                  <a:gd name="T14" fmla="*/ 0 w 59"/>
                  <a:gd name="T15" fmla="*/ 4 h 11"/>
                  <a:gd name="T16" fmla="*/ 3 w 59"/>
                  <a:gd name="T17" fmla="*/ 5 h 11"/>
                  <a:gd name="T18" fmla="*/ 11 w 59"/>
                  <a:gd name="T19" fmla="*/ 5 h 11"/>
                  <a:gd name="T20" fmla="*/ 18 w 59"/>
                  <a:gd name="T21" fmla="*/ 5 h 11"/>
                  <a:gd name="T22" fmla="*/ 25 w 59"/>
                  <a:gd name="T23" fmla="*/ 0 h 1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9" h="11">
                    <a:moveTo>
                      <a:pt x="59" y="1"/>
                    </a:moveTo>
                    <a:lnTo>
                      <a:pt x="59" y="0"/>
                    </a:lnTo>
                    <a:lnTo>
                      <a:pt x="54" y="0"/>
                    </a:lnTo>
                    <a:lnTo>
                      <a:pt x="48" y="5"/>
                    </a:lnTo>
                    <a:lnTo>
                      <a:pt x="37" y="5"/>
                    </a:lnTo>
                    <a:lnTo>
                      <a:pt x="25" y="3"/>
                    </a:lnTo>
                    <a:lnTo>
                      <a:pt x="9" y="0"/>
                    </a:lnTo>
                    <a:lnTo>
                      <a:pt x="0" y="8"/>
                    </a:lnTo>
                    <a:lnTo>
                      <a:pt x="8" y="11"/>
                    </a:lnTo>
                    <a:lnTo>
                      <a:pt x="25" y="10"/>
                    </a:lnTo>
                    <a:lnTo>
                      <a:pt x="43" y="10"/>
                    </a:lnTo>
                    <a:lnTo>
                      <a:pt x="59" y="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17" name="Freeform 97">
                <a:extLst>
                  <a:ext uri="{FF2B5EF4-FFF2-40B4-BE49-F238E27FC236}">
                    <a16:creationId xmlns:a16="http://schemas.microsoft.com/office/drawing/2014/main" id="{0D796388-8C39-8D9F-854A-34ECFF28C7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20" y="3659"/>
                <a:ext cx="13" cy="13"/>
              </a:xfrm>
              <a:custGeom>
                <a:avLst/>
                <a:gdLst>
                  <a:gd name="T0" fmla="*/ 13 w 29"/>
                  <a:gd name="T1" fmla="*/ 9 h 32"/>
                  <a:gd name="T2" fmla="*/ 13 w 29"/>
                  <a:gd name="T3" fmla="*/ 13 h 32"/>
                  <a:gd name="T4" fmla="*/ 5 w 29"/>
                  <a:gd name="T5" fmla="*/ 9 h 32"/>
                  <a:gd name="T6" fmla="*/ 3 w 29"/>
                  <a:gd name="T7" fmla="*/ 5 h 32"/>
                  <a:gd name="T8" fmla="*/ 0 w 29"/>
                  <a:gd name="T9" fmla="*/ 4 h 32"/>
                  <a:gd name="T10" fmla="*/ 4 w 29"/>
                  <a:gd name="T11" fmla="*/ 1 h 32"/>
                  <a:gd name="T12" fmla="*/ 5 w 29"/>
                  <a:gd name="T13" fmla="*/ 0 h 32"/>
                  <a:gd name="T14" fmla="*/ 9 w 29"/>
                  <a:gd name="T15" fmla="*/ 7 h 32"/>
                  <a:gd name="T16" fmla="*/ 13 w 29"/>
                  <a:gd name="T17" fmla="*/ 9 h 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9" h="32">
                    <a:moveTo>
                      <a:pt x="29" y="22"/>
                    </a:moveTo>
                    <a:lnTo>
                      <a:pt x="28" y="32"/>
                    </a:lnTo>
                    <a:lnTo>
                      <a:pt x="12" y="22"/>
                    </a:lnTo>
                    <a:lnTo>
                      <a:pt x="7" y="12"/>
                    </a:lnTo>
                    <a:lnTo>
                      <a:pt x="0" y="9"/>
                    </a:lnTo>
                    <a:lnTo>
                      <a:pt x="9" y="2"/>
                    </a:lnTo>
                    <a:lnTo>
                      <a:pt x="12" y="0"/>
                    </a:lnTo>
                    <a:lnTo>
                      <a:pt x="20" y="17"/>
                    </a:lnTo>
                    <a:lnTo>
                      <a:pt x="29" y="2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18" name="Freeform 98">
                <a:extLst>
                  <a:ext uri="{FF2B5EF4-FFF2-40B4-BE49-F238E27FC236}">
                    <a16:creationId xmlns:a16="http://schemas.microsoft.com/office/drawing/2014/main" id="{2270899B-2F8F-1776-7B08-1226465BF9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10" y="3717"/>
                <a:ext cx="19" cy="10"/>
              </a:xfrm>
              <a:custGeom>
                <a:avLst/>
                <a:gdLst>
                  <a:gd name="T0" fmla="*/ 19 w 44"/>
                  <a:gd name="T1" fmla="*/ 6 h 21"/>
                  <a:gd name="T2" fmla="*/ 18 w 44"/>
                  <a:gd name="T3" fmla="*/ 3 h 21"/>
                  <a:gd name="T4" fmla="*/ 16 w 44"/>
                  <a:gd name="T5" fmla="*/ 4 h 21"/>
                  <a:gd name="T6" fmla="*/ 8 w 44"/>
                  <a:gd name="T7" fmla="*/ 0 h 21"/>
                  <a:gd name="T8" fmla="*/ 12 w 44"/>
                  <a:gd name="T9" fmla="*/ 5 h 21"/>
                  <a:gd name="T10" fmla="*/ 8 w 44"/>
                  <a:gd name="T11" fmla="*/ 5 h 21"/>
                  <a:gd name="T12" fmla="*/ 2 w 44"/>
                  <a:gd name="T13" fmla="*/ 4 h 21"/>
                  <a:gd name="T14" fmla="*/ 0 w 44"/>
                  <a:gd name="T15" fmla="*/ 10 h 21"/>
                  <a:gd name="T16" fmla="*/ 7 w 44"/>
                  <a:gd name="T17" fmla="*/ 8 h 21"/>
                  <a:gd name="T18" fmla="*/ 13 w 44"/>
                  <a:gd name="T19" fmla="*/ 6 h 21"/>
                  <a:gd name="T20" fmla="*/ 16 w 44"/>
                  <a:gd name="T21" fmla="*/ 8 h 21"/>
                  <a:gd name="T22" fmla="*/ 16 w 44"/>
                  <a:gd name="T23" fmla="*/ 7 h 21"/>
                  <a:gd name="T24" fmla="*/ 19 w 44"/>
                  <a:gd name="T25" fmla="*/ 6 h 2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4" h="21">
                    <a:moveTo>
                      <a:pt x="44" y="13"/>
                    </a:moveTo>
                    <a:lnTo>
                      <a:pt x="42" y="6"/>
                    </a:lnTo>
                    <a:lnTo>
                      <a:pt x="36" y="8"/>
                    </a:lnTo>
                    <a:lnTo>
                      <a:pt x="19" y="0"/>
                    </a:lnTo>
                    <a:lnTo>
                      <a:pt x="28" y="11"/>
                    </a:lnTo>
                    <a:lnTo>
                      <a:pt x="19" y="11"/>
                    </a:lnTo>
                    <a:lnTo>
                      <a:pt x="5" y="8"/>
                    </a:lnTo>
                    <a:lnTo>
                      <a:pt x="0" y="21"/>
                    </a:lnTo>
                    <a:lnTo>
                      <a:pt x="16" y="16"/>
                    </a:lnTo>
                    <a:lnTo>
                      <a:pt x="30" y="13"/>
                    </a:lnTo>
                    <a:lnTo>
                      <a:pt x="37" y="16"/>
                    </a:lnTo>
                    <a:lnTo>
                      <a:pt x="36" y="15"/>
                    </a:lnTo>
                    <a:lnTo>
                      <a:pt x="44" y="1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19" name="Freeform 99">
                <a:extLst>
                  <a:ext uri="{FF2B5EF4-FFF2-40B4-BE49-F238E27FC236}">
                    <a16:creationId xmlns:a16="http://schemas.microsoft.com/office/drawing/2014/main" id="{5C7071E2-0CCD-CDFE-CD0B-0230ADE824E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29" y="3729"/>
                <a:ext cx="12" cy="7"/>
              </a:xfrm>
              <a:custGeom>
                <a:avLst/>
                <a:gdLst>
                  <a:gd name="T0" fmla="*/ 12 w 30"/>
                  <a:gd name="T1" fmla="*/ 5 h 16"/>
                  <a:gd name="T2" fmla="*/ 8 w 30"/>
                  <a:gd name="T3" fmla="*/ 7 h 16"/>
                  <a:gd name="T4" fmla="*/ 1 w 30"/>
                  <a:gd name="T5" fmla="*/ 3 h 16"/>
                  <a:gd name="T6" fmla="*/ 0 w 30"/>
                  <a:gd name="T7" fmla="*/ 0 h 16"/>
                  <a:gd name="T8" fmla="*/ 8 w 30"/>
                  <a:gd name="T9" fmla="*/ 0 h 16"/>
                  <a:gd name="T10" fmla="*/ 12 w 30"/>
                  <a:gd name="T11" fmla="*/ 5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0" h="16">
                    <a:moveTo>
                      <a:pt x="30" y="11"/>
                    </a:moveTo>
                    <a:lnTo>
                      <a:pt x="19" y="16"/>
                    </a:lnTo>
                    <a:lnTo>
                      <a:pt x="3" y="7"/>
                    </a:lnTo>
                    <a:lnTo>
                      <a:pt x="0" y="0"/>
                    </a:lnTo>
                    <a:lnTo>
                      <a:pt x="19" y="0"/>
                    </a:lnTo>
                    <a:lnTo>
                      <a:pt x="30" y="1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20" name="Freeform 100">
                <a:extLst>
                  <a:ext uri="{FF2B5EF4-FFF2-40B4-BE49-F238E27FC236}">
                    <a16:creationId xmlns:a16="http://schemas.microsoft.com/office/drawing/2014/main" id="{A648610C-CFA4-BB37-E30A-2BB547C438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86" y="3672"/>
                <a:ext cx="11" cy="6"/>
              </a:xfrm>
              <a:custGeom>
                <a:avLst/>
                <a:gdLst>
                  <a:gd name="T0" fmla="*/ 11 w 23"/>
                  <a:gd name="T1" fmla="*/ 2 h 15"/>
                  <a:gd name="T2" fmla="*/ 7 w 23"/>
                  <a:gd name="T3" fmla="*/ 6 h 15"/>
                  <a:gd name="T4" fmla="*/ 0 w 23"/>
                  <a:gd name="T5" fmla="*/ 2 h 15"/>
                  <a:gd name="T6" fmla="*/ 3 w 23"/>
                  <a:gd name="T7" fmla="*/ 0 h 15"/>
                  <a:gd name="T8" fmla="*/ 11 w 23"/>
                  <a:gd name="T9" fmla="*/ 2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3" h="15">
                    <a:moveTo>
                      <a:pt x="23" y="5"/>
                    </a:moveTo>
                    <a:lnTo>
                      <a:pt x="15" y="15"/>
                    </a:lnTo>
                    <a:lnTo>
                      <a:pt x="0" y="5"/>
                    </a:lnTo>
                    <a:lnTo>
                      <a:pt x="7" y="0"/>
                    </a:lnTo>
                    <a:lnTo>
                      <a:pt x="23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21" name="Freeform 101">
                <a:extLst>
                  <a:ext uri="{FF2B5EF4-FFF2-40B4-BE49-F238E27FC236}">
                    <a16:creationId xmlns:a16="http://schemas.microsoft.com/office/drawing/2014/main" id="{8186EA41-9493-C69C-D2ED-2F31A4FAAA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3" y="3717"/>
                <a:ext cx="9" cy="5"/>
              </a:xfrm>
              <a:custGeom>
                <a:avLst/>
                <a:gdLst>
                  <a:gd name="T0" fmla="*/ 9 w 20"/>
                  <a:gd name="T1" fmla="*/ 2 h 13"/>
                  <a:gd name="T2" fmla="*/ 8 w 20"/>
                  <a:gd name="T3" fmla="*/ 1 h 13"/>
                  <a:gd name="T4" fmla="*/ 0 w 20"/>
                  <a:gd name="T5" fmla="*/ 0 h 13"/>
                  <a:gd name="T6" fmla="*/ 5 w 20"/>
                  <a:gd name="T7" fmla="*/ 5 h 13"/>
                  <a:gd name="T8" fmla="*/ 9 w 20"/>
                  <a:gd name="T9" fmla="*/ 2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" h="13">
                    <a:moveTo>
                      <a:pt x="20" y="6"/>
                    </a:moveTo>
                    <a:lnTo>
                      <a:pt x="17" y="3"/>
                    </a:lnTo>
                    <a:lnTo>
                      <a:pt x="0" y="0"/>
                    </a:lnTo>
                    <a:lnTo>
                      <a:pt x="10" y="13"/>
                    </a:lnTo>
                    <a:lnTo>
                      <a:pt x="20" y="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22" name="Freeform 102">
                <a:extLst>
                  <a:ext uri="{FF2B5EF4-FFF2-40B4-BE49-F238E27FC236}">
                    <a16:creationId xmlns:a16="http://schemas.microsoft.com/office/drawing/2014/main" id="{D113FE99-3E4F-24FC-FED5-A95CB223A9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04" y="3719"/>
                <a:ext cx="6" cy="6"/>
              </a:xfrm>
              <a:custGeom>
                <a:avLst/>
                <a:gdLst>
                  <a:gd name="T0" fmla="*/ 6 w 14"/>
                  <a:gd name="T1" fmla="*/ 1 h 13"/>
                  <a:gd name="T2" fmla="*/ 4 w 14"/>
                  <a:gd name="T3" fmla="*/ 0 h 13"/>
                  <a:gd name="T4" fmla="*/ 0 w 14"/>
                  <a:gd name="T5" fmla="*/ 5 h 13"/>
                  <a:gd name="T6" fmla="*/ 3 w 14"/>
                  <a:gd name="T7" fmla="*/ 6 h 13"/>
                  <a:gd name="T8" fmla="*/ 6 w 14"/>
                  <a:gd name="T9" fmla="*/ 1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4" h="13">
                    <a:moveTo>
                      <a:pt x="14" y="3"/>
                    </a:moveTo>
                    <a:lnTo>
                      <a:pt x="10" y="0"/>
                    </a:lnTo>
                    <a:lnTo>
                      <a:pt x="0" y="10"/>
                    </a:lnTo>
                    <a:lnTo>
                      <a:pt x="7" y="13"/>
                    </a:lnTo>
                    <a:lnTo>
                      <a:pt x="14" y="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23" name="Freeform 103">
                <a:extLst>
                  <a:ext uri="{FF2B5EF4-FFF2-40B4-BE49-F238E27FC236}">
                    <a16:creationId xmlns:a16="http://schemas.microsoft.com/office/drawing/2014/main" id="{0374B0A4-D540-C8FA-F2C5-8E1DE244ADD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1" y="3667"/>
                <a:ext cx="4" cy="6"/>
              </a:xfrm>
              <a:custGeom>
                <a:avLst/>
                <a:gdLst>
                  <a:gd name="T0" fmla="*/ 4 w 10"/>
                  <a:gd name="T1" fmla="*/ 2 h 13"/>
                  <a:gd name="T2" fmla="*/ 2 w 10"/>
                  <a:gd name="T3" fmla="*/ 6 h 13"/>
                  <a:gd name="T4" fmla="*/ 0 w 10"/>
                  <a:gd name="T5" fmla="*/ 6 h 13"/>
                  <a:gd name="T6" fmla="*/ 0 w 10"/>
                  <a:gd name="T7" fmla="*/ 0 h 13"/>
                  <a:gd name="T8" fmla="*/ 4 w 10"/>
                  <a:gd name="T9" fmla="*/ 2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" h="13">
                    <a:moveTo>
                      <a:pt x="10" y="5"/>
                    </a:moveTo>
                    <a:lnTo>
                      <a:pt x="4" y="12"/>
                    </a:lnTo>
                    <a:lnTo>
                      <a:pt x="0" y="13"/>
                    </a:lnTo>
                    <a:lnTo>
                      <a:pt x="0" y="0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24" name="Freeform 104">
                <a:extLst>
                  <a:ext uri="{FF2B5EF4-FFF2-40B4-BE49-F238E27FC236}">
                    <a16:creationId xmlns:a16="http://schemas.microsoft.com/office/drawing/2014/main" id="{C53EE344-0706-DF73-AC3F-F57CCBAC0F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59" y="3685"/>
                <a:ext cx="5" cy="11"/>
              </a:xfrm>
              <a:custGeom>
                <a:avLst/>
                <a:gdLst>
                  <a:gd name="T0" fmla="*/ 5 w 11"/>
                  <a:gd name="T1" fmla="*/ 7 h 27"/>
                  <a:gd name="T2" fmla="*/ 4 w 11"/>
                  <a:gd name="T3" fmla="*/ 7 h 27"/>
                  <a:gd name="T4" fmla="*/ 4 w 11"/>
                  <a:gd name="T5" fmla="*/ 3 h 27"/>
                  <a:gd name="T6" fmla="*/ 4 w 11"/>
                  <a:gd name="T7" fmla="*/ 0 h 27"/>
                  <a:gd name="T8" fmla="*/ 0 w 11"/>
                  <a:gd name="T9" fmla="*/ 11 h 27"/>
                  <a:gd name="T10" fmla="*/ 5 w 11"/>
                  <a:gd name="T11" fmla="*/ 7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" h="27">
                    <a:moveTo>
                      <a:pt x="11" y="18"/>
                    </a:moveTo>
                    <a:lnTo>
                      <a:pt x="9" y="17"/>
                    </a:lnTo>
                    <a:lnTo>
                      <a:pt x="9" y="7"/>
                    </a:lnTo>
                    <a:lnTo>
                      <a:pt x="9" y="0"/>
                    </a:lnTo>
                    <a:lnTo>
                      <a:pt x="0" y="27"/>
                    </a:lnTo>
                    <a:lnTo>
                      <a:pt x="11" y="1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25" name="Freeform 105">
                <a:extLst>
                  <a:ext uri="{FF2B5EF4-FFF2-40B4-BE49-F238E27FC236}">
                    <a16:creationId xmlns:a16="http://schemas.microsoft.com/office/drawing/2014/main" id="{090BD89B-B82E-ACA8-3456-EC6B982EDC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52" y="3694"/>
                <a:ext cx="3" cy="7"/>
              </a:xfrm>
              <a:custGeom>
                <a:avLst/>
                <a:gdLst>
                  <a:gd name="T0" fmla="*/ 3 w 8"/>
                  <a:gd name="T1" fmla="*/ 6 h 14"/>
                  <a:gd name="T2" fmla="*/ 3 w 8"/>
                  <a:gd name="T3" fmla="*/ 0 h 14"/>
                  <a:gd name="T4" fmla="*/ 0 w 8"/>
                  <a:gd name="T5" fmla="*/ 2 h 14"/>
                  <a:gd name="T6" fmla="*/ 0 w 8"/>
                  <a:gd name="T7" fmla="*/ 7 h 14"/>
                  <a:gd name="T8" fmla="*/ 3 w 8"/>
                  <a:gd name="T9" fmla="*/ 6 h 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" h="14">
                    <a:moveTo>
                      <a:pt x="8" y="12"/>
                    </a:moveTo>
                    <a:lnTo>
                      <a:pt x="8" y="0"/>
                    </a:lnTo>
                    <a:lnTo>
                      <a:pt x="0" y="4"/>
                    </a:lnTo>
                    <a:lnTo>
                      <a:pt x="0" y="14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26" name="Freeform 106">
                <a:extLst>
                  <a:ext uri="{FF2B5EF4-FFF2-40B4-BE49-F238E27FC236}">
                    <a16:creationId xmlns:a16="http://schemas.microsoft.com/office/drawing/2014/main" id="{BA3AFCE2-F647-7DB6-AC6E-93C451F62D4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57" y="3686"/>
                <a:ext cx="3" cy="7"/>
              </a:xfrm>
              <a:custGeom>
                <a:avLst/>
                <a:gdLst>
                  <a:gd name="T0" fmla="*/ 3 w 8"/>
                  <a:gd name="T1" fmla="*/ 3 h 17"/>
                  <a:gd name="T2" fmla="*/ 3 w 8"/>
                  <a:gd name="T3" fmla="*/ 0 h 17"/>
                  <a:gd name="T4" fmla="*/ 1 w 8"/>
                  <a:gd name="T5" fmla="*/ 2 h 17"/>
                  <a:gd name="T6" fmla="*/ 0 w 8"/>
                  <a:gd name="T7" fmla="*/ 7 h 17"/>
                  <a:gd name="T8" fmla="*/ 3 w 8"/>
                  <a:gd name="T9" fmla="*/ 3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" h="17">
                    <a:moveTo>
                      <a:pt x="8" y="7"/>
                    </a:moveTo>
                    <a:lnTo>
                      <a:pt x="8" y="0"/>
                    </a:lnTo>
                    <a:lnTo>
                      <a:pt x="3" y="4"/>
                    </a:lnTo>
                    <a:lnTo>
                      <a:pt x="0" y="17"/>
                    </a:lnTo>
                    <a:lnTo>
                      <a:pt x="8" y="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27" name="Freeform 107">
                <a:extLst>
                  <a:ext uri="{FF2B5EF4-FFF2-40B4-BE49-F238E27FC236}">
                    <a16:creationId xmlns:a16="http://schemas.microsoft.com/office/drawing/2014/main" id="{1F0224A8-EFCE-1D50-CCA7-B110738C87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74" y="3659"/>
                <a:ext cx="8" cy="3"/>
              </a:xfrm>
              <a:custGeom>
                <a:avLst/>
                <a:gdLst>
                  <a:gd name="T0" fmla="*/ 8 w 19"/>
                  <a:gd name="T1" fmla="*/ 3 h 5"/>
                  <a:gd name="T2" fmla="*/ 4 w 19"/>
                  <a:gd name="T3" fmla="*/ 0 h 5"/>
                  <a:gd name="T4" fmla="*/ 0 w 19"/>
                  <a:gd name="T5" fmla="*/ 3 h 5"/>
                  <a:gd name="T6" fmla="*/ 8 w 19"/>
                  <a:gd name="T7" fmla="*/ 3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5">
                    <a:moveTo>
                      <a:pt x="19" y="5"/>
                    </a:moveTo>
                    <a:lnTo>
                      <a:pt x="10" y="0"/>
                    </a:lnTo>
                    <a:lnTo>
                      <a:pt x="0" y="5"/>
                    </a:lnTo>
                    <a:lnTo>
                      <a:pt x="19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28" name="Freeform 108">
                <a:extLst>
                  <a:ext uri="{FF2B5EF4-FFF2-40B4-BE49-F238E27FC236}">
                    <a16:creationId xmlns:a16="http://schemas.microsoft.com/office/drawing/2014/main" id="{7773369D-8EF1-7109-9156-4708225050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51" y="3702"/>
                <a:ext cx="2" cy="4"/>
              </a:xfrm>
              <a:custGeom>
                <a:avLst/>
                <a:gdLst>
                  <a:gd name="T0" fmla="*/ 2 w 6"/>
                  <a:gd name="T1" fmla="*/ 2 h 13"/>
                  <a:gd name="T2" fmla="*/ 1 w 6"/>
                  <a:gd name="T3" fmla="*/ 4 h 13"/>
                  <a:gd name="T4" fmla="*/ 0 w 6"/>
                  <a:gd name="T5" fmla="*/ 0 h 13"/>
                  <a:gd name="T6" fmla="*/ 2 w 6"/>
                  <a:gd name="T7" fmla="*/ 2 h 1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13">
                    <a:moveTo>
                      <a:pt x="6" y="7"/>
                    </a:moveTo>
                    <a:lnTo>
                      <a:pt x="2" y="13"/>
                    </a:lnTo>
                    <a:lnTo>
                      <a:pt x="0" y="0"/>
                    </a:lnTo>
                    <a:lnTo>
                      <a:pt x="6" y="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29" name="Freeform 109">
                <a:extLst>
                  <a:ext uri="{FF2B5EF4-FFF2-40B4-BE49-F238E27FC236}">
                    <a16:creationId xmlns:a16="http://schemas.microsoft.com/office/drawing/2014/main" id="{104BB587-67E7-8E04-6952-C55515E52B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79" y="3706"/>
                <a:ext cx="11" cy="3"/>
              </a:xfrm>
              <a:custGeom>
                <a:avLst/>
                <a:gdLst>
                  <a:gd name="T0" fmla="*/ 11 w 24"/>
                  <a:gd name="T1" fmla="*/ 0 h 5"/>
                  <a:gd name="T2" fmla="*/ 3 w 24"/>
                  <a:gd name="T3" fmla="*/ 3 h 5"/>
                  <a:gd name="T4" fmla="*/ 0 w 24"/>
                  <a:gd name="T5" fmla="*/ 1 h 5"/>
                  <a:gd name="T6" fmla="*/ 11 w 24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4" h="5">
                    <a:moveTo>
                      <a:pt x="24" y="0"/>
                    </a:moveTo>
                    <a:lnTo>
                      <a:pt x="6" y="5"/>
                    </a:lnTo>
                    <a:lnTo>
                      <a:pt x="0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0" name="Freeform 110">
                <a:extLst>
                  <a:ext uri="{FF2B5EF4-FFF2-40B4-BE49-F238E27FC236}">
                    <a16:creationId xmlns:a16="http://schemas.microsoft.com/office/drawing/2014/main" id="{A4D72171-C01E-49A5-4017-B607EA1D38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2" y="3600"/>
                <a:ext cx="6" cy="9"/>
              </a:xfrm>
              <a:custGeom>
                <a:avLst/>
                <a:gdLst>
                  <a:gd name="T0" fmla="*/ 4 w 15"/>
                  <a:gd name="T1" fmla="*/ 9 h 20"/>
                  <a:gd name="T2" fmla="*/ 0 w 15"/>
                  <a:gd name="T3" fmla="*/ 4 h 20"/>
                  <a:gd name="T4" fmla="*/ 6 w 15"/>
                  <a:gd name="T5" fmla="*/ 0 h 20"/>
                  <a:gd name="T6" fmla="*/ 6 w 15"/>
                  <a:gd name="T7" fmla="*/ 0 h 20"/>
                  <a:gd name="T8" fmla="*/ 6 w 15"/>
                  <a:gd name="T9" fmla="*/ 5 h 20"/>
                  <a:gd name="T10" fmla="*/ 4 w 15"/>
                  <a:gd name="T11" fmla="*/ 9 h 2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20">
                    <a:moveTo>
                      <a:pt x="9" y="20"/>
                    </a:moveTo>
                    <a:lnTo>
                      <a:pt x="0" y="8"/>
                    </a:lnTo>
                    <a:lnTo>
                      <a:pt x="15" y="0"/>
                    </a:lnTo>
                    <a:lnTo>
                      <a:pt x="15" y="1"/>
                    </a:lnTo>
                    <a:lnTo>
                      <a:pt x="14" y="11"/>
                    </a:lnTo>
                    <a:lnTo>
                      <a:pt x="9" y="2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1" name="Freeform 111">
                <a:extLst>
                  <a:ext uri="{FF2B5EF4-FFF2-40B4-BE49-F238E27FC236}">
                    <a16:creationId xmlns:a16="http://schemas.microsoft.com/office/drawing/2014/main" id="{D29AFBC9-7EC1-45E3-2C5D-F5DBE3BDCB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56" y="3583"/>
                <a:ext cx="76" cy="54"/>
              </a:xfrm>
              <a:custGeom>
                <a:avLst/>
                <a:gdLst>
                  <a:gd name="T0" fmla="*/ 58 w 171"/>
                  <a:gd name="T1" fmla="*/ 0 h 123"/>
                  <a:gd name="T2" fmla="*/ 62 w 171"/>
                  <a:gd name="T3" fmla="*/ 4 h 123"/>
                  <a:gd name="T4" fmla="*/ 62 w 171"/>
                  <a:gd name="T5" fmla="*/ 9 h 123"/>
                  <a:gd name="T6" fmla="*/ 65 w 171"/>
                  <a:gd name="T7" fmla="*/ 8 h 123"/>
                  <a:gd name="T8" fmla="*/ 65 w 171"/>
                  <a:gd name="T9" fmla="*/ 10 h 123"/>
                  <a:gd name="T10" fmla="*/ 67 w 171"/>
                  <a:gd name="T11" fmla="*/ 10 h 123"/>
                  <a:gd name="T12" fmla="*/ 76 w 171"/>
                  <a:gd name="T13" fmla="*/ 14 h 123"/>
                  <a:gd name="T14" fmla="*/ 68 w 171"/>
                  <a:gd name="T15" fmla="*/ 18 h 123"/>
                  <a:gd name="T16" fmla="*/ 70 w 171"/>
                  <a:gd name="T17" fmla="*/ 22 h 123"/>
                  <a:gd name="T18" fmla="*/ 64 w 171"/>
                  <a:gd name="T19" fmla="*/ 22 h 123"/>
                  <a:gd name="T20" fmla="*/ 62 w 171"/>
                  <a:gd name="T21" fmla="*/ 25 h 123"/>
                  <a:gd name="T22" fmla="*/ 56 w 171"/>
                  <a:gd name="T23" fmla="*/ 23 h 123"/>
                  <a:gd name="T24" fmla="*/ 49 w 171"/>
                  <a:gd name="T25" fmla="*/ 22 h 123"/>
                  <a:gd name="T26" fmla="*/ 47 w 171"/>
                  <a:gd name="T27" fmla="*/ 29 h 123"/>
                  <a:gd name="T28" fmla="*/ 45 w 171"/>
                  <a:gd name="T29" fmla="*/ 35 h 123"/>
                  <a:gd name="T30" fmla="*/ 43 w 171"/>
                  <a:gd name="T31" fmla="*/ 40 h 123"/>
                  <a:gd name="T32" fmla="*/ 40 w 171"/>
                  <a:gd name="T33" fmla="*/ 47 h 123"/>
                  <a:gd name="T34" fmla="*/ 33 w 171"/>
                  <a:gd name="T35" fmla="*/ 50 h 123"/>
                  <a:gd name="T36" fmla="*/ 23 w 171"/>
                  <a:gd name="T37" fmla="*/ 48 h 123"/>
                  <a:gd name="T38" fmla="*/ 20 w 171"/>
                  <a:gd name="T39" fmla="*/ 51 h 123"/>
                  <a:gd name="T40" fmla="*/ 9 w 171"/>
                  <a:gd name="T41" fmla="*/ 54 h 123"/>
                  <a:gd name="T42" fmla="*/ 0 w 171"/>
                  <a:gd name="T43" fmla="*/ 49 h 123"/>
                  <a:gd name="T44" fmla="*/ 0 w 171"/>
                  <a:gd name="T45" fmla="*/ 43 h 123"/>
                  <a:gd name="T46" fmla="*/ 0 w 171"/>
                  <a:gd name="T47" fmla="*/ 43 h 123"/>
                  <a:gd name="T48" fmla="*/ 6 w 171"/>
                  <a:gd name="T49" fmla="*/ 47 h 123"/>
                  <a:gd name="T50" fmla="*/ 12 w 171"/>
                  <a:gd name="T51" fmla="*/ 49 h 123"/>
                  <a:gd name="T52" fmla="*/ 11 w 171"/>
                  <a:gd name="T53" fmla="*/ 48 h 123"/>
                  <a:gd name="T54" fmla="*/ 12 w 171"/>
                  <a:gd name="T55" fmla="*/ 47 h 123"/>
                  <a:gd name="T56" fmla="*/ 13 w 171"/>
                  <a:gd name="T57" fmla="*/ 42 h 123"/>
                  <a:gd name="T58" fmla="*/ 13 w 171"/>
                  <a:gd name="T59" fmla="*/ 41 h 123"/>
                  <a:gd name="T60" fmla="*/ 14 w 171"/>
                  <a:gd name="T61" fmla="*/ 38 h 123"/>
                  <a:gd name="T62" fmla="*/ 19 w 171"/>
                  <a:gd name="T63" fmla="*/ 36 h 123"/>
                  <a:gd name="T64" fmla="*/ 24 w 171"/>
                  <a:gd name="T65" fmla="*/ 34 h 123"/>
                  <a:gd name="T66" fmla="*/ 29 w 171"/>
                  <a:gd name="T67" fmla="*/ 28 h 123"/>
                  <a:gd name="T68" fmla="*/ 35 w 171"/>
                  <a:gd name="T69" fmla="*/ 20 h 123"/>
                  <a:gd name="T70" fmla="*/ 39 w 171"/>
                  <a:gd name="T71" fmla="*/ 25 h 123"/>
                  <a:gd name="T72" fmla="*/ 41 w 171"/>
                  <a:gd name="T73" fmla="*/ 22 h 123"/>
                  <a:gd name="T74" fmla="*/ 42 w 171"/>
                  <a:gd name="T75" fmla="*/ 18 h 123"/>
                  <a:gd name="T76" fmla="*/ 44 w 171"/>
                  <a:gd name="T77" fmla="*/ 22 h 123"/>
                  <a:gd name="T78" fmla="*/ 44 w 171"/>
                  <a:gd name="T79" fmla="*/ 19 h 123"/>
                  <a:gd name="T80" fmla="*/ 45 w 171"/>
                  <a:gd name="T81" fmla="*/ 17 h 123"/>
                  <a:gd name="T82" fmla="*/ 45 w 171"/>
                  <a:gd name="T83" fmla="*/ 14 h 123"/>
                  <a:gd name="T84" fmla="*/ 47 w 171"/>
                  <a:gd name="T85" fmla="*/ 12 h 123"/>
                  <a:gd name="T86" fmla="*/ 50 w 171"/>
                  <a:gd name="T87" fmla="*/ 6 h 123"/>
                  <a:gd name="T88" fmla="*/ 54 w 171"/>
                  <a:gd name="T89" fmla="*/ 0 h 123"/>
                  <a:gd name="T90" fmla="*/ 56 w 171"/>
                  <a:gd name="T91" fmla="*/ 2 h 123"/>
                  <a:gd name="T92" fmla="*/ 58 w 171"/>
                  <a:gd name="T93" fmla="*/ 0 h 12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71" h="123">
                    <a:moveTo>
                      <a:pt x="130" y="0"/>
                    </a:moveTo>
                    <a:lnTo>
                      <a:pt x="139" y="8"/>
                    </a:lnTo>
                    <a:lnTo>
                      <a:pt x="139" y="20"/>
                    </a:lnTo>
                    <a:lnTo>
                      <a:pt x="147" y="18"/>
                    </a:lnTo>
                    <a:lnTo>
                      <a:pt x="147" y="22"/>
                    </a:lnTo>
                    <a:lnTo>
                      <a:pt x="150" y="23"/>
                    </a:lnTo>
                    <a:lnTo>
                      <a:pt x="171" y="33"/>
                    </a:lnTo>
                    <a:lnTo>
                      <a:pt x="153" y="40"/>
                    </a:lnTo>
                    <a:lnTo>
                      <a:pt x="157" y="50"/>
                    </a:lnTo>
                    <a:lnTo>
                      <a:pt x="145" y="51"/>
                    </a:lnTo>
                    <a:lnTo>
                      <a:pt x="140" y="56"/>
                    </a:lnTo>
                    <a:lnTo>
                      <a:pt x="127" y="53"/>
                    </a:lnTo>
                    <a:lnTo>
                      <a:pt x="110" y="51"/>
                    </a:lnTo>
                    <a:lnTo>
                      <a:pt x="106" y="65"/>
                    </a:lnTo>
                    <a:lnTo>
                      <a:pt x="102" y="80"/>
                    </a:lnTo>
                    <a:lnTo>
                      <a:pt x="97" y="90"/>
                    </a:lnTo>
                    <a:lnTo>
                      <a:pt x="89" y="108"/>
                    </a:lnTo>
                    <a:lnTo>
                      <a:pt x="75" y="114"/>
                    </a:lnTo>
                    <a:lnTo>
                      <a:pt x="51" y="109"/>
                    </a:lnTo>
                    <a:lnTo>
                      <a:pt x="45" y="116"/>
                    </a:lnTo>
                    <a:lnTo>
                      <a:pt x="20" y="123"/>
                    </a:lnTo>
                    <a:lnTo>
                      <a:pt x="1" y="111"/>
                    </a:lnTo>
                    <a:lnTo>
                      <a:pt x="0" y="98"/>
                    </a:lnTo>
                    <a:lnTo>
                      <a:pt x="0" y="99"/>
                    </a:lnTo>
                    <a:lnTo>
                      <a:pt x="14" y="108"/>
                    </a:lnTo>
                    <a:lnTo>
                      <a:pt x="28" y="111"/>
                    </a:lnTo>
                    <a:lnTo>
                      <a:pt x="24" y="109"/>
                    </a:lnTo>
                    <a:lnTo>
                      <a:pt x="28" y="106"/>
                    </a:lnTo>
                    <a:lnTo>
                      <a:pt x="29" y="96"/>
                    </a:lnTo>
                    <a:lnTo>
                      <a:pt x="29" y="93"/>
                    </a:lnTo>
                    <a:lnTo>
                      <a:pt x="32" y="86"/>
                    </a:lnTo>
                    <a:lnTo>
                      <a:pt x="43" y="81"/>
                    </a:lnTo>
                    <a:lnTo>
                      <a:pt x="55" y="78"/>
                    </a:lnTo>
                    <a:lnTo>
                      <a:pt x="66" y="63"/>
                    </a:lnTo>
                    <a:lnTo>
                      <a:pt x="79" y="46"/>
                    </a:lnTo>
                    <a:lnTo>
                      <a:pt x="88" y="58"/>
                    </a:lnTo>
                    <a:lnTo>
                      <a:pt x="93" y="50"/>
                    </a:lnTo>
                    <a:lnTo>
                      <a:pt x="94" y="41"/>
                    </a:lnTo>
                    <a:lnTo>
                      <a:pt x="99" y="51"/>
                    </a:lnTo>
                    <a:lnTo>
                      <a:pt x="99" y="43"/>
                    </a:lnTo>
                    <a:lnTo>
                      <a:pt x="102" y="38"/>
                    </a:lnTo>
                    <a:lnTo>
                      <a:pt x="102" y="33"/>
                    </a:lnTo>
                    <a:lnTo>
                      <a:pt x="106" y="27"/>
                    </a:lnTo>
                    <a:lnTo>
                      <a:pt x="113" y="13"/>
                    </a:lnTo>
                    <a:lnTo>
                      <a:pt x="122" y="0"/>
                    </a:lnTo>
                    <a:lnTo>
                      <a:pt x="125" y="5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2" name="Freeform 112">
                <a:extLst>
                  <a:ext uri="{FF2B5EF4-FFF2-40B4-BE49-F238E27FC236}">
                    <a16:creationId xmlns:a16="http://schemas.microsoft.com/office/drawing/2014/main" id="{728304EA-4471-7BCC-9BB5-5AF76D44AA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79" y="3585"/>
                <a:ext cx="35" cy="46"/>
              </a:xfrm>
              <a:custGeom>
                <a:avLst/>
                <a:gdLst>
                  <a:gd name="T0" fmla="*/ 30 w 79"/>
                  <a:gd name="T1" fmla="*/ 46 h 106"/>
                  <a:gd name="T2" fmla="*/ 21 w 79"/>
                  <a:gd name="T3" fmla="*/ 39 h 106"/>
                  <a:gd name="T4" fmla="*/ 10 w 79"/>
                  <a:gd name="T5" fmla="*/ 33 h 106"/>
                  <a:gd name="T6" fmla="*/ 6 w 79"/>
                  <a:gd name="T7" fmla="*/ 23 h 106"/>
                  <a:gd name="T8" fmla="*/ 3 w 79"/>
                  <a:gd name="T9" fmla="*/ 12 h 106"/>
                  <a:gd name="T10" fmla="*/ 0 w 79"/>
                  <a:gd name="T11" fmla="*/ 1 h 106"/>
                  <a:gd name="T12" fmla="*/ 1 w 79"/>
                  <a:gd name="T13" fmla="*/ 0 h 106"/>
                  <a:gd name="T14" fmla="*/ 7 w 79"/>
                  <a:gd name="T15" fmla="*/ 3 h 106"/>
                  <a:gd name="T16" fmla="*/ 7 w 79"/>
                  <a:gd name="T17" fmla="*/ 7 h 106"/>
                  <a:gd name="T18" fmla="*/ 13 w 79"/>
                  <a:gd name="T19" fmla="*/ 7 h 106"/>
                  <a:gd name="T20" fmla="*/ 16 w 79"/>
                  <a:gd name="T21" fmla="*/ 3 h 106"/>
                  <a:gd name="T22" fmla="*/ 21 w 79"/>
                  <a:gd name="T23" fmla="*/ 9 h 106"/>
                  <a:gd name="T24" fmla="*/ 26 w 79"/>
                  <a:gd name="T25" fmla="*/ 14 h 106"/>
                  <a:gd name="T26" fmla="*/ 27 w 79"/>
                  <a:gd name="T27" fmla="*/ 22 h 106"/>
                  <a:gd name="T28" fmla="*/ 28 w 79"/>
                  <a:gd name="T29" fmla="*/ 31 h 106"/>
                  <a:gd name="T30" fmla="*/ 31 w 79"/>
                  <a:gd name="T31" fmla="*/ 37 h 106"/>
                  <a:gd name="T32" fmla="*/ 35 w 79"/>
                  <a:gd name="T33" fmla="*/ 45 h 106"/>
                  <a:gd name="T34" fmla="*/ 32 w 79"/>
                  <a:gd name="T35" fmla="*/ 44 h 106"/>
                  <a:gd name="T36" fmla="*/ 30 w 79"/>
                  <a:gd name="T37" fmla="*/ 46 h 10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9" h="106">
                    <a:moveTo>
                      <a:pt x="67" y="106"/>
                    </a:moveTo>
                    <a:lnTo>
                      <a:pt x="47" y="91"/>
                    </a:lnTo>
                    <a:lnTo>
                      <a:pt x="23" y="76"/>
                    </a:lnTo>
                    <a:lnTo>
                      <a:pt x="14" y="53"/>
                    </a:lnTo>
                    <a:lnTo>
                      <a:pt x="6" y="28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16" y="7"/>
                    </a:lnTo>
                    <a:lnTo>
                      <a:pt x="16" y="17"/>
                    </a:lnTo>
                    <a:lnTo>
                      <a:pt x="30" y="17"/>
                    </a:lnTo>
                    <a:lnTo>
                      <a:pt x="36" y="7"/>
                    </a:lnTo>
                    <a:lnTo>
                      <a:pt x="47" y="20"/>
                    </a:lnTo>
                    <a:lnTo>
                      <a:pt x="59" y="32"/>
                    </a:lnTo>
                    <a:lnTo>
                      <a:pt x="61" y="50"/>
                    </a:lnTo>
                    <a:lnTo>
                      <a:pt x="64" y="71"/>
                    </a:lnTo>
                    <a:lnTo>
                      <a:pt x="70" y="86"/>
                    </a:lnTo>
                    <a:lnTo>
                      <a:pt x="79" y="104"/>
                    </a:lnTo>
                    <a:lnTo>
                      <a:pt x="73" y="101"/>
                    </a:lnTo>
                    <a:lnTo>
                      <a:pt x="67" y="10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3" name="Freeform 113">
                <a:extLst>
                  <a:ext uri="{FF2B5EF4-FFF2-40B4-BE49-F238E27FC236}">
                    <a16:creationId xmlns:a16="http://schemas.microsoft.com/office/drawing/2014/main" id="{24B71B41-C718-5B26-2642-9C99407679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04" y="3667"/>
                <a:ext cx="77" cy="73"/>
              </a:xfrm>
              <a:custGeom>
                <a:avLst/>
                <a:gdLst>
                  <a:gd name="T0" fmla="*/ 77 w 175"/>
                  <a:gd name="T1" fmla="*/ 70 h 166"/>
                  <a:gd name="T2" fmla="*/ 73 w 175"/>
                  <a:gd name="T3" fmla="*/ 71 h 166"/>
                  <a:gd name="T4" fmla="*/ 74 w 175"/>
                  <a:gd name="T5" fmla="*/ 73 h 166"/>
                  <a:gd name="T6" fmla="*/ 70 w 175"/>
                  <a:gd name="T7" fmla="*/ 72 h 166"/>
                  <a:gd name="T8" fmla="*/ 62 w 175"/>
                  <a:gd name="T9" fmla="*/ 71 h 166"/>
                  <a:gd name="T10" fmla="*/ 55 w 175"/>
                  <a:gd name="T11" fmla="*/ 69 h 166"/>
                  <a:gd name="T12" fmla="*/ 51 w 175"/>
                  <a:gd name="T13" fmla="*/ 64 h 166"/>
                  <a:gd name="T14" fmla="*/ 46 w 175"/>
                  <a:gd name="T15" fmla="*/ 60 h 166"/>
                  <a:gd name="T16" fmla="*/ 42 w 175"/>
                  <a:gd name="T17" fmla="*/ 54 h 166"/>
                  <a:gd name="T18" fmla="*/ 38 w 175"/>
                  <a:gd name="T19" fmla="*/ 50 h 166"/>
                  <a:gd name="T20" fmla="*/ 28 w 175"/>
                  <a:gd name="T21" fmla="*/ 45 h 166"/>
                  <a:gd name="T22" fmla="*/ 28 w 175"/>
                  <a:gd name="T23" fmla="*/ 47 h 166"/>
                  <a:gd name="T24" fmla="*/ 23 w 175"/>
                  <a:gd name="T25" fmla="*/ 45 h 166"/>
                  <a:gd name="T26" fmla="*/ 24 w 175"/>
                  <a:gd name="T27" fmla="*/ 50 h 166"/>
                  <a:gd name="T28" fmla="*/ 21 w 175"/>
                  <a:gd name="T29" fmla="*/ 50 h 166"/>
                  <a:gd name="T30" fmla="*/ 21 w 175"/>
                  <a:gd name="T31" fmla="*/ 52 h 166"/>
                  <a:gd name="T32" fmla="*/ 10 w 175"/>
                  <a:gd name="T33" fmla="*/ 51 h 166"/>
                  <a:gd name="T34" fmla="*/ 20 w 175"/>
                  <a:gd name="T35" fmla="*/ 56 h 166"/>
                  <a:gd name="T36" fmla="*/ 15 w 175"/>
                  <a:gd name="T37" fmla="*/ 60 h 166"/>
                  <a:gd name="T38" fmla="*/ 7 w 175"/>
                  <a:gd name="T39" fmla="*/ 60 h 166"/>
                  <a:gd name="T40" fmla="*/ 0 w 175"/>
                  <a:gd name="T41" fmla="*/ 60 h 166"/>
                  <a:gd name="T42" fmla="*/ 1 w 175"/>
                  <a:gd name="T43" fmla="*/ 52 h 166"/>
                  <a:gd name="T44" fmla="*/ 1 w 175"/>
                  <a:gd name="T45" fmla="*/ 45 h 166"/>
                  <a:gd name="T46" fmla="*/ 2 w 175"/>
                  <a:gd name="T47" fmla="*/ 37 h 166"/>
                  <a:gd name="T48" fmla="*/ 3 w 175"/>
                  <a:gd name="T49" fmla="*/ 31 h 166"/>
                  <a:gd name="T50" fmla="*/ 4 w 175"/>
                  <a:gd name="T51" fmla="*/ 22 h 166"/>
                  <a:gd name="T52" fmla="*/ 4 w 175"/>
                  <a:gd name="T53" fmla="*/ 15 h 166"/>
                  <a:gd name="T54" fmla="*/ 4 w 175"/>
                  <a:gd name="T55" fmla="*/ 7 h 166"/>
                  <a:gd name="T56" fmla="*/ 4 w 175"/>
                  <a:gd name="T57" fmla="*/ 0 h 166"/>
                  <a:gd name="T58" fmla="*/ 12 w 175"/>
                  <a:gd name="T59" fmla="*/ 4 h 166"/>
                  <a:gd name="T60" fmla="*/ 19 w 175"/>
                  <a:gd name="T61" fmla="*/ 7 h 166"/>
                  <a:gd name="T62" fmla="*/ 27 w 175"/>
                  <a:gd name="T63" fmla="*/ 10 h 166"/>
                  <a:gd name="T64" fmla="*/ 34 w 175"/>
                  <a:gd name="T65" fmla="*/ 14 h 166"/>
                  <a:gd name="T66" fmla="*/ 42 w 175"/>
                  <a:gd name="T67" fmla="*/ 22 h 166"/>
                  <a:gd name="T68" fmla="*/ 42 w 175"/>
                  <a:gd name="T69" fmla="*/ 26 h 166"/>
                  <a:gd name="T70" fmla="*/ 48 w 175"/>
                  <a:gd name="T71" fmla="*/ 29 h 166"/>
                  <a:gd name="T72" fmla="*/ 55 w 175"/>
                  <a:gd name="T73" fmla="*/ 33 h 166"/>
                  <a:gd name="T74" fmla="*/ 56 w 175"/>
                  <a:gd name="T75" fmla="*/ 37 h 166"/>
                  <a:gd name="T76" fmla="*/ 49 w 175"/>
                  <a:gd name="T77" fmla="*/ 39 h 166"/>
                  <a:gd name="T78" fmla="*/ 52 w 175"/>
                  <a:gd name="T79" fmla="*/ 47 h 166"/>
                  <a:gd name="T80" fmla="*/ 57 w 175"/>
                  <a:gd name="T81" fmla="*/ 52 h 166"/>
                  <a:gd name="T82" fmla="*/ 61 w 175"/>
                  <a:gd name="T83" fmla="*/ 60 h 166"/>
                  <a:gd name="T84" fmla="*/ 66 w 175"/>
                  <a:gd name="T85" fmla="*/ 60 h 166"/>
                  <a:gd name="T86" fmla="*/ 66 w 175"/>
                  <a:gd name="T87" fmla="*/ 63 h 166"/>
                  <a:gd name="T88" fmla="*/ 70 w 175"/>
                  <a:gd name="T89" fmla="*/ 66 h 166"/>
                  <a:gd name="T90" fmla="*/ 70 w 175"/>
                  <a:gd name="T91" fmla="*/ 68 h 166"/>
                  <a:gd name="T92" fmla="*/ 77 w 175"/>
                  <a:gd name="T93" fmla="*/ 70 h 16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75" h="166">
                    <a:moveTo>
                      <a:pt x="175" y="159"/>
                    </a:moveTo>
                    <a:lnTo>
                      <a:pt x="167" y="162"/>
                    </a:lnTo>
                    <a:lnTo>
                      <a:pt x="169" y="166"/>
                    </a:lnTo>
                    <a:lnTo>
                      <a:pt x="158" y="164"/>
                    </a:lnTo>
                    <a:lnTo>
                      <a:pt x="141" y="161"/>
                    </a:lnTo>
                    <a:lnTo>
                      <a:pt x="124" y="156"/>
                    </a:lnTo>
                    <a:lnTo>
                      <a:pt x="115" y="146"/>
                    </a:lnTo>
                    <a:lnTo>
                      <a:pt x="105" y="136"/>
                    </a:lnTo>
                    <a:lnTo>
                      <a:pt x="96" y="123"/>
                    </a:lnTo>
                    <a:lnTo>
                      <a:pt x="87" y="113"/>
                    </a:lnTo>
                    <a:lnTo>
                      <a:pt x="64" y="103"/>
                    </a:lnTo>
                    <a:lnTo>
                      <a:pt x="64" y="108"/>
                    </a:lnTo>
                    <a:lnTo>
                      <a:pt x="53" y="103"/>
                    </a:lnTo>
                    <a:lnTo>
                      <a:pt x="54" y="113"/>
                    </a:lnTo>
                    <a:lnTo>
                      <a:pt x="48" y="113"/>
                    </a:lnTo>
                    <a:lnTo>
                      <a:pt x="48" y="118"/>
                    </a:lnTo>
                    <a:lnTo>
                      <a:pt x="23" y="116"/>
                    </a:lnTo>
                    <a:lnTo>
                      <a:pt x="45" y="128"/>
                    </a:lnTo>
                    <a:lnTo>
                      <a:pt x="34" y="136"/>
                    </a:lnTo>
                    <a:lnTo>
                      <a:pt x="17" y="136"/>
                    </a:lnTo>
                    <a:lnTo>
                      <a:pt x="0" y="136"/>
                    </a:lnTo>
                    <a:lnTo>
                      <a:pt x="2" y="118"/>
                    </a:lnTo>
                    <a:lnTo>
                      <a:pt x="3" y="103"/>
                    </a:lnTo>
                    <a:lnTo>
                      <a:pt x="5" y="85"/>
                    </a:lnTo>
                    <a:lnTo>
                      <a:pt x="6" y="70"/>
                    </a:lnTo>
                    <a:lnTo>
                      <a:pt x="8" y="51"/>
                    </a:lnTo>
                    <a:lnTo>
                      <a:pt x="8" y="33"/>
                    </a:lnTo>
                    <a:lnTo>
                      <a:pt x="8" y="17"/>
                    </a:lnTo>
                    <a:lnTo>
                      <a:pt x="8" y="0"/>
                    </a:lnTo>
                    <a:lnTo>
                      <a:pt x="27" y="8"/>
                    </a:lnTo>
                    <a:lnTo>
                      <a:pt x="44" y="15"/>
                    </a:lnTo>
                    <a:lnTo>
                      <a:pt x="61" y="23"/>
                    </a:lnTo>
                    <a:lnTo>
                      <a:pt x="78" y="31"/>
                    </a:lnTo>
                    <a:lnTo>
                      <a:pt x="95" y="51"/>
                    </a:lnTo>
                    <a:lnTo>
                      <a:pt x="95" y="60"/>
                    </a:lnTo>
                    <a:lnTo>
                      <a:pt x="110" y="66"/>
                    </a:lnTo>
                    <a:lnTo>
                      <a:pt x="124" y="75"/>
                    </a:lnTo>
                    <a:lnTo>
                      <a:pt x="127" y="85"/>
                    </a:lnTo>
                    <a:lnTo>
                      <a:pt x="112" y="88"/>
                    </a:lnTo>
                    <a:lnTo>
                      <a:pt x="119" y="106"/>
                    </a:lnTo>
                    <a:lnTo>
                      <a:pt x="130" y="118"/>
                    </a:lnTo>
                    <a:lnTo>
                      <a:pt x="138" y="136"/>
                    </a:lnTo>
                    <a:lnTo>
                      <a:pt x="150" y="136"/>
                    </a:lnTo>
                    <a:lnTo>
                      <a:pt x="150" y="144"/>
                    </a:lnTo>
                    <a:lnTo>
                      <a:pt x="160" y="149"/>
                    </a:lnTo>
                    <a:lnTo>
                      <a:pt x="158" y="154"/>
                    </a:lnTo>
                    <a:lnTo>
                      <a:pt x="175" y="15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4" name="Freeform 114">
                <a:extLst>
                  <a:ext uri="{FF2B5EF4-FFF2-40B4-BE49-F238E27FC236}">
                    <a16:creationId xmlns:a16="http://schemas.microsoft.com/office/drawing/2014/main" id="{66BE01EE-A294-58C5-F12F-347998CCBA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4" y="3684"/>
                <a:ext cx="34" cy="18"/>
              </a:xfrm>
              <a:custGeom>
                <a:avLst/>
                <a:gdLst>
                  <a:gd name="T0" fmla="*/ 34 w 76"/>
                  <a:gd name="T1" fmla="*/ 1 h 40"/>
                  <a:gd name="T2" fmla="*/ 32 w 76"/>
                  <a:gd name="T3" fmla="*/ 7 h 40"/>
                  <a:gd name="T4" fmla="*/ 30 w 76"/>
                  <a:gd name="T5" fmla="*/ 8 h 40"/>
                  <a:gd name="T6" fmla="*/ 30 w 76"/>
                  <a:gd name="T7" fmla="*/ 11 h 40"/>
                  <a:gd name="T8" fmla="*/ 25 w 76"/>
                  <a:gd name="T9" fmla="*/ 14 h 40"/>
                  <a:gd name="T10" fmla="*/ 14 w 76"/>
                  <a:gd name="T11" fmla="*/ 18 h 40"/>
                  <a:gd name="T12" fmla="*/ 7 w 76"/>
                  <a:gd name="T13" fmla="*/ 17 h 40"/>
                  <a:gd name="T14" fmla="*/ 2 w 76"/>
                  <a:gd name="T15" fmla="*/ 14 h 40"/>
                  <a:gd name="T16" fmla="*/ 0 w 76"/>
                  <a:gd name="T17" fmla="*/ 11 h 40"/>
                  <a:gd name="T18" fmla="*/ 12 w 76"/>
                  <a:gd name="T19" fmla="*/ 11 h 40"/>
                  <a:gd name="T20" fmla="*/ 14 w 76"/>
                  <a:gd name="T21" fmla="*/ 7 h 40"/>
                  <a:gd name="T22" fmla="*/ 14 w 76"/>
                  <a:gd name="T23" fmla="*/ 9 h 40"/>
                  <a:gd name="T24" fmla="*/ 19 w 76"/>
                  <a:gd name="T25" fmla="*/ 11 h 40"/>
                  <a:gd name="T26" fmla="*/ 26 w 76"/>
                  <a:gd name="T27" fmla="*/ 5 h 40"/>
                  <a:gd name="T28" fmla="*/ 26 w 76"/>
                  <a:gd name="T29" fmla="*/ 0 h 40"/>
                  <a:gd name="T30" fmla="*/ 30 w 76"/>
                  <a:gd name="T31" fmla="*/ 0 h 40"/>
                  <a:gd name="T32" fmla="*/ 34 w 76"/>
                  <a:gd name="T33" fmla="*/ 1 h 4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6" h="40">
                    <a:moveTo>
                      <a:pt x="76" y="2"/>
                    </a:moveTo>
                    <a:lnTo>
                      <a:pt x="71" y="15"/>
                    </a:lnTo>
                    <a:lnTo>
                      <a:pt x="66" y="17"/>
                    </a:lnTo>
                    <a:lnTo>
                      <a:pt x="68" y="25"/>
                    </a:lnTo>
                    <a:lnTo>
                      <a:pt x="56" y="30"/>
                    </a:lnTo>
                    <a:lnTo>
                      <a:pt x="31" y="40"/>
                    </a:lnTo>
                    <a:lnTo>
                      <a:pt x="15" y="37"/>
                    </a:lnTo>
                    <a:lnTo>
                      <a:pt x="5" y="30"/>
                    </a:lnTo>
                    <a:lnTo>
                      <a:pt x="0" y="25"/>
                    </a:lnTo>
                    <a:lnTo>
                      <a:pt x="26" y="25"/>
                    </a:lnTo>
                    <a:lnTo>
                      <a:pt x="32" y="15"/>
                    </a:lnTo>
                    <a:lnTo>
                      <a:pt x="31" y="20"/>
                    </a:lnTo>
                    <a:lnTo>
                      <a:pt x="42" y="25"/>
                    </a:lnTo>
                    <a:lnTo>
                      <a:pt x="59" y="12"/>
                    </a:lnTo>
                    <a:lnTo>
                      <a:pt x="59" y="0"/>
                    </a:lnTo>
                    <a:lnTo>
                      <a:pt x="68" y="0"/>
                    </a:lnTo>
                    <a:lnTo>
                      <a:pt x="76" y="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5" name="Freeform 115">
                <a:extLst>
                  <a:ext uri="{FF2B5EF4-FFF2-40B4-BE49-F238E27FC236}">
                    <a16:creationId xmlns:a16="http://schemas.microsoft.com/office/drawing/2014/main" id="{A43F5D07-E57E-C9B6-89C4-347BB4E86C7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15" y="3693"/>
                <a:ext cx="10" cy="13"/>
              </a:xfrm>
              <a:custGeom>
                <a:avLst/>
                <a:gdLst>
                  <a:gd name="T0" fmla="*/ 10 w 20"/>
                  <a:gd name="T1" fmla="*/ 11 h 29"/>
                  <a:gd name="T2" fmla="*/ 8 w 20"/>
                  <a:gd name="T3" fmla="*/ 13 h 29"/>
                  <a:gd name="T4" fmla="*/ 2 w 20"/>
                  <a:gd name="T5" fmla="*/ 7 h 29"/>
                  <a:gd name="T6" fmla="*/ 0 w 20"/>
                  <a:gd name="T7" fmla="*/ 0 h 29"/>
                  <a:gd name="T8" fmla="*/ 5 w 20"/>
                  <a:gd name="T9" fmla="*/ 6 h 29"/>
                  <a:gd name="T10" fmla="*/ 10 w 20"/>
                  <a:gd name="T11" fmla="*/ 11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29">
                    <a:moveTo>
                      <a:pt x="20" y="25"/>
                    </a:moveTo>
                    <a:lnTo>
                      <a:pt x="15" y="29"/>
                    </a:lnTo>
                    <a:lnTo>
                      <a:pt x="3" y="16"/>
                    </a:lnTo>
                    <a:lnTo>
                      <a:pt x="0" y="0"/>
                    </a:lnTo>
                    <a:lnTo>
                      <a:pt x="9" y="13"/>
                    </a:lnTo>
                    <a:lnTo>
                      <a:pt x="20" y="2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7" name="Freeform 116">
                <a:extLst>
                  <a:ext uri="{FF2B5EF4-FFF2-40B4-BE49-F238E27FC236}">
                    <a16:creationId xmlns:a16="http://schemas.microsoft.com/office/drawing/2014/main" id="{E444D1B5-C8AA-154B-05AD-97B34282EF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86" y="3668"/>
                <a:ext cx="18" cy="20"/>
              </a:xfrm>
              <a:custGeom>
                <a:avLst/>
                <a:gdLst>
                  <a:gd name="T0" fmla="*/ 18 w 39"/>
                  <a:gd name="T1" fmla="*/ 16 h 44"/>
                  <a:gd name="T2" fmla="*/ 15 w 39"/>
                  <a:gd name="T3" fmla="*/ 20 h 44"/>
                  <a:gd name="T4" fmla="*/ 10 w 39"/>
                  <a:gd name="T5" fmla="*/ 8 h 44"/>
                  <a:gd name="T6" fmla="*/ 5 w 39"/>
                  <a:gd name="T7" fmla="*/ 5 h 44"/>
                  <a:gd name="T8" fmla="*/ 0 w 39"/>
                  <a:gd name="T9" fmla="*/ 0 h 44"/>
                  <a:gd name="T10" fmla="*/ 6 w 39"/>
                  <a:gd name="T11" fmla="*/ 5 h 44"/>
                  <a:gd name="T12" fmla="*/ 13 w 39"/>
                  <a:gd name="T13" fmla="*/ 10 h 44"/>
                  <a:gd name="T14" fmla="*/ 18 w 39"/>
                  <a:gd name="T15" fmla="*/ 16 h 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9" h="44">
                    <a:moveTo>
                      <a:pt x="39" y="36"/>
                    </a:moveTo>
                    <a:lnTo>
                      <a:pt x="33" y="44"/>
                    </a:lnTo>
                    <a:lnTo>
                      <a:pt x="22" y="18"/>
                    </a:lnTo>
                    <a:lnTo>
                      <a:pt x="11" y="10"/>
                    </a:lnTo>
                    <a:lnTo>
                      <a:pt x="0" y="0"/>
                    </a:lnTo>
                    <a:lnTo>
                      <a:pt x="14" y="11"/>
                    </a:lnTo>
                    <a:lnTo>
                      <a:pt x="28" y="23"/>
                    </a:lnTo>
                    <a:lnTo>
                      <a:pt x="39" y="3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110" name="Freeform 117">
                <a:extLst>
                  <a:ext uri="{FF2B5EF4-FFF2-40B4-BE49-F238E27FC236}">
                    <a16:creationId xmlns:a16="http://schemas.microsoft.com/office/drawing/2014/main" id="{4074D1B3-095C-DAE1-B8ED-B8A96E6FE0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82" y="3733"/>
                <a:ext cx="3" cy="2"/>
              </a:xfrm>
              <a:custGeom>
                <a:avLst/>
                <a:gdLst>
                  <a:gd name="T0" fmla="*/ 3 w 7"/>
                  <a:gd name="T1" fmla="*/ 1 h 7"/>
                  <a:gd name="T2" fmla="*/ 0 w 7"/>
                  <a:gd name="T3" fmla="*/ 2 h 7"/>
                  <a:gd name="T4" fmla="*/ 0 w 7"/>
                  <a:gd name="T5" fmla="*/ 0 h 7"/>
                  <a:gd name="T6" fmla="*/ 3 w 7"/>
                  <a:gd name="T7" fmla="*/ 1 h 7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7">
                    <a:moveTo>
                      <a:pt x="7" y="5"/>
                    </a:moveTo>
                    <a:lnTo>
                      <a:pt x="1" y="7"/>
                    </a:lnTo>
                    <a:lnTo>
                      <a:pt x="0" y="0"/>
                    </a:lnTo>
                    <a:lnTo>
                      <a:pt x="7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26" name="Freeform 118">
                <a:extLst>
                  <a:ext uri="{FF2B5EF4-FFF2-40B4-BE49-F238E27FC236}">
                    <a16:creationId xmlns:a16="http://schemas.microsoft.com/office/drawing/2014/main" id="{44ACE70A-870A-2C89-466D-8F0AE29D20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65" y="3405"/>
                <a:ext cx="39" cy="51"/>
              </a:xfrm>
              <a:custGeom>
                <a:avLst/>
                <a:gdLst>
                  <a:gd name="T0" fmla="*/ 14 w 89"/>
                  <a:gd name="T1" fmla="*/ 42 h 118"/>
                  <a:gd name="T2" fmla="*/ 14 w 89"/>
                  <a:gd name="T3" fmla="*/ 44 h 118"/>
                  <a:gd name="T4" fmla="*/ 12 w 89"/>
                  <a:gd name="T5" fmla="*/ 41 h 118"/>
                  <a:gd name="T6" fmla="*/ 12 w 89"/>
                  <a:gd name="T7" fmla="*/ 41 h 118"/>
                  <a:gd name="T8" fmla="*/ 10 w 89"/>
                  <a:gd name="T9" fmla="*/ 34 h 118"/>
                  <a:gd name="T10" fmla="*/ 7 w 89"/>
                  <a:gd name="T11" fmla="*/ 27 h 118"/>
                  <a:gd name="T12" fmla="*/ 6 w 89"/>
                  <a:gd name="T13" fmla="*/ 22 h 118"/>
                  <a:gd name="T14" fmla="*/ 1 w 89"/>
                  <a:gd name="T15" fmla="*/ 17 h 118"/>
                  <a:gd name="T16" fmla="*/ 2 w 89"/>
                  <a:gd name="T17" fmla="*/ 14 h 118"/>
                  <a:gd name="T18" fmla="*/ 6 w 89"/>
                  <a:gd name="T19" fmla="*/ 12 h 118"/>
                  <a:gd name="T20" fmla="*/ 0 w 89"/>
                  <a:gd name="T21" fmla="*/ 6 h 118"/>
                  <a:gd name="T22" fmla="*/ 0 w 89"/>
                  <a:gd name="T23" fmla="*/ 0 h 118"/>
                  <a:gd name="T24" fmla="*/ 5 w 89"/>
                  <a:gd name="T25" fmla="*/ 2 h 118"/>
                  <a:gd name="T26" fmla="*/ 8 w 89"/>
                  <a:gd name="T27" fmla="*/ 5 h 118"/>
                  <a:gd name="T28" fmla="*/ 10 w 89"/>
                  <a:gd name="T29" fmla="*/ 3 h 118"/>
                  <a:gd name="T30" fmla="*/ 12 w 89"/>
                  <a:gd name="T31" fmla="*/ 11 h 118"/>
                  <a:gd name="T32" fmla="*/ 21 w 89"/>
                  <a:gd name="T33" fmla="*/ 11 h 118"/>
                  <a:gd name="T34" fmla="*/ 29 w 89"/>
                  <a:gd name="T35" fmla="*/ 12 h 118"/>
                  <a:gd name="T36" fmla="*/ 33 w 89"/>
                  <a:gd name="T37" fmla="*/ 15 h 118"/>
                  <a:gd name="T38" fmla="*/ 32 w 89"/>
                  <a:gd name="T39" fmla="*/ 19 h 118"/>
                  <a:gd name="T40" fmla="*/ 27 w 89"/>
                  <a:gd name="T41" fmla="*/ 23 h 118"/>
                  <a:gd name="T42" fmla="*/ 28 w 89"/>
                  <a:gd name="T43" fmla="*/ 30 h 118"/>
                  <a:gd name="T44" fmla="*/ 29 w 89"/>
                  <a:gd name="T45" fmla="*/ 32 h 118"/>
                  <a:gd name="T46" fmla="*/ 33 w 89"/>
                  <a:gd name="T47" fmla="*/ 25 h 118"/>
                  <a:gd name="T48" fmla="*/ 36 w 89"/>
                  <a:gd name="T49" fmla="*/ 33 h 118"/>
                  <a:gd name="T50" fmla="*/ 39 w 89"/>
                  <a:gd name="T51" fmla="*/ 41 h 118"/>
                  <a:gd name="T52" fmla="*/ 39 w 89"/>
                  <a:gd name="T53" fmla="*/ 47 h 118"/>
                  <a:gd name="T54" fmla="*/ 37 w 89"/>
                  <a:gd name="T55" fmla="*/ 49 h 118"/>
                  <a:gd name="T56" fmla="*/ 38 w 89"/>
                  <a:gd name="T57" fmla="*/ 51 h 118"/>
                  <a:gd name="T58" fmla="*/ 34 w 89"/>
                  <a:gd name="T59" fmla="*/ 42 h 118"/>
                  <a:gd name="T60" fmla="*/ 28 w 89"/>
                  <a:gd name="T61" fmla="*/ 34 h 118"/>
                  <a:gd name="T62" fmla="*/ 24 w 89"/>
                  <a:gd name="T63" fmla="*/ 33 h 118"/>
                  <a:gd name="T64" fmla="*/ 21 w 89"/>
                  <a:gd name="T65" fmla="*/ 27 h 118"/>
                  <a:gd name="T66" fmla="*/ 14 w 89"/>
                  <a:gd name="T67" fmla="*/ 23 h 118"/>
                  <a:gd name="T68" fmla="*/ 11 w 89"/>
                  <a:gd name="T69" fmla="*/ 24 h 118"/>
                  <a:gd name="T70" fmla="*/ 20 w 89"/>
                  <a:gd name="T71" fmla="*/ 29 h 118"/>
                  <a:gd name="T72" fmla="*/ 22 w 89"/>
                  <a:gd name="T73" fmla="*/ 34 h 118"/>
                  <a:gd name="T74" fmla="*/ 23 w 89"/>
                  <a:gd name="T75" fmla="*/ 36 h 118"/>
                  <a:gd name="T76" fmla="*/ 21 w 89"/>
                  <a:gd name="T77" fmla="*/ 43 h 118"/>
                  <a:gd name="T78" fmla="*/ 19 w 89"/>
                  <a:gd name="T79" fmla="*/ 41 h 118"/>
                  <a:gd name="T80" fmla="*/ 18 w 89"/>
                  <a:gd name="T81" fmla="*/ 41 h 118"/>
                  <a:gd name="T82" fmla="*/ 16 w 89"/>
                  <a:gd name="T83" fmla="*/ 42 h 118"/>
                  <a:gd name="T84" fmla="*/ 14 w 89"/>
                  <a:gd name="T85" fmla="*/ 42 h 11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89" h="118">
                    <a:moveTo>
                      <a:pt x="31" y="98"/>
                    </a:moveTo>
                    <a:lnTo>
                      <a:pt x="31" y="101"/>
                    </a:lnTo>
                    <a:lnTo>
                      <a:pt x="27" y="94"/>
                    </a:lnTo>
                    <a:lnTo>
                      <a:pt x="27" y="96"/>
                    </a:lnTo>
                    <a:lnTo>
                      <a:pt x="22" y="79"/>
                    </a:lnTo>
                    <a:lnTo>
                      <a:pt x="17" y="63"/>
                    </a:lnTo>
                    <a:lnTo>
                      <a:pt x="14" y="51"/>
                    </a:lnTo>
                    <a:lnTo>
                      <a:pt x="2" y="40"/>
                    </a:lnTo>
                    <a:lnTo>
                      <a:pt x="5" y="33"/>
                    </a:lnTo>
                    <a:lnTo>
                      <a:pt x="14" y="28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1" y="5"/>
                    </a:lnTo>
                    <a:lnTo>
                      <a:pt x="19" y="12"/>
                    </a:lnTo>
                    <a:lnTo>
                      <a:pt x="22" y="7"/>
                    </a:lnTo>
                    <a:lnTo>
                      <a:pt x="28" y="25"/>
                    </a:lnTo>
                    <a:lnTo>
                      <a:pt x="48" y="26"/>
                    </a:lnTo>
                    <a:lnTo>
                      <a:pt x="67" y="28"/>
                    </a:lnTo>
                    <a:lnTo>
                      <a:pt x="75" y="35"/>
                    </a:lnTo>
                    <a:lnTo>
                      <a:pt x="73" y="45"/>
                    </a:lnTo>
                    <a:lnTo>
                      <a:pt x="61" y="53"/>
                    </a:lnTo>
                    <a:lnTo>
                      <a:pt x="64" y="70"/>
                    </a:lnTo>
                    <a:lnTo>
                      <a:pt x="67" y="75"/>
                    </a:lnTo>
                    <a:lnTo>
                      <a:pt x="75" y="58"/>
                    </a:lnTo>
                    <a:lnTo>
                      <a:pt x="82" y="76"/>
                    </a:lnTo>
                    <a:lnTo>
                      <a:pt x="89" y="94"/>
                    </a:lnTo>
                    <a:lnTo>
                      <a:pt x="89" y="108"/>
                    </a:lnTo>
                    <a:lnTo>
                      <a:pt x="84" y="113"/>
                    </a:lnTo>
                    <a:lnTo>
                      <a:pt x="87" y="118"/>
                    </a:lnTo>
                    <a:lnTo>
                      <a:pt x="78" y="98"/>
                    </a:lnTo>
                    <a:lnTo>
                      <a:pt x="65" y="78"/>
                    </a:lnTo>
                    <a:lnTo>
                      <a:pt x="55" y="76"/>
                    </a:lnTo>
                    <a:lnTo>
                      <a:pt x="48" y="63"/>
                    </a:lnTo>
                    <a:lnTo>
                      <a:pt x="31" y="53"/>
                    </a:lnTo>
                    <a:lnTo>
                      <a:pt x="25" y="55"/>
                    </a:lnTo>
                    <a:lnTo>
                      <a:pt x="45" y="66"/>
                    </a:lnTo>
                    <a:lnTo>
                      <a:pt x="50" y="78"/>
                    </a:lnTo>
                    <a:lnTo>
                      <a:pt x="52" y="84"/>
                    </a:lnTo>
                    <a:lnTo>
                      <a:pt x="47" y="99"/>
                    </a:lnTo>
                    <a:lnTo>
                      <a:pt x="44" y="94"/>
                    </a:lnTo>
                    <a:lnTo>
                      <a:pt x="41" y="94"/>
                    </a:lnTo>
                    <a:lnTo>
                      <a:pt x="36" y="98"/>
                    </a:lnTo>
                    <a:lnTo>
                      <a:pt x="31" y="9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89" name="Freeform 119">
                <a:extLst>
                  <a:ext uri="{FF2B5EF4-FFF2-40B4-BE49-F238E27FC236}">
                    <a16:creationId xmlns:a16="http://schemas.microsoft.com/office/drawing/2014/main" id="{0F3B2C99-9A76-AA5A-540D-42DC6B4CBC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67" y="3390"/>
                <a:ext cx="25" cy="13"/>
              </a:xfrm>
              <a:custGeom>
                <a:avLst/>
                <a:gdLst>
                  <a:gd name="T0" fmla="*/ 16 w 59"/>
                  <a:gd name="T1" fmla="*/ 1 h 30"/>
                  <a:gd name="T2" fmla="*/ 5 w 59"/>
                  <a:gd name="T3" fmla="*/ 0 h 30"/>
                  <a:gd name="T4" fmla="*/ 0 w 59"/>
                  <a:gd name="T5" fmla="*/ 9 h 30"/>
                  <a:gd name="T6" fmla="*/ 1 w 59"/>
                  <a:gd name="T7" fmla="*/ 12 h 30"/>
                  <a:gd name="T8" fmla="*/ 10 w 59"/>
                  <a:gd name="T9" fmla="*/ 13 h 30"/>
                  <a:gd name="T10" fmla="*/ 17 w 59"/>
                  <a:gd name="T11" fmla="*/ 12 h 30"/>
                  <a:gd name="T12" fmla="*/ 25 w 59"/>
                  <a:gd name="T13" fmla="*/ 12 h 30"/>
                  <a:gd name="T14" fmla="*/ 22 w 59"/>
                  <a:gd name="T15" fmla="*/ 7 h 30"/>
                  <a:gd name="T16" fmla="*/ 20 w 59"/>
                  <a:gd name="T17" fmla="*/ 4 h 30"/>
                  <a:gd name="T18" fmla="*/ 16 w 59"/>
                  <a:gd name="T19" fmla="*/ 1 h 3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59" h="30">
                    <a:moveTo>
                      <a:pt x="37" y="3"/>
                    </a:moveTo>
                    <a:lnTo>
                      <a:pt x="12" y="0"/>
                    </a:lnTo>
                    <a:lnTo>
                      <a:pt x="0" y="20"/>
                    </a:lnTo>
                    <a:lnTo>
                      <a:pt x="3" y="27"/>
                    </a:lnTo>
                    <a:lnTo>
                      <a:pt x="23" y="30"/>
                    </a:lnTo>
                    <a:lnTo>
                      <a:pt x="40" y="28"/>
                    </a:lnTo>
                    <a:lnTo>
                      <a:pt x="59" y="27"/>
                    </a:lnTo>
                    <a:lnTo>
                      <a:pt x="51" y="17"/>
                    </a:lnTo>
                    <a:lnTo>
                      <a:pt x="47" y="10"/>
                    </a:lnTo>
                    <a:lnTo>
                      <a:pt x="37" y="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90" name="Freeform 120">
                <a:extLst>
                  <a:ext uri="{FF2B5EF4-FFF2-40B4-BE49-F238E27FC236}">
                    <a16:creationId xmlns:a16="http://schemas.microsoft.com/office/drawing/2014/main" id="{FE0B5057-BB12-3CC3-36A2-245F5CC78F3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91" y="3512"/>
                <a:ext cx="41" cy="39"/>
              </a:xfrm>
              <a:custGeom>
                <a:avLst/>
                <a:gdLst>
                  <a:gd name="T0" fmla="*/ 29 w 93"/>
                  <a:gd name="T1" fmla="*/ 29 h 89"/>
                  <a:gd name="T2" fmla="*/ 32 w 93"/>
                  <a:gd name="T3" fmla="*/ 35 h 89"/>
                  <a:gd name="T4" fmla="*/ 26 w 93"/>
                  <a:gd name="T5" fmla="*/ 34 h 89"/>
                  <a:gd name="T6" fmla="*/ 24 w 93"/>
                  <a:gd name="T7" fmla="*/ 35 h 89"/>
                  <a:gd name="T8" fmla="*/ 19 w 93"/>
                  <a:gd name="T9" fmla="*/ 39 h 89"/>
                  <a:gd name="T10" fmla="*/ 14 w 93"/>
                  <a:gd name="T11" fmla="*/ 38 h 89"/>
                  <a:gd name="T12" fmla="*/ 12 w 93"/>
                  <a:gd name="T13" fmla="*/ 36 h 89"/>
                  <a:gd name="T14" fmla="*/ 11 w 93"/>
                  <a:gd name="T15" fmla="*/ 32 h 89"/>
                  <a:gd name="T16" fmla="*/ 8 w 93"/>
                  <a:gd name="T17" fmla="*/ 34 h 89"/>
                  <a:gd name="T18" fmla="*/ 7 w 93"/>
                  <a:gd name="T19" fmla="*/ 28 h 89"/>
                  <a:gd name="T20" fmla="*/ 6 w 93"/>
                  <a:gd name="T21" fmla="*/ 28 h 89"/>
                  <a:gd name="T22" fmla="*/ 3 w 93"/>
                  <a:gd name="T23" fmla="*/ 20 h 89"/>
                  <a:gd name="T24" fmla="*/ 0 w 93"/>
                  <a:gd name="T25" fmla="*/ 13 h 89"/>
                  <a:gd name="T26" fmla="*/ 5 w 93"/>
                  <a:gd name="T27" fmla="*/ 4 h 89"/>
                  <a:gd name="T28" fmla="*/ 13 w 93"/>
                  <a:gd name="T29" fmla="*/ 4 h 89"/>
                  <a:gd name="T30" fmla="*/ 22 w 93"/>
                  <a:gd name="T31" fmla="*/ 4 h 89"/>
                  <a:gd name="T32" fmla="*/ 29 w 93"/>
                  <a:gd name="T33" fmla="*/ 7 h 89"/>
                  <a:gd name="T34" fmla="*/ 29 w 93"/>
                  <a:gd name="T35" fmla="*/ 4 h 89"/>
                  <a:gd name="T36" fmla="*/ 31 w 93"/>
                  <a:gd name="T37" fmla="*/ 2 h 89"/>
                  <a:gd name="T38" fmla="*/ 34 w 93"/>
                  <a:gd name="T39" fmla="*/ 4 h 89"/>
                  <a:gd name="T40" fmla="*/ 40 w 93"/>
                  <a:gd name="T41" fmla="*/ 0 h 89"/>
                  <a:gd name="T42" fmla="*/ 40 w 93"/>
                  <a:gd name="T43" fmla="*/ 8 h 89"/>
                  <a:gd name="T44" fmla="*/ 40 w 93"/>
                  <a:gd name="T45" fmla="*/ 15 h 89"/>
                  <a:gd name="T46" fmla="*/ 41 w 93"/>
                  <a:gd name="T47" fmla="*/ 22 h 89"/>
                  <a:gd name="T48" fmla="*/ 34 w 93"/>
                  <a:gd name="T49" fmla="*/ 26 h 89"/>
                  <a:gd name="T50" fmla="*/ 29 w 93"/>
                  <a:gd name="T51" fmla="*/ 29 h 8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93" h="89">
                    <a:moveTo>
                      <a:pt x="66" y="66"/>
                    </a:moveTo>
                    <a:lnTo>
                      <a:pt x="72" y="81"/>
                    </a:lnTo>
                    <a:lnTo>
                      <a:pt x="58" y="77"/>
                    </a:lnTo>
                    <a:lnTo>
                      <a:pt x="54" y="81"/>
                    </a:lnTo>
                    <a:lnTo>
                      <a:pt x="43" y="89"/>
                    </a:lnTo>
                    <a:lnTo>
                      <a:pt x="32" y="87"/>
                    </a:lnTo>
                    <a:lnTo>
                      <a:pt x="28" y="82"/>
                    </a:lnTo>
                    <a:lnTo>
                      <a:pt x="24" y="74"/>
                    </a:lnTo>
                    <a:lnTo>
                      <a:pt x="18" y="77"/>
                    </a:lnTo>
                    <a:lnTo>
                      <a:pt x="15" y="64"/>
                    </a:lnTo>
                    <a:lnTo>
                      <a:pt x="14" y="63"/>
                    </a:lnTo>
                    <a:lnTo>
                      <a:pt x="6" y="46"/>
                    </a:lnTo>
                    <a:lnTo>
                      <a:pt x="0" y="29"/>
                    </a:lnTo>
                    <a:lnTo>
                      <a:pt x="12" y="8"/>
                    </a:lnTo>
                    <a:lnTo>
                      <a:pt x="29" y="8"/>
                    </a:lnTo>
                    <a:lnTo>
                      <a:pt x="49" y="8"/>
                    </a:lnTo>
                    <a:lnTo>
                      <a:pt x="65" y="16"/>
                    </a:lnTo>
                    <a:lnTo>
                      <a:pt x="65" y="10"/>
                    </a:lnTo>
                    <a:lnTo>
                      <a:pt x="71" y="5"/>
                    </a:lnTo>
                    <a:lnTo>
                      <a:pt x="77" y="8"/>
                    </a:lnTo>
                    <a:lnTo>
                      <a:pt x="91" y="0"/>
                    </a:lnTo>
                    <a:lnTo>
                      <a:pt x="91" y="18"/>
                    </a:lnTo>
                    <a:lnTo>
                      <a:pt x="91" y="34"/>
                    </a:lnTo>
                    <a:lnTo>
                      <a:pt x="93" y="51"/>
                    </a:lnTo>
                    <a:lnTo>
                      <a:pt x="77" y="59"/>
                    </a:lnTo>
                    <a:lnTo>
                      <a:pt x="66" y="6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91" name="Freeform 121">
                <a:extLst>
                  <a:ext uri="{FF2B5EF4-FFF2-40B4-BE49-F238E27FC236}">
                    <a16:creationId xmlns:a16="http://schemas.microsoft.com/office/drawing/2014/main" id="{0FB3D87E-94AA-BA0C-1400-79D23591E2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71" y="3443"/>
                <a:ext cx="1" cy="1"/>
              </a:xfrm>
              <a:custGeom>
                <a:avLst/>
                <a:gdLst>
                  <a:gd name="T0" fmla="*/ 1 w 2"/>
                  <a:gd name="T1" fmla="*/ 0 h 1"/>
                  <a:gd name="T2" fmla="*/ 0 w 2"/>
                  <a:gd name="T3" fmla="*/ 1 h 1"/>
                  <a:gd name="T4" fmla="*/ 0 w 2"/>
                  <a:gd name="T5" fmla="*/ 0 h 1"/>
                  <a:gd name="T6" fmla="*/ 1 w 2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92" name="Freeform 122">
                <a:extLst>
                  <a:ext uri="{FF2B5EF4-FFF2-40B4-BE49-F238E27FC236}">
                    <a16:creationId xmlns:a16="http://schemas.microsoft.com/office/drawing/2014/main" id="{8D05E5E0-58A5-3EA5-8F67-03757F307B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65" y="3443"/>
                <a:ext cx="66" cy="76"/>
              </a:xfrm>
              <a:custGeom>
                <a:avLst/>
                <a:gdLst>
                  <a:gd name="T0" fmla="*/ 37 w 150"/>
                  <a:gd name="T1" fmla="*/ 20 h 174"/>
                  <a:gd name="T2" fmla="*/ 35 w 150"/>
                  <a:gd name="T3" fmla="*/ 17 h 174"/>
                  <a:gd name="T4" fmla="*/ 30 w 150"/>
                  <a:gd name="T5" fmla="*/ 12 h 174"/>
                  <a:gd name="T6" fmla="*/ 26 w 150"/>
                  <a:gd name="T7" fmla="*/ 14 h 174"/>
                  <a:gd name="T8" fmla="*/ 20 w 150"/>
                  <a:gd name="T9" fmla="*/ 10 h 174"/>
                  <a:gd name="T10" fmla="*/ 20 w 150"/>
                  <a:gd name="T11" fmla="*/ 6 h 174"/>
                  <a:gd name="T12" fmla="*/ 12 w 150"/>
                  <a:gd name="T13" fmla="*/ 0 h 174"/>
                  <a:gd name="T14" fmla="*/ 10 w 150"/>
                  <a:gd name="T15" fmla="*/ 0 h 174"/>
                  <a:gd name="T16" fmla="*/ 11 w 150"/>
                  <a:gd name="T17" fmla="*/ 11 h 174"/>
                  <a:gd name="T18" fmla="*/ 8 w 150"/>
                  <a:gd name="T19" fmla="*/ 10 h 174"/>
                  <a:gd name="T20" fmla="*/ 7 w 150"/>
                  <a:gd name="T21" fmla="*/ 7 h 174"/>
                  <a:gd name="T22" fmla="*/ 4 w 150"/>
                  <a:gd name="T23" fmla="*/ 14 h 174"/>
                  <a:gd name="T24" fmla="*/ 0 w 150"/>
                  <a:gd name="T25" fmla="*/ 18 h 174"/>
                  <a:gd name="T26" fmla="*/ 4 w 150"/>
                  <a:gd name="T27" fmla="*/ 20 h 174"/>
                  <a:gd name="T28" fmla="*/ 4 w 150"/>
                  <a:gd name="T29" fmla="*/ 24 h 174"/>
                  <a:gd name="T30" fmla="*/ 10 w 150"/>
                  <a:gd name="T31" fmla="*/ 25 h 174"/>
                  <a:gd name="T32" fmla="*/ 10 w 150"/>
                  <a:gd name="T33" fmla="*/ 34 h 174"/>
                  <a:gd name="T34" fmla="*/ 11 w 150"/>
                  <a:gd name="T35" fmla="*/ 44 h 174"/>
                  <a:gd name="T36" fmla="*/ 18 w 150"/>
                  <a:gd name="T37" fmla="*/ 38 h 174"/>
                  <a:gd name="T38" fmla="*/ 22 w 150"/>
                  <a:gd name="T39" fmla="*/ 40 h 174"/>
                  <a:gd name="T40" fmla="*/ 26 w 150"/>
                  <a:gd name="T41" fmla="*/ 38 h 174"/>
                  <a:gd name="T42" fmla="*/ 30 w 150"/>
                  <a:gd name="T43" fmla="*/ 36 h 174"/>
                  <a:gd name="T44" fmla="*/ 40 w 150"/>
                  <a:gd name="T45" fmla="*/ 44 h 174"/>
                  <a:gd name="T46" fmla="*/ 41 w 150"/>
                  <a:gd name="T47" fmla="*/ 50 h 174"/>
                  <a:gd name="T48" fmla="*/ 48 w 150"/>
                  <a:gd name="T49" fmla="*/ 60 h 174"/>
                  <a:gd name="T50" fmla="*/ 50 w 150"/>
                  <a:gd name="T51" fmla="*/ 67 h 174"/>
                  <a:gd name="T52" fmla="*/ 48 w 150"/>
                  <a:gd name="T53" fmla="*/ 73 h 174"/>
                  <a:gd name="T54" fmla="*/ 55 w 150"/>
                  <a:gd name="T55" fmla="*/ 76 h 174"/>
                  <a:gd name="T56" fmla="*/ 55 w 150"/>
                  <a:gd name="T57" fmla="*/ 73 h 174"/>
                  <a:gd name="T58" fmla="*/ 57 w 150"/>
                  <a:gd name="T59" fmla="*/ 71 h 174"/>
                  <a:gd name="T60" fmla="*/ 61 w 150"/>
                  <a:gd name="T61" fmla="*/ 73 h 174"/>
                  <a:gd name="T62" fmla="*/ 66 w 150"/>
                  <a:gd name="T63" fmla="*/ 69 h 174"/>
                  <a:gd name="T64" fmla="*/ 65 w 150"/>
                  <a:gd name="T65" fmla="*/ 62 h 174"/>
                  <a:gd name="T66" fmla="*/ 62 w 150"/>
                  <a:gd name="T67" fmla="*/ 59 h 174"/>
                  <a:gd name="T68" fmla="*/ 62 w 150"/>
                  <a:gd name="T69" fmla="*/ 56 h 174"/>
                  <a:gd name="T70" fmla="*/ 55 w 150"/>
                  <a:gd name="T71" fmla="*/ 51 h 174"/>
                  <a:gd name="T72" fmla="*/ 52 w 150"/>
                  <a:gd name="T73" fmla="*/ 46 h 174"/>
                  <a:gd name="T74" fmla="*/ 47 w 150"/>
                  <a:gd name="T75" fmla="*/ 40 h 174"/>
                  <a:gd name="T76" fmla="*/ 42 w 150"/>
                  <a:gd name="T77" fmla="*/ 34 h 174"/>
                  <a:gd name="T78" fmla="*/ 32 w 150"/>
                  <a:gd name="T79" fmla="*/ 26 h 174"/>
                  <a:gd name="T80" fmla="*/ 33 w 150"/>
                  <a:gd name="T81" fmla="*/ 24 h 174"/>
                  <a:gd name="T82" fmla="*/ 38 w 150"/>
                  <a:gd name="T83" fmla="*/ 23 h 174"/>
                  <a:gd name="T84" fmla="*/ 37 w 150"/>
                  <a:gd name="T85" fmla="*/ 20 h 17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50" h="174">
                    <a:moveTo>
                      <a:pt x="83" y="45"/>
                    </a:moveTo>
                    <a:lnTo>
                      <a:pt x="79" y="40"/>
                    </a:lnTo>
                    <a:lnTo>
                      <a:pt x="68" y="28"/>
                    </a:lnTo>
                    <a:lnTo>
                      <a:pt x="59" y="33"/>
                    </a:lnTo>
                    <a:lnTo>
                      <a:pt x="46" y="22"/>
                    </a:lnTo>
                    <a:lnTo>
                      <a:pt x="45" y="13"/>
                    </a:lnTo>
                    <a:lnTo>
                      <a:pt x="28" y="0"/>
                    </a:lnTo>
                    <a:lnTo>
                      <a:pt x="22" y="0"/>
                    </a:lnTo>
                    <a:lnTo>
                      <a:pt x="25" y="25"/>
                    </a:lnTo>
                    <a:lnTo>
                      <a:pt x="18" y="22"/>
                    </a:lnTo>
                    <a:lnTo>
                      <a:pt x="15" y="17"/>
                    </a:lnTo>
                    <a:lnTo>
                      <a:pt x="8" y="32"/>
                    </a:lnTo>
                    <a:lnTo>
                      <a:pt x="0" y="42"/>
                    </a:lnTo>
                    <a:lnTo>
                      <a:pt x="8" y="45"/>
                    </a:lnTo>
                    <a:lnTo>
                      <a:pt x="8" y="56"/>
                    </a:lnTo>
                    <a:lnTo>
                      <a:pt x="22" y="58"/>
                    </a:lnTo>
                    <a:lnTo>
                      <a:pt x="23" y="78"/>
                    </a:lnTo>
                    <a:lnTo>
                      <a:pt x="25" y="100"/>
                    </a:lnTo>
                    <a:lnTo>
                      <a:pt x="42" y="86"/>
                    </a:lnTo>
                    <a:lnTo>
                      <a:pt x="51" y="91"/>
                    </a:lnTo>
                    <a:lnTo>
                      <a:pt x="59" y="88"/>
                    </a:lnTo>
                    <a:lnTo>
                      <a:pt x="68" y="83"/>
                    </a:lnTo>
                    <a:lnTo>
                      <a:pt x="91" y="100"/>
                    </a:lnTo>
                    <a:lnTo>
                      <a:pt x="93" y="114"/>
                    </a:lnTo>
                    <a:lnTo>
                      <a:pt x="110" y="138"/>
                    </a:lnTo>
                    <a:lnTo>
                      <a:pt x="114" y="154"/>
                    </a:lnTo>
                    <a:lnTo>
                      <a:pt x="108" y="166"/>
                    </a:lnTo>
                    <a:lnTo>
                      <a:pt x="124" y="174"/>
                    </a:lnTo>
                    <a:lnTo>
                      <a:pt x="124" y="168"/>
                    </a:lnTo>
                    <a:lnTo>
                      <a:pt x="130" y="163"/>
                    </a:lnTo>
                    <a:lnTo>
                      <a:pt x="138" y="166"/>
                    </a:lnTo>
                    <a:lnTo>
                      <a:pt x="150" y="158"/>
                    </a:lnTo>
                    <a:lnTo>
                      <a:pt x="147" y="143"/>
                    </a:lnTo>
                    <a:lnTo>
                      <a:pt x="142" y="134"/>
                    </a:lnTo>
                    <a:lnTo>
                      <a:pt x="142" y="129"/>
                    </a:lnTo>
                    <a:lnTo>
                      <a:pt x="125" y="116"/>
                    </a:lnTo>
                    <a:lnTo>
                      <a:pt x="119" y="105"/>
                    </a:lnTo>
                    <a:lnTo>
                      <a:pt x="107" y="91"/>
                    </a:lnTo>
                    <a:lnTo>
                      <a:pt x="96" y="78"/>
                    </a:lnTo>
                    <a:lnTo>
                      <a:pt x="73" y="60"/>
                    </a:lnTo>
                    <a:lnTo>
                      <a:pt x="76" y="55"/>
                    </a:lnTo>
                    <a:lnTo>
                      <a:pt x="87" y="53"/>
                    </a:lnTo>
                    <a:lnTo>
                      <a:pt x="83" y="4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93" name="Freeform 123">
                <a:extLst>
                  <a:ext uri="{FF2B5EF4-FFF2-40B4-BE49-F238E27FC236}">
                    <a16:creationId xmlns:a16="http://schemas.microsoft.com/office/drawing/2014/main" id="{3EC044E1-4EB2-3D56-3D1F-781D0D3FB0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01" y="3388"/>
                <a:ext cx="70" cy="165"/>
              </a:xfrm>
              <a:custGeom>
                <a:avLst/>
                <a:gdLst>
                  <a:gd name="T0" fmla="*/ 39 w 158"/>
                  <a:gd name="T1" fmla="*/ 41 h 378"/>
                  <a:gd name="T2" fmla="*/ 38 w 158"/>
                  <a:gd name="T3" fmla="*/ 34 h 378"/>
                  <a:gd name="T4" fmla="*/ 43 w 158"/>
                  <a:gd name="T5" fmla="*/ 23 h 378"/>
                  <a:gd name="T6" fmla="*/ 40 w 158"/>
                  <a:gd name="T7" fmla="*/ 8 h 378"/>
                  <a:gd name="T8" fmla="*/ 30 w 158"/>
                  <a:gd name="T9" fmla="*/ 0 h 378"/>
                  <a:gd name="T10" fmla="*/ 27 w 158"/>
                  <a:gd name="T11" fmla="*/ 7 h 378"/>
                  <a:gd name="T12" fmla="*/ 28 w 158"/>
                  <a:gd name="T13" fmla="*/ 12 h 378"/>
                  <a:gd name="T14" fmla="*/ 14 w 158"/>
                  <a:gd name="T15" fmla="*/ 19 h 378"/>
                  <a:gd name="T16" fmla="*/ 14 w 158"/>
                  <a:gd name="T17" fmla="*/ 31 h 378"/>
                  <a:gd name="T18" fmla="*/ 5 w 158"/>
                  <a:gd name="T19" fmla="*/ 41 h 378"/>
                  <a:gd name="T20" fmla="*/ 5 w 158"/>
                  <a:gd name="T21" fmla="*/ 58 h 378"/>
                  <a:gd name="T22" fmla="*/ 2 w 158"/>
                  <a:gd name="T23" fmla="*/ 65 h 378"/>
                  <a:gd name="T24" fmla="*/ 5 w 158"/>
                  <a:gd name="T25" fmla="*/ 74 h 378"/>
                  <a:gd name="T26" fmla="*/ 8 w 158"/>
                  <a:gd name="T27" fmla="*/ 72 h 378"/>
                  <a:gd name="T28" fmla="*/ 10 w 158"/>
                  <a:gd name="T29" fmla="*/ 78 h 378"/>
                  <a:gd name="T30" fmla="*/ 16 w 158"/>
                  <a:gd name="T31" fmla="*/ 81 h 378"/>
                  <a:gd name="T32" fmla="*/ 16 w 158"/>
                  <a:gd name="T33" fmla="*/ 86 h 378"/>
                  <a:gd name="T34" fmla="*/ 20 w 158"/>
                  <a:gd name="T35" fmla="*/ 90 h 378"/>
                  <a:gd name="T36" fmla="*/ 23 w 158"/>
                  <a:gd name="T37" fmla="*/ 104 h 378"/>
                  <a:gd name="T38" fmla="*/ 26 w 158"/>
                  <a:gd name="T39" fmla="*/ 107 h 378"/>
                  <a:gd name="T40" fmla="*/ 27 w 158"/>
                  <a:gd name="T41" fmla="*/ 113 h 378"/>
                  <a:gd name="T42" fmla="*/ 31 w 158"/>
                  <a:gd name="T43" fmla="*/ 113 h 378"/>
                  <a:gd name="T44" fmla="*/ 36 w 158"/>
                  <a:gd name="T45" fmla="*/ 109 h 378"/>
                  <a:gd name="T46" fmla="*/ 40 w 158"/>
                  <a:gd name="T47" fmla="*/ 108 h 378"/>
                  <a:gd name="T48" fmla="*/ 45 w 158"/>
                  <a:gd name="T49" fmla="*/ 105 h 378"/>
                  <a:gd name="T50" fmla="*/ 53 w 158"/>
                  <a:gd name="T51" fmla="*/ 121 h 378"/>
                  <a:gd name="T52" fmla="*/ 56 w 158"/>
                  <a:gd name="T53" fmla="*/ 131 h 378"/>
                  <a:gd name="T54" fmla="*/ 61 w 158"/>
                  <a:gd name="T55" fmla="*/ 144 h 378"/>
                  <a:gd name="T56" fmla="*/ 62 w 158"/>
                  <a:gd name="T57" fmla="*/ 158 h 378"/>
                  <a:gd name="T58" fmla="*/ 63 w 158"/>
                  <a:gd name="T59" fmla="*/ 163 h 378"/>
                  <a:gd name="T60" fmla="*/ 69 w 158"/>
                  <a:gd name="T61" fmla="*/ 151 h 378"/>
                  <a:gd name="T62" fmla="*/ 64 w 158"/>
                  <a:gd name="T63" fmla="*/ 134 h 378"/>
                  <a:gd name="T64" fmla="*/ 57 w 158"/>
                  <a:gd name="T65" fmla="*/ 124 h 378"/>
                  <a:gd name="T66" fmla="*/ 58 w 158"/>
                  <a:gd name="T67" fmla="*/ 115 h 378"/>
                  <a:gd name="T68" fmla="*/ 58 w 158"/>
                  <a:gd name="T69" fmla="*/ 109 h 378"/>
                  <a:gd name="T70" fmla="*/ 44 w 158"/>
                  <a:gd name="T71" fmla="*/ 89 h 378"/>
                  <a:gd name="T72" fmla="*/ 49 w 158"/>
                  <a:gd name="T73" fmla="*/ 79 h 378"/>
                  <a:gd name="T74" fmla="*/ 59 w 158"/>
                  <a:gd name="T75" fmla="*/ 75 h 378"/>
                  <a:gd name="T76" fmla="*/ 66 w 158"/>
                  <a:gd name="T77" fmla="*/ 69 h 378"/>
                  <a:gd name="T78" fmla="*/ 68 w 158"/>
                  <a:gd name="T79" fmla="*/ 62 h 378"/>
                  <a:gd name="T80" fmla="*/ 59 w 158"/>
                  <a:gd name="T81" fmla="*/ 58 h 378"/>
                  <a:gd name="T82" fmla="*/ 55 w 158"/>
                  <a:gd name="T83" fmla="*/ 49 h 378"/>
                  <a:gd name="T84" fmla="*/ 47 w 158"/>
                  <a:gd name="T85" fmla="*/ 41 h 37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58" h="378">
                    <a:moveTo>
                      <a:pt x="105" y="90"/>
                    </a:moveTo>
                    <a:lnTo>
                      <a:pt x="88" y="93"/>
                    </a:lnTo>
                    <a:lnTo>
                      <a:pt x="87" y="85"/>
                    </a:lnTo>
                    <a:lnTo>
                      <a:pt x="85" y="78"/>
                    </a:lnTo>
                    <a:lnTo>
                      <a:pt x="93" y="61"/>
                    </a:lnTo>
                    <a:lnTo>
                      <a:pt x="96" y="52"/>
                    </a:lnTo>
                    <a:lnTo>
                      <a:pt x="93" y="37"/>
                    </a:lnTo>
                    <a:lnTo>
                      <a:pt x="90" y="18"/>
                    </a:lnTo>
                    <a:lnTo>
                      <a:pt x="82" y="15"/>
                    </a:lnTo>
                    <a:lnTo>
                      <a:pt x="68" y="0"/>
                    </a:lnTo>
                    <a:lnTo>
                      <a:pt x="65" y="7"/>
                    </a:lnTo>
                    <a:lnTo>
                      <a:pt x="62" y="17"/>
                    </a:lnTo>
                    <a:lnTo>
                      <a:pt x="60" y="23"/>
                    </a:lnTo>
                    <a:lnTo>
                      <a:pt x="63" y="28"/>
                    </a:lnTo>
                    <a:lnTo>
                      <a:pt x="51" y="27"/>
                    </a:lnTo>
                    <a:lnTo>
                      <a:pt x="32" y="43"/>
                    </a:lnTo>
                    <a:lnTo>
                      <a:pt x="32" y="61"/>
                    </a:lnTo>
                    <a:lnTo>
                      <a:pt x="32" y="70"/>
                    </a:lnTo>
                    <a:lnTo>
                      <a:pt x="25" y="95"/>
                    </a:lnTo>
                    <a:lnTo>
                      <a:pt x="12" y="95"/>
                    </a:lnTo>
                    <a:lnTo>
                      <a:pt x="12" y="113"/>
                    </a:lnTo>
                    <a:lnTo>
                      <a:pt x="12" y="134"/>
                    </a:lnTo>
                    <a:lnTo>
                      <a:pt x="5" y="134"/>
                    </a:lnTo>
                    <a:lnTo>
                      <a:pt x="5" y="148"/>
                    </a:lnTo>
                    <a:lnTo>
                      <a:pt x="0" y="151"/>
                    </a:lnTo>
                    <a:lnTo>
                      <a:pt x="12" y="169"/>
                    </a:lnTo>
                    <a:lnTo>
                      <a:pt x="14" y="171"/>
                    </a:lnTo>
                    <a:lnTo>
                      <a:pt x="17" y="166"/>
                    </a:lnTo>
                    <a:lnTo>
                      <a:pt x="22" y="179"/>
                    </a:lnTo>
                    <a:lnTo>
                      <a:pt x="31" y="179"/>
                    </a:lnTo>
                    <a:lnTo>
                      <a:pt x="36" y="186"/>
                    </a:lnTo>
                    <a:lnTo>
                      <a:pt x="32" y="189"/>
                    </a:lnTo>
                    <a:lnTo>
                      <a:pt x="36" y="197"/>
                    </a:lnTo>
                    <a:lnTo>
                      <a:pt x="39" y="189"/>
                    </a:lnTo>
                    <a:lnTo>
                      <a:pt x="45" y="206"/>
                    </a:lnTo>
                    <a:lnTo>
                      <a:pt x="53" y="221"/>
                    </a:lnTo>
                    <a:lnTo>
                      <a:pt x="51" y="239"/>
                    </a:lnTo>
                    <a:lnTo>
                      <a:pt x="50" y="257"/>
                    </a:lnTo>
                    <a:lnTo>
                      <a:pt x="59" y="245"/>
                    </a:lnTo>
                    <a:lnTo>
                      <a:pt x="59" y="257"/>
                    </a:lnTo>
                    <a:lnTo>
                      <a:pt x="62" y="260"/>
                    </a:lnTo>
                    <a:lnTo>
                      <a:pt x="68" y="259"/>
                    </a:lnTo>
                    <a:lnTo>
                      <a:pt x="70" y="259"/>
                    </a:lnTo>
                    <a:lnTo>
                      <a:pt x="82" y="250"/>
                    </a:lnTo>
                    <a:lnTo>
                      <a:pt x="85" y="245"/>
                    </a:lnTo>
                    <a:lnTo>
                      <a:pt x="90" y="247"/>
                    </a:lnTo>
                    <a:lnTo>
                      <a:pt x="96" y="231"/>
                    </a:lnTo>
                    <a:lnTo>
                      <a:pt x="102" y="240"/>
                    </a:lnTo>
                    <a:lnTo>
                      <a:pt x="110" y="247"/>
                    </a:lnTo>
                    <a:lnTo>
                      <a:pt x="119" y="277"/>
                    </a:lnTo>
                    <a:lnTo>
                      <a:pt x="125" y="305"/>
                    </a:lnTo>
                    <a:lnTo>
                      <a:pt x="127" y="300"/>
                    </a:lnTo>
                    <a:lnTo>
                      <a:pt x="133" y="315"/>
                    </a:lnTo>
                    <a:lnTo>
                      <a:pt x="138" y="330"/>
                    </a:lnTo>
                    <a:lnTo>
                      <a:pt x="141" y="345"/>
                    </a:lnTo>
                    <a:lnTo>
                      <a:pt x="141" y="361"/>
                    </a:lnTo>
                    <a:lnTo>
                      <a:pt x="141" y="378"/>
                    </a:lnTo>
                    <a:lnTo>
                      <a:pt x="142" y="373"/>
                    </a:lnTo>
                    <a:lnTo>
                      <a:pt x="150" y="360"/>
                    </a:lnTo>
                    <a:lnTo>
                      <a:pt x="156" y="347"/>
                    </a:lnTo>
                    <a:lnTo>
                      <a:pt x="150" y="327"/>
                    </a:lnTo>
                    <a:lnTo>
                      <a:pt x="145" y="308"/>
                    </a:lnTo>
                    <a:lnTo>
                      <a:pt x="136" y="297"/>
                    </a:lnTo>
                    <a:lnTo>
                      <a:pt x="128" y="284"/>
                    </a:lnTo>
                    <a:lnTo>
                      <a:pt x="127" y="272"/>
                    </a:lnTo>
                    <a:lnTo>
                      <a:pt x="130" y="264"/>
                    </a:lnTo>
                    <a:lnTo>
                      <a:pt x="133" y="250"/>
                    </a:lnTo>
                    <a:lnTo>
                      <a:pt x="130" y="250"/>
                    </a:lnTo>
                    <a:lnTo>
                      <a:pt x="114" y="227"/>
                    </a:lnTo>
                    <a:lnTo>
                      <a:pt x="99" y="204"/>
                    </a:lnTo>
                    <a:lnTo>
                      <a:pt x="105" y="206"/>
                    </a:lnTo>
                    <a:lnTo>
                      <a:pt x="110" y="182"/>
                    </a:lnTo>
                    <a:lnTo>
                      <a:pt x="125" y="181"/>
                    </a:lnTo>
                    <a:lnTo>
                      <a:pt x="133" y="171"/>
                    </a:lnTo>
                    <a:lnTo>
                      <a:pt x="142" y="168"/>
                    </a:lnTo>
                    <a:lnTo>
                      <a:pt x="150" y="158"/>
                    </a:lnTo>
                    <a:lnTo>
                      <a:pt x="158" y="143"/>
                    </a:lnTo>
                    <a:lnTo>
                      <a:pt x="153" y="141"/>
                    </a:lnTo>
                    <a:lnTo>
                      <a:pt x="141" y="144"/>
                    </a:lnTo>
                    <a:lnTo>
                      <a:pt x="133" y="133"/>
                    </a:lnTo>
                    <a:lnTo>
                      <a:pt x="121" y="129"/>
                    </a:lnTo>
                    <a:lnTo>
                      <a:pt x="124" y="113"/>
                    </a:lnTo>
                    <a:lnTo>
                      <a:pt x="111" y="108"/>
                    </a:lnTo>
                    <a:lnTo>
                      <a:pt x="107" y="93"/>
                    </a:lnTo>
                    <a:lnTo>
                      <a:pt x="105" y="9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94" name="Freeform 124">
                <a:extLst>
                  <a:ext uri="{FF2B5EF4-FFF2-40B4-BE49-F238E27FC236}">
                    <a16:creationId xmlns:a16="http://schemas.microsoft.com/office/drawing/2014/main" id="{3BBAE0AE-604A-4E96-20F0-25C611FB1B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29" y="3477"/>
                <a:ext cx="36" cy="55"/>
              </a:xfrm>
              <a:custGeom>
                <a:avLst/>
                <a:gdLst>
                  <a:gd name="T0" fmla="*/ 6 w 84"/>
                  <a:gd name="T1" fmla="*/ 35 h 124"/>
                  <a:gd name="T2" fmla="*/ 6 w 84"/>
                  <a:gd name="T3" fmla="*/ 39 h 124"/>
                  <a:gd name="T4" fmla="*/ 1 w 84"/>
                  <a:gd name="T5" fmla="*/ 29 h 124"/>
                  <a:gd name="T6" fmla="*/ 0 w 84"/>
                  <a:gd name="T7" fmla="*/ 22 h 124"/>
                  <a:gd name="T8" fmla="*/ 3 w 84"/>
                  <a:gd name="T9" fmla="*/ 23 h 124"/>
                  <a:gd name="T10" fmla="*/ 2 w 84"/>
                  <a:gd name="T11" fmla="*/ 13 h 124"/>
                  <a:gd name="T12" fmla="*/ 1 w 84"/>
                  <a:gd name="T13" fmla="*/ 4 h 124"/>
                  <a:gd name="T14" fmla="*/ 3 w 84"/>
                  <a:gd name="T15" fmla="*/ 0 h 124"/>
                  <a:gd name="T16" fmla="*/ 13 w 84"/>
                  <a:gd name="T17" fmla="*/ 2 h 124"/>
                  <a:gd name="T18" fmla="*/ 15 w 84"/>
                  <a:gd name="T19" fmla="*/ 4 h 124"/>
                  <a:gd name="T20" fmla="*/ 17 w 84"/>
                  <a:gd name="T21" fmla="*/ 12 h 124"/>
                  <a:gd name="T22" fmla="*/ 18 w 84"/>
                  <a:gd name="T23" fmla="*/ 16 h 124"/>
                  <a:gd name="T24" fmla="*/ 16 w 84"/>
                  <a:gd name="T25" fmla="*/ 23 h 124"/>
                  <a:gd name="T26" fmla="*/ 13 w 84"/>
                  <a:gd name="T27" fmla="*/ 27 h 124"/>
                  <a:gd name="T28" fmla="*/ 13 w 84"/>
                  <a:gd name="T29" fmla="*/ 32 h 124"/>
                  <a:gd name="T30" fmla="*/ 18 w 84"/>
                  <a:gd name="T31" fmla="*/ 42 h 124"/>
                  <a:gd name="T32" fmla="*/ 20 w 84"/>
                  <a:gd name="T33" fmla="*/ 42 h 124"/>
                  <a:gd name="T34" fmla="*/ 20 w 84"/>
                  <a:gd name="T35" fmla="*/ 41 h 124"/>
                  <a:gd name="T36" fmla="*/ 24 w 84"/>
                  <a:gd name="T37" fmla="*/ 40 h 124"/>
                  <a:gd name="T38" fmla="*/ 29 w 84"/>
                  <a:gd name="T39" fmla="*/ 45 h 124"/>
                  <a:gd name="T40" fmla="*/ 29 w 84"/>
                  <a:gd name="T41" fmla="*/ 42 h 124"/>
                  <a:gd name="T42" fmla="*/ 33 w 84"/>
                  <a:gd name="T43" fmla="*/ 46 h 124"/>
                  <a:gd name="T44" fmla="*/ 30 w 84"/>
                  <a:gd name="T45" fmla="*/ 46 h 124"/>
                  <a:gd name="T46" fmla="*/ 34 w 84"/>
                  <a:gd name="T47" fmla="*/ 51 h 124"/>
                  <a:gd name="T48" fmla="*/ 36 w 84"/>
                  <a:gd name="T49" fmla="*/ 51 h 124"/>
                  <a:gd name="T50" fmla="*/ 34 w 84"/>
                  <a:gd name="T51" fmla="*/ 55 h 124"/>
                  <a:gd name="T52" fmla="*/ 34 w 84"/>
                  <a:gd name="T53" fmla="*/ 52 h 124"/>
                  <a:gd name="T54" fmla="*/ 29 w 84"/>
                  <a:gd name="T55" fmla="*/ 49 h 124"/>
                  <a:gd name="T56" fmla="*/ 25 w 84"/>
                  <a:gd name="T57" fmla="*/ 46 h 124"/>
                  <a:gd name="T58" fmla="*/ 23 w 84"/>
                  <a:gd name="T59" fmla="*/ 44 h 124"/>
                  <a:gd name="T60" fmla="*/ 24 w 84"/>
                  <a:gd name="T61" fmla="*/ 50 h 124"/>
                  <a:gd name="T62" fmla="*/ 16 w 84"/>
                  <a:gd name="T63" fmla="*/ 43 h 124"/>
                  <a:gd name="T64" fmla="*/ 11 w 84"/>
                  <a:gd name="T65" fmla="*/ 46 h 124"/>
                  <a:gd name="T66" fmla="*/ 8 w 84"/>
                  <a:gd name="T67" fmla="*/ 43 h 124"/>
                  <a:gd name="T68" fmla="*/ 8 w 84"/>
                  <a:gd name="T69" fmla="*/ 40 h 124"/>
                  <a:gd name="T70" fmla="*/ 9 w 84"/>
                  <a:gd name="T71" fmla="*/ 35 h 124"/>
                  <a:gd name="T72" fmla="*/ 6 w 84"/>
                  <a:gd name="T73" fmla="*/ 35 h 12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84" h="124">
                    <a:moveTo>
                      <a:pt x="14" y="78"/>
                    </a:moveTo>
                    <a:lnTo>
                      <a:pt x="14" y="88"/>
                    </a:lnTo>
                    <a:lnTo>
                      <a:pt x="2" y="65"/>
                    </a:lnTo>
                    <a:lnTo>
                      <a:pt x="0" y="50"/>
                    </a:lnTo>
                    <a:lnTo>
                      <a:pt x="8" y="51"/>
                    </a:lnTo>
                    <a:lnTo>
                      <a:pt x="5" y="30"/>
                    </a:lnTo>
                    <a:lnTo>
                      <a:pt x="3" y="8"/>
                    </a:lnTo>
                    <a:lnTo>
                      <a:pt x="8" y="0"/>
                    </a:lnTo>
                    <a:lnTo>
                      <a:pt x="31" y="5"/>
                    </a:lnTo>
                    <a:lnTo>
                      <a:pt x="34" y="10"/>
                    </a:lnTo>
                    <a:lnTo>
                      <a:pt x="39" y="27"/>
                    </a:lnTo>
                    <a:lnTo>
                      <a:pt x="42" y="36"/>
                    </a:lnTo>
                    <a:lnTo>
                      <a:pt x="37" y="51"/>
                    </a:lnTo>
                    <a:lnTo>
                      <a:pt x="31" y="60"/>
                    </a:lnTo>
                    <a:lnTo>
                      <a:pt x="31" y="73"/>
                    </a:lnTo>
                    <a:lnTo>
                      <a:pt x="42" y="95"/>
                    </a:lnTo>
                    <a:lnTo>
                      <a:pt x="47" y="95"/>
                    </a:lnTo>
                    <a:lnTo>
                      <a:pt x="47" y="93"/>
                    </a:lnTo>
                    <a:lnTo>
                      <a:pt x="57" y="90"/>
                    </a:lnTo>
                    <a:lnTo>
                      <a:pt x="67" y="101"/>
                    </a:lnTo>
                    <a:lnTo>
                      <a:pt x="67" y="95"/>
                    </a:lnTo>
                    <a:lnTo>
                      <a:pt x="76" y="103"/>
                    </a:lnTo>
                    <a:lnTo>
                      <a:pt x="71" y="104"/>
                    </a:lnTo>
                    <a:lnTo>
                      <a:pt x="79" y="114"/>
                    </a:lnTo>
                    <a:lnTo>
                      <a:pt x="84" y="116"/>
                    </a:lnTo>
                    <a:lnTo>
                      <a:pt x="79" y="124"/>
                    </a:lnTo>
                    <a:lnTo>
                      <a:pt x="79" y="118"/>
                    </a:lnTo>
                    <a:lnTo>
                      <a:pt x="67" y="111"/>
                    </a:lnTo>
                    <a:lnTo>
                      <a:pt x="59" y="103"/>
                    </a:lnTo>
                    <a:lnTo>
                      <a:pt x="53" y="99"/>
                    </a:lnTo>
                    <a:lnTo>
                      <a:pt x="56" y="113"/>
                    </a:lnTo>
                    <a:lnTo>
                      <a:pt x="37" y="96"/>
                    </a:lnTo>
                    <a:lnTo>
                      <a:pt x="26" y="103"/>
                    </a:lnTo>
                    <a:lnTo>
                      <a:pt x="19" y="98"/>
                    </a:lnTo>
                    <a:lnTo>
                      <a:pt x="19" y="90"/>
                    </a:lnTo>
                    <a:lnTo>
                      <a:pt x="20" y="80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95" name="Freeform 125">
                <a:extLst>
                  <a:ext uri="{FF2B5EF4-FFF2-40B4-BE49-F238E27FC236}">
                    <a16:creationId xmlns:a16="http://schemas.microsoft.com/office/drawing/2014/main" id="{BFB5158D-B32D-9B68-3D3F-846C053416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53" y="3557"/>
                <a:ext cx="37" cy="37"/>
              </a:xfrm>
              <a:custGeom>
                <a:avLst/>
                <a:gdLst>
                  <a:gd name="T0" fmla="*/ 28 w 85"/>
                  <a:gd name="T1" fmla="*/ 37 h 87"/>
                  <a:gd name="T2" fmla="*/ 27 w 85"/>
                  <a:gd name="T3" fmla="*/ 33 h 87"/>
                  <a:gd name="T4" fmla="*/ 26 w 85"/>
                  <a:gd name="T5" fmla="*/ 34 h 87"/>
                  <a:gd name="T6" fmla="*/ 17 w 85"/>
                  <a:gd name="T7" fmla="*/ 29 h 87"/>
                  <a:gd name="T8" fmla="*/ 18 w 85"/>
                  <a:gd name="T9" fmla="*/ 21 h 87"/>
                  <a:gd name="T10" fmla="*/ 13 w 85"/>
                  <a:gd name="T11" fmla="*/ 17 h 87"/>
                  <a:gd name="T12" fmla="*/ 11 w 85"/>
                  <a:gd name="T13" fmla="*/ 20 h 87"/>
                  <a:gd name="T14" fmla="*/ 10 w 85"/>
                  <a:gd name="T15" fmla="*/ 18 h 87"/>
                  <a:gd name="T16" fmla="*/ 9 w 85"/>
                  <a:gd name="T17" fmla="*/ 20 h 87"/>
                  <a:gd name="T18" fmla="*/ 6 w 85"/>
                  <a:gd name="T19" fmla="*/ 17 h 87"/>
                  <a:gd name="T20" fmla="*/ 2 w 85"/>
                  <a:gd name="T21" fmla="*/ 23 h 87"/>
                  <a:gd name="T22" fmla="*/ 0 w 85"/>
                  <a:gd name="T23" fmla="*/ 25 h 87"/>
                  <a:gd name="T24" fmla="*/ 1 w 85"/>
                  <a:gd name="T25" fmla="*/ 18 h 87"/>
                  <a:gd name="T26" fmla="*/ 7 w 85"/>
                  <a:gd name="T27" fmla="*/ 14 h 87"/>
                  <a:gd name="T28" fmla="*/ 12 w 85"/>
                  <a:gd name="T29" fmla="*/ 9 h 87"/>
                  <a:gd name="T30" fmla="*/ 14 w 85"/>
                  <a:gd name="T31" fmla="*/ 15 h 87"/>
                  <a:gd name="T32" fmla="*/ 18 w 85"/>
                  <a:gd name="T33" fmla="*/ 13 h 87"/>
                  <a:gd name="T34" fmla="*/ 20 w 85"/>
                  <a:gd name="T35" fmla="*/ 11 h 87"/>
                  <a:gd name="T36" fmla="*/ 21 w 85"/>
                  <a:gd name="T37" fmla="*/ 7 h 87"/>
                  <a:gd name="T38" fmla="*/ 25 w 85"/>
                  <a:gd name="T39" fmla="*/ 7 h 87"/>
                  <a:gd name="T40" fmla="*/ 27 w 85"/>
                  <a:gd name="T41" fmla="*/ 7 h 87"/>
                  <a:gd name="T42" fmla="*/ 26 w 85"/>
                  <a:gd name="T43" fmla="*/ 0 h 87"/>
                  <a:gd name="T44" fmla="*/ 32 w 85"/>
                  <a:gd name="T45" fmla="*/ 4 h 87"/>
                  <a:gd name="T46" fmla="*/ 33 w 85"/>
                  <a:gd name="T47" fmla="*/ 11 h 87"/>
                  <a:gd name="T48" fmla="*/ 37 w 85"/>
                  <a:gd name="T49" fmla="*/ 22 h 87"/>
                  <a:gd name="T50" fmla="*/ 35 w 85"/>
                  <a:gd name="T51" fmla="*/ 26 h 87"/>
                  <a:gd name="T52" fmla="*/ 35 w 85"/>
                  <a:gd name="T53" fmla="*/ 30 h 87"/>
                  <a:gd name="T54" fmla="*/ 31 w 85"/>
                  <a:gd name="T55" fmla="*/ 22 h 87"/>
                  <a:gd name="T56" fmla="*/ 28 w 85"/>
                  <a:gd name="T57" fmla="*/ 25 h 87"/>
                  <a:gd name="T58" fmla="*/ 30 w 85"/>
                  <a:gd name="T59" fmla="*/ 30 h 87"/>
                  <a:gd name="T60" fmla="*/ 28 w 85"/>
                  <a:gd name="T61" fmla="*/ 37 h 87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85" h="87">
                    <a:moveTo>
                      <a:pt x="65" y="87"/>
                    </a:moveTo>
                    <a:lnTo>
                      <a:pt x="62" y="78"/>
                    </a:lnTo>
                    <a:lnTo>
                      <a:pt x="59" y="80"/>
                    </a:lnTo>
                    <a:lnTo>
                      <a:pt x="39" y="68"/>
                    </a:lnTo>
                    <a:lnTo>
                      <a:pt x="42" y="50"/>
                    </a:lnTo>
                    <a:lnTo>
                      <a:pt x="30" y="40"/>
                    </a:lnTo>
                    <a:lnTo>
                      <a:pt x="25" y="47"/>
                    </a:lnTo>
                    <a:lnTo>
                      <a:pt x="22" y="43"/>
                    </a:lnTo>
                    <a:lnTo>
                      <a:pt x="20" y="48"/>
                    </a:lnTo>
                    <a:lnTo>
                      <a:pt x="14" y="40"/>
                    </a:lnTo>
                    <a:lnTo>
                      <a:pt x="5" y="53"/>
                    </a:lnTo>
                    <a:lnTo>
                      <a:pt x="0" y="58"/>
                    </a:lnTo>
                    <a:lnTo>
                      <a:pt x="2" y="42"/>
                    </a:lnTo>
                    <a:lnTo>
                      <a:pt x="16" y="32"/>
                    </a:lnTo>
                    <a:lnTo>
                      <a:pt x="28" y="22"/>
                    </a:lnTo>
                    <a:lnTo>
                      <a:pt x="33" y="35"/>
                    </a:lnTo>
                    <a:lnTo>
                      <a:pt x="41" y="30"/>
                    </a:lnTo>
                    <a:lnTo>
                      <a:pt x="47" y="25"/>
                    </a:lnTo>
                    <a:lnTo>
                      <a:pt x="48" y="17"/>
                    </a:lnTo>
                    <a:lnTo>
                      <a:pt x="58" y="17"/>
                    </a:lnTo>
                    <a:lnTo>
                      <a:pt x="62" y="17"/>
                    </a:lnTo>
                    <a:lnTo>
                      <a:pt x="59" y="0"/>
                    </a:lnTo>
                    <a:lnTo>
                      <a:pt x="73" y="10"/>
                    </a:lnTo>
                    <a:lnTo>
                      <a:pt x="76" y="25"/>
                    </a:lnTo>
                    <a:lnTo>
                      <a:pt x="85" y="52"/>
                    </a:lnTo>
                    <a:lnTo>
                      <a:pt x="81" y="62"/>
                    </a:lnTo>
                    <a:lnTo>
                      <a:pt x="81" y="70"/>
                    </a:lnTo>
                    <a:lnTo>
                      <a:pt x="71" y="52"/>
                    </a:lnTo>
                    <a:lnTo>
                      <a:pt x="65" y="58"/>
                    </a:lnTo>
                    <a:lnTo>
                      <a:pt x="68" y="70"/>
                    </a:lnTo>
                    <a:lnTo>
                      <a:pt x="65" y="8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96" name="Freeform 126">
                <a:extLst>
                  <a:ext uri="{FF2B5EF4-FFF2-40B4-BE49-F238E27FC236}">
                    <a16:creationId xmlns:a16="http://schemas.microsoft.com/office/drawing/2014/main" id="{D0642BA5-615D-67BB-7F00-3164962C7C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55" y="3546"/>
                <a:ext cx="8" cy="16"/>
              </a:xfrm>
              <a:custGeom>
                <a:avLst/>
                <a:gdLst>
                  <a:gd name="T0" fmla="*/ 8 w 19"/>
                  <a:gd name="T1" fmla="*/ 0 h 37"/>
                  <a:gd name="T2" fmla="*/ 6 w 19"/>
                  <a:gd name="T3" fmla="*/ 12 h 37"/>
                  <a:gd name="T4" fmla="*/ 6 w 19"/>
                  <a:gd name="T5" fmla="*/ 16 h 37"/>
                  <a:gd name="T6" fmla="*/ 0 w 19"/>
                  <a:gd name="T7" fmla="*/ 11 h 37"/>
                  <a:gd name="T8" fmla="*/ 2 w 19"/>
                  <a:gd name="T9" fmla="*/ 8 h 37"/>
                  <a:gd name="T10" fmla="*/ 3 w 19"/>
                  <a:gd name="T11" fmla="*/ 0 h 37"/>
                  <a:gd name="T12" fmla="*/ 8 w 19"/>
                  <a:gd name="T13" fmla="*/ 0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37">
                    <a:moveTo>
                      <a:pt x="19" y="0"/>
                    </a:moveTo>
                    <a:lnTo>
                      <a:pt x="14" y="27"/>
                    </a:lnTo>
                    <a:lnTo>
                      <a:pt x="14" y="37"/>
                    </a:lnTo>
                    <a:lnTo>
                      <a:pt x="0" y="25"/>
                    </a:lnTo>
                    <a:lnTo>
                      <a:pt x="5" y="18"/>
                    </a:lnTo>
                    <a:lnTo>
                      <a:pt x="7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97" name="Freeform 127">
                <a:extLst>
                  <a:ext uri="{FF2B5EF4-FFF2-40B4-BE49-F238E27FC236}">
                    <a16:creationId xmlns:a16="http://schemas.microsoft.com/office/drawing/2014/main" id="{34913555-4461-846C-CC78-2D64404A44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68" y="3532"/>
                <a:ext cx="12" cy="13"/>
              </a:xfrm>
              <a:custGeom>
                <a:avLst/>
                <a:gdLst>
                  <a:gd name="T0" fmla="*/ 9 w 28"/>
                  <a:gd name="T1" fmla="*/ 12 h 32"/>
                  <a:gd name="T2" fmla="*/ 6 w 28"/>
                  <a:gd name="T3" fmla="*/ 8 h 32"/>
                  <a:gd name="T4" fmla="*/ 0 w 28"/>
                  <a:gd name="T5" fmla="*/ 2 h 32"/>
                  <a:gd name="T6" fmla="*/ 6 w 28"/>
                  <a:gd name="T7" fmla="*/ 0 h 32"/>
                  <a:gd name="T8" fmla="*/ 9 w 28"/>
                  <a:gd name="T9" fmla="*/ 6 h 32"/>
                  <a:gd name="T10" fmla="*/ 12 w 28"/>
                  <a:gd name="T11" fmla="*/ 13 h 32"/>
                  <a:gd name="T12" fmla="*/ 9 w 28"/>
                  <a:gd name="T13" fmla="*/ 12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8" h="32">
                    <a:moveTo>
                      <a:pt x="22" y="30"/>
                    </a:moveTo>
                    <a:lnTo>
                      <a:pt x="14" y="20"/>
                    </a:lnTo>
                    <a:lnTo>
                      <a:pt x="0" y="4"/>
                    </a:lnTo>
                    <a:lnTo>
                      <a:pt x="14" y="0"/>
                    </a:lnTo>
                    <a:lnTo>
                      <a:pt x="20" y="14"/>
                    </a:lnTo>
                    <a:lnTo>
                      <a:pt x="28" y="32"/>
                    </a:lnTo>
                    <a:lnTo>
                      <a:pt x="22" y="3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98" name="Freeform 128">
                <a:extLst>
                  <a:ext uri="{FF2B5EF4-FFF2-40B4-BE49-F238E27FC236}">
                    <a16:creationId xmlns:a16="http://schemas.microsoft.com/office/drawing/2014/main" id="{BDD2AC25-D07D-3A05-0F10-92C3B96A16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49" y="3537"/>
                <a:ext cx="10" cy="13"/>
              </a:xfrm>
              <a:custGeom>
                <a:avLst/>
                <a:gdLst>
                  <a:gd name="T0" fmla="*/ 9 w 23"/>
                  <a:gd name="T1" fmla="*/ 2 h 28"/>
                  <a:gd name="T2" fmla="*/ 1 w 23"/>
                  <a:gd name="T3" fmla="*/ 0 h 28"/>
                  <a:gd name="T4" fmla="*/ 0 w 23"/>
                  <a:gd name="T5" fmla="*/ 0 h 28"/>
                  <a:gd name="T6" fmla="*/ 2 w 23"/>
                  <a:gd name="T7" fmla="*/ 13 h 28"/>
                  <a:gd name="T8" fmla="*/ 9 w 23"/>
                  <a:gd name="T9" fmla="*/ 5 h 28"/>
                  <a:gd name="T10" fmla="*/ 10 w 23"/>
                  <a:gd name="T11" fmla="*/ 4 h 28"/>
                  <a:gd name="T12" fmla="*/ 9 w 23"/>
                  <a:gd name="T13" fmla="*/ 2 h 2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3" h="28">
                    <a:moveTo>
                      <a:pt x="20" y="5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4" y="28"/>
                    </a:lnTo>
                    <a:lnTo>
                      <a:pt x="21" y="10"/>
                    </a:lnTo>
                    <a:lnTo>
                      <a:pt x="23" y="9"/>
                    </a:lnTo>
                    <a:lnTo>
                      <a:pt x="20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399" name="Freeform 129">
                <a:extLst>
                  <a:ext uri="{FF2B5EF4-FFF2-40B4-BE49-F238E27FC236}">
                    <a16:creationId xmlns:a16="http://schemas.microsoft.com/office/drawing/2014/main" id="{F7222F78-1CE4-3EBE-EB31-D5A9C81481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14" y="3542"/>
                <a:ext cx="18" cy="26"/>
              </a:xfrm>
              <a:custGeom>
                <a:avLst/>
                <a:gdLst>
                  <a:gd name="T0" fmla="*/ 18 w 41"/>
                  <a:gd name="T1" fmla="*/ 7 h 60"/>
                  <a:gd name="T2" fmla="*/ 11 w 41"/>
                  <a:gd name="T3" fmla="*/ 14 h 60"/>
                  <a:gd name="T4" fmla="*/ 6 w 41"/>
                  <a:gd name="T5" fmla="*/ 20 h 60"/>
                  <a:gd name="T6" fmla="*/ 0 w 41"/>
                  <a:gd name="T7" fmla="*/ 26 h 60"/>
                  <a:gd name="T8" fmla="*/ 0 w 41"/>
                  <a:gd name="T9" fmla="*/ 24 h 60"/>
                  <a:gd name="T10" fmla="*/ 6 w 41"/>
                  <a:gd name="T11" fmla="*/ 17 h 60"/>
                  <a:gd name="T12" fmla="*/ 12 w 41"/>
                  <a:gd name="T13" fmla="*/ 10 h 60"/>
                  <a:gd name="T14" fmla="*/ 14 w 41"/>
                  <a:gd name="T15" fmla="*/ 5 h 60"/>
                  <a:gd name="T16" fmla="*/ 15 w 41"/>
                  <a:gd name="T17" fmla="*/ 5 h 60"/>
                  <a:gd name="T18" fmla="*/ 15 w 41"/>
                  <a:gd name="T19" fmla="*/ 0 h 60"/>
                  <a:gd name="T20" fmla="*/ 18 w 41"/>
                  <a:gd name="T21" fmla="*/ 7 h 6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1" h="60">
                    <a:moveTo>
                      <a:pt x="41" y="17"/>
                    </a:moveTo>
                    <a:lnTo>
                      <a:pt x="24" y="33"/>
                    </a:lnTo>
                    <a:lnTo>
                      <a:pt x="14" y="47"/>
                    </a:lnTo>
                    <a:lnTo>
                      <a:pt x="0" y="60"/>
                    </a:lnTo>
                    <a:lnTo>
                      <a:pt x="1" y="55"/>
                    </a:lnTo>
                    <a:lnTo>
                      <a:pt x="14" y="40"/>
                    </a:lnTo>
                    <a:lnTo>
                      <a:pt x="27" y="23"/>
                    </a:lnTo>
                    <a:lnTo>
                      <a:pt x="32" y="12"/>
                    </a:lnTo>
                    <a:lnTo>
                      <a:pt x="34" y="12"/>
                    </a:lnTo>
                    <a:lnTo>
                      <a:pt x="34" y="0"/>
                    </a:lnTo>
                    <a:lnTo>
                      <a:pt x="41" y="1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00" name="Freeform 130">
                <a:extLst>
                  <a:ext uri="{FF2B5EF4-FFF2-40B4-BE49-F238E27FC236}">
                    <a16:creationId xmlns:a16="http://schemas.microsoft.com/office/drawing/2014/main" id="{E4B71679-CE34-95C7-9405-5800935E2BB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34" y="3524"/>
                <a:ext cx="10" cy="9"/>
              </a:xfrm>
              <a:custGeom>
                <a:avLst/>
                <a:gdLst>
                  <a:gd name="T0" fmla="*/ 10 w 24"/>
                  <a:gd name="T1" fmla="*/ 6 h 21"/>
                  <a:gd name="T2" fmla="*/ 8 w 24"/>
                  <a:gd name="T3" fmla="*/ 9 h 21"/>
                  <a:gd name="T4" fmla="*/ 4 w 24"/>
                  <a:gd name="T5" fmla="*/ 4 h 21"/>
                  <a:gd name="T6" fmla="*/ 0 w 24"/>
                  <a:gd name="T7" fmla="*/ 0 h 21"/>
                  <a:gd name="T8" fmla="*/ 8 w 24"/>
                  <a:gd name="T9" fmla="*/ 0 h 21"/>
                  <a:gd name="T10" fmla="*/ 10 w 24"/>
                  <a:gd name="T11" fmla="*/ 6 h 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4" h="21">
                    <a:moveTo>
                      <a:pt x="24" y="15"/>
                    </a:moveTo>
                    <a:lnTo>
                      <a:pt x="20" y="21"/>
                    </a:lnTo>
                    <a:lnTo>
                      <a:pt x="10" y="10"/>
                    </a:lnTo>
                    <a:lnTo>
                      <a:pt x="0" y="0"/>
                    </a:lnTo>
                    <a:lnTo>
                      <a:pt x="20" y="1"/>
                    </a:lnTo>
                    <a:lnTo>
                      <a:pt x="24" y="1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01" name="Freeform 131">
                <a:extLst>
                  <a:ext uri="{FF2B5EF4-FFF2-40B4-BE49-F238E27FC236}">
                    <a16:creationId xmlns:a16="http://schemas.microsoft.com/office/drawing/2014/main" id="{2F81BD43-41EA-550C-3E29-0658AB9C6AB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69" y="3541"/>
                <a:ext cx="8" cy="12"/>
              </a:xfrm>
              <a:custGeom>
                <a:avLst/>
                <a:gdLst>
                  <a:gd name="T0" fmla="*/ 5 w 19"/>
                  <a:gd name="T1" fmla="*/ 1 h 26"/>
                  <a:gd name="T2" fmla="*/ 8 w 19"/>
                  <a:gd name="T3" fmla="*/ 11 h 26"/>
                  <a:gd name="T4" fmla="*/ 6 w 19"/>
                  <a:gd name="T5" fmla="*/ 11 h 26"/>
                  <a:gd name="T6" fmla="*/ 5 w 19"/>
                  <a:gd name="T7" fmla="*/ 12 h 26"/>
                  <a:gd name="T8" fmla="*/ 1 w 19"/>
                  <a:gd name="T9" fmla="*/ 4 h 26"/>
                  <a:gd name="T10" fmla="*/ 0 w 19"/>
                  <a:gd name="T11" fmla="*/ 0 h 26"/>
                  <a:gd name="T12" fmla="*/ 5 w 19"/>
                  <a:gd name="T13" fmla="*/ 1 h 2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6">
                    <a:moveTo>
                      <a:pt x="11" y="3"/>
                    </a:moveTo>
                    <a:lnTo>
                      <a:pt x="19" y="23"/>
                    </a:lnTo>
                    <a:lnTo>
                      <a:pt x="14" y="24"/>
                    </a:lnTo>
                    <a:lnTo>
                      <a:pt x="13" y="26"/>
                    </a:lnTo>
                    <a:lnTo>
                      <a:pt x="2" y="9"/>
                    </a:lnTo>
                    <a:lnTo>
                      <a:pt x="0" y="0"/>
                    </a:lnTo>
                    <a:lnTo>
                      <a:pt x="11" y="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02" name="Freeform 132">
                <a:extLst>
                  <a:ext uri="{FF2B5EF4-FFF2-40B4-BE49-F238E27FC236}">
                    <a16:creationId xmlns:a16="http://schemas.microsoft.com/office/drawing/2014/main" id="{D15A163C-6ECD-A5A3-2DC4-B6BB66FDAC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59" y="3532"/>
                <a:ext cx="7" cy="6"/>
              </a:xfrm>
              <a:custGeom>
                <a:avLst/>
                <a:gdLst>
                  <a:gd name="T0" fmla="*/ 7 w 17"/>
                  <a:gd name="T1" fmla="*/ 6 h 13"/>
                  <a:gd name="T2" fmla="*/ 1 w 17"/>
                  <a:gd name="T3" fmla="*/ 3 h 13"/>
                  <a:gd name="T4" fmla="*/ 0 w 17"/>
                  <a:gd name="T5" fmla="*/ 4 h 13"/>
                  <a:gd name="T6" fmla="*/ 1 w 17"/>
                  <a:gd name="T7" fmla="*/ 0 h 13"/>
                  <a:gd name="T8" fmla="*/ 7 w 17"/>
                  <a:gd name="T9" fmla="*/ 5 h 13"/>
                  <a:gd name="T10" fmla="*/ 7 w 17"/>
                  <a:gd name="T11" fmla="*/ 6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7" h="13">
                    <a:moveTo>
                      <a:pt x="17" y="13"/>
                    </a:moveTo>
                    <a:lnTo>
                      <a:pt x="2" y="6"/>
                    </a:lnTo>
                    <a:lnTo>
                      <a:pt x="0" y="8"/>
                    </a:lnTo>
                    <a:lnTo>
                      <a:pt x="2" y="0"/>
                    </a:lnTo>
                    <a:lnTo>
                      <a:pt x="17" y="11"/>
                    </a:lnTo>
                    <a:lnTo>
                      <a:pt x="17" y="1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03" name="Freeform 133">
                <a:extLst>
                  <a:ext uri="{FF2B5EF4-FFF2-40B4-BE49-F238E27FC236}">
                    <a16:creationId xmlns:a16="http://schemas.microsoft.com/office/drawing/2014/main" id="{9C4DCDCF-F89D-C3F7-B2A8-DE61599DE4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66" y="3553"/>
                <a:ext cx="6" cy="4"/>
              </a:xfrm>
              <a:custGeom>
                <a:avLst/>
                <a:gdLst>
                  <a:gd name="T0" fmla="*/ 6 w 14"/>
                  <a:gd name="T1" fmla="*/ 4 h 8"/>
                  <a:gd name="T2" fmla="*/ 4 w 14"/>
                  <a:gd name="T3" fmla="*/ 0 h 8"/>
                  <a:gd name="T4" fmla="*/ 0 w 14"/>
                  <a:gd name="T5" fmla="*/ 4 h 8"/>
                  <a:gd name="T6" fmla="*/ 6 w 14"/>
                  <a:gd name="T7" fmla="*/ 4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4" h="8">
                    <a:moveTo>
                      <a:pt x="14" y="7"/>
                    </a:moveTo>
                    <a:lnTo>
                      <a:pt x="10" y="0"/>
                    </a:lnTo>
                    <a:lnTo>
                      <a:pt x="0" y="8"/>
                    </a:lnTo>
                    <a:lnTo>
                      <a:pt x="14" y="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04" name="Freeform 134">
                <a:extLst>
                  <a:ext uri="{FF2B5EF4-FFF2-40B4-BE49-F238E27FC236}">
                    <a16:creationId xmlns:a16="http://schemas.microsoft.com/office/drawing/2014/main" id="{3891BD63-4928-1CE8-6B43-681D9D9ADC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61" y="3543"/>
                <a:ext cx="5" cy="17"/>
              </a:xfrm>
              <a:custGeom>
                <a:avLst/>
                <a:gdLst>
                  <a:gd name="T0" fmla="*/ 5 w 11"/>
                  <a:gd name="T1" fmla="*/ 0 h 38"/>
                  <a:gd name="T2" fmla="*/ 5 w 11"/>
                  <a:gd name="T3" fmla="*/ 4 h 38"/>
                  <a:gd name="T4" fmla="*/ 2 w 11"/>
                  <a:gd name="T5" fmla="*/ 11 h 38"/>
                  <a:gd name="T6" fmla="*/ 0 w 11"/>
                  <a:gd name="T7" fmla="*/ 17 h 38"/>
                  <a:gd name="T8" fmla="*/ 2 w 11"/>
                  <a:gd name="T9" fmla="*/ 8 h 38"/>
                  <a:gd name="T10" fmla="*/ 5 w 11"/>
                  <a:gd name="T11" fmla="*/ 0 h 3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" h="38">
                    <a:moveTo>
                      <a:pt x="11" y="0"/>
                    </a:moveTo>
                    <a:lnTo>
                      <a:pt x="11" y="10"/>
                    </a:lnTo>
                    <a:lnTo>
                      <a:pt x="5" y="25"/>
                    </a:lnTo>
                    <a:lnTo>
                      <a:pt x="0" y="38"/>
                    </a:lnTo>
                    <a:lnTo>
                      <a:pt x="5" y="18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05" name="Freeform 135">
                <a:extLst>
                  <a:ext uri="{FF2B5EF4-FFF2-40B4-BE49-F238E27FC236}">
                    <a16:creationId xmlns:a16="http://schemas.microsoft.com/office/drawing/2014/main" id="{48532380-B697-B3A4-2C15-291BF1CC800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6" y="3461"/>
                <a:ext cx="70" cy="132"/>
              </a:xfrm>
              <a:custGeom>
                <a:avLst/>
                <a:gdLst>
                  <a:gd name="T0" fmla="*/ 23 w 158"/>
                  <a:gd name="T1" fmla="*/ 93 h 301"/>
                  <a:gd name="T2" fmla="*/ 27 w 158"/>
                  <a:gd name="T3" fmla="*/ 78 h 301"/>
                  <a:gd name="T4" fmla="*/ 27 w 158"/>
                  <a:gd name="T5" fmla="*/ 63 h 301"/>
                  <a:gd name="T6" fmla="*/ 35 w 158"/>
                  <a:gd name="T7" fmla="*/ 69 h 301"/>
                  <a:gd name="T8" fmla="*/ 49 w 158"/>
                  <a:gd name="T9" fmla="*/ 75 h 301"/>
                  <a:gd name="T10" fmla="*/ 49 w 158"/>
                  <a:gd name="T11" fmla="*/ 71 h 301"/>
                  <a:gd name="T12" fmla="*/ 51 w 158"/>
                  <a:gd name="T13" fmla="*/ 55 h 301"/>
                  <a:gd name="T14" fmla="*/ 68 w 158"/>
                  <a:gd name="T15" fmla="*/ 54 h 301"/>
                  <a:gd name="T16" fmla="*/ 68 w 158"/>
                  <a:gd name="T17" fmla="*/ 42 h 301"/>
                  <a:gd name="T18" fmla="*/ 60 w 158"/>
                  <a:gd name="T19" fmla="*/ 25 h 301"/>
                  <a:gd name="T20" fmla="*/ 45 w 158"/>
                  <a:gd name="T21" fmla="*/ 20 h 301"/>
                  <a:gd name="T22" fmla="*/ 38 w 158"/>
                  <a:gd name="T23" fmla="*/ 20 h 301"/>
                  <a:gd name="T24" fmla="*/ 30 w 158"/>
                  <a:gd name="T25" fmla="*/ 17 h 301"/>
                  <a:gd name="T26" fmla="*/ 23 w 158"/>
                  <a:gd name="T27" fmla="*/ 6 h 301"/>
                  <a:gd name="T28" fmla="*/ 19 w 158"/>
                  <a:gd name="T29" fmla="*/ 0 h 301"/>
                  <a:gd name="T30" fmla="*/ 11 w 158"/>
                  <a:gd name="T31" fmla="*/ 6 h 301"/>
                  <a:gd name="T32" fmla="*/ 2 w 158"/>
                  <a:gd name="T33" fmla="*/ 17 h 301"/>
                  <a:gd name="T34" fmla="*/ 7 w 158"/>
                  <a:gd name="T35" fmla="*/ 26 h 301"/>
                  <a:gd name="T36" fmla="*/ 15 w 158"/>
                  <a:gd name="T37" fmla="*/ 37 h 301"/>
                  <a:gd name="T38" fmla="*/ 12 w 158"/>
                  <a:gd name="T39" fmla="*/ 46 h 301"/>
                  <a:gd name="T40" fmla="*/ 16 w 158"/>
                  <a:gd name="T41" fmla="*/ 57 h 301"/>
                  <a:gd name="T42" fmla="*/ 23 w 158"/>
                  <a:gd name="T43" fmla="*/ 70 h 301"/>
                  <a:gd name="T44" fmla="*/ 23 w 158"/>
                  <a:gd name="T45" fmla="*/ 85 h 301"/>
                  <a:gd name="T46" fmla="*/ 19 w 158"/>
                  <a:gd name="T47" fmla="*/ 92 h 301"/>
                  <a:gd name="T48" fmla="*/ 17 w 158"/>
                  <a:gd name="T49" fmla="*/ 110 h 301"/>
                  <a:gd name="T50" fmla="*/ 23 w 158"/>
                  <a:gd name="T51" fmla="*/ 114 h 301"/>
                  <a:gd name="T52" fmla="*/ 29 w 158"/>
                  <a:gd name="T53" fmla="*/ 121 h 301"/>
                  <a:gd name="T54" fmla="*/ 34 w 158"/>
                  <a:gd name="T55" fmla="*/ 125 h 301"/>
                  <a:gd name="T56" fmla="*/ 40 w 158"/>
                  <a:gd name="T57" fmla="*/ 132 h 301"/>
                  <a:gd name="T58" fmla="*/ 49 w 158"/>
                  <a:gd name="T59" fmla="*/ 128 h 301"/>
                  <a:gd name="T60" fmla="*/ 38 w 158"/>
                  <a:gd name="T61" fmla="*/ 121 h 301"/>
                  <a:gd name="T62" fmla="*/ 32 w 158"/>
                  <a:gd name="T63" fmla="*/ 111 h 301"/>
                  <a:gd name="T64" fmla="*/ 25 w 158"/>
                  <a:gd name="T65" fmla="*/ 102 h 30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58" h="301">
                    <a:moveTo>
                      <a:pt x="57" y="232"/>
                    </a:moveTo>
                    <a:lnTo>
                      <a:pt x="53" y="213"/>
                    </a:lnTo>
                    <a:lnTo>
                      <a:pt x="56" y="195"/>
                    </a:lnTo>
                    <a:lnTo>
                      <a:pt x="60" y="177"/>
                    </a:lnTo>
                    <a:lnTo>
                      <a:pt x="60" y="162"/>
                    </a:lnTo>
                    <a:lnTo>
                      <a:pt x="62" y="144"/>
                    </a:lnTo>
                    <a:lnTo>
                      <a:pt x="76" y="142"/>
                    </a:lnTo>
                    <a:lnTo>
                      <a:pt x="79" y="157"/>
                    </a:lnTo>
                    <a:lnTo>
                      <a:pt x="93" y="159"/>
                    </a:lnTo>
                    <a:lnTo>
                      <a:pt x="110" y="172"/>
                    </a:lnTo>
                    <a:lnTo>
                      <a:pt x="116" y="180"/>
                    </a:lnTo>
                    <a:lnTo>
                      <a:pt x="110" y="162"/>
                    </a:lnTo>
                    <a:lnTo>
                      <a:pt x="102" y="147"/>
                    </a:lnTo>
                    <a:lnTo>
                      <a:pt x="116" y="126"/>
                    </a:lnTo>
                    <a:lnTo>
                      <a:pt x="133" y="124"/>
                    </a:lnTo>
                    <a:lnTo>
                      <a:pt x="153" y="124"/>
                    </a:lnTo>
                    <a:lnTo>
                      <a:pt x="158" y="114"/>
                    </a:lnTo>
                    <a:lnTo>
                      <a:pt x="153" y="96"/>
                    </a:lnTo>
                    <a:lnTo>
                      <a:pt x="136" y="72"/>
                    </a:lnTo>
                    <a:lnTo>
                      <a:pt x="135" y="58"/>
                    </a:lnTo>
                    <a:lnTo>
                      <a:pt x="113" y="41"/>
                    </a:lnTo>
                    <a:lnTo>
                      <a:pt x="102" y="46"/>
                    </a:lnTo>
                    <a:lnTo>
                      <a:pt x="96" y="49"/>
                    </a:lnTo>
                    <a:lnTo>
                      <a:pt x="85" y="46"/>
                    </a:lnTo>
                    <a:lnTo>
                      <a:pt x="68" y="58"/>
                    </a:lnTo>
                    <a:lnTo>
                      <a:pt x="67" y="38"/>
                    </a:lnTo>
                    <a:lnTo>
                      <a:pt x="65" y="16"/>
                    </a:lnTo>
                    <a:lnTo>
                      <a:pt x="53" y="14"/>
                    </a:lnTo>
                    <a:lnTo>
                      <a:pt x="51" y="3"/>
                    </a:lnTo>
                    <a:lnTo>
                      <a:pt x="43" y="0"/>
                    </a:lnTo>
                    <a:lnTo>
                      <a:pt x="34" y="3"/>
                    </a:lnTo>
                    <a:lnTo>
                      <a:pt x="25" y="13"/>
                    </a:lnTo>
                    <a:lnTo>
                      <a:pt x="9" y="14"/>
                    </a:lnTo>
                    <a:lnTo>
                      <a:pt x="5" y="38"/>
                    </a:lnTo>
                    <a:lnTo>
                      <a:pt x="0" y="38"/>
                    </a:lnTo>
                    <a:lnTo>
                      <a:pt x="15" y="59"/>
                    </a:lnTo>
                    <a:lnTo>
                      <a:pt x="29" y="82"/>
                    </a:lnTo>
                    <a:lnTo>
                      <a:pt x="34" y="84"/>
                    </a:lnTo>
                    <a:lnTo>
                      <a:pt x="29" y="97"/>
                    </a:lnTo>
                    <a:lnTo>
                      <a:pt x="28" y="106"/>
                    </a:lnTo>
                    <a:lnTo>
                      <a:pt x="28" y="116"/>
                    </a:lnTo>
                    <a:lnTo>
                      <a:pt x="37" y="129"/>
                    </a:lnTo>
                    <a:lnTo>
                      <a:pt x="46" y="142"/>
                    </a:lnTo>
                    <a:lnTo>
                      <a:pt x="51" y="160"/>
                    </a:lnTo>
                    <a:lnTo>
                      <a:pt x="56" y="180"/>
                    </a:lnTo>
                    <a:lnTo>
                      <a:pt x="51" y="193"/>
                    </a:lnTo>
                    <a:lnTo>
                      <a:pt x="43" y="207"/>
                    </a:lnTo>
                    <a:lnTo>
                      <a:pt x="43" y="210"/>
                    </a:lnTo>
                    <a:lnTo>
                      <a:pt x="42" y="232"/>
                    </a:lnTo>
                    <a:lnTo>
                      <a:pt x="39" y="250"/>
                    </a:lnTo>
                    <a:lnTo>
                      <a:pt x="42" y="248"/>
                    </a:lnTo>
                    <a:lnTo>
                      <a:pt x="51" y="260"/>
                    </a:lnTo>
                    <a:lnTo>
                      <a:pt x="60" y="270"/>
                    </a:lnTo>
                    <a:lnTo>
                      <a:pt x="65" y="275"/>
                    </a:lnTo>
                    <a:lnTo>
                      <a:pt x="74" y="288"/>
                    </a:lnTo>
                    <a:lnTo>
                      <a:pt x="76" y="285"/>
                    </a:lnTo>
                    <a:lnTo>
                      <a:pt x="90" y="291"/>
                    </a:lnTo>
                    <a:lnTo>
                      <a:pt x="90" y="301"/>
                    </a:lnTo>
                    <a:lnTo>
                      <a:pt x="102" y="300"/>
                    </a:lnTo>
                    <a:lnTo>
                      <a:pt x="110" y="291"/>
                    </a:lnTo>
                    <a:lnTo>
                      <a:pt x="99" y="278"/>
                    </a:lnTo>
                    <a:lnTo>
                      <a:pt x="85" y="276"/>
                    </a:lnTo>
                    <a:lnTo>
                      <a:pt x="76" y="265"/>
                    </a:lnTo>
                    <a:lnTo>
                      <a:pt x="73" y="252"/>
                    </a:lnTo>
                    <a:lnTo>
                      <a:pt x="65" y="232"/>
                    </a:lnTo>
                    <a:lnTo>
                      <a:pt x="57" y="23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06" name="Freeform 136">
                <a:extLst>
                  <a:ext uri="{FF2B5EF4-FFF2-40B4-BE49-F238E27FC236}">
                    <a16:creationId xmlns:a16="http://schemas.microsoft.com/office/drawing/2014/main" id="{60344A55-9319-5712-BD89-CF66C8DDB2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78" y="3434"/>
                <a:ext cx="69" cy="132"/>
              </a:xfrm>
              <a:custGeom>
                <a:avLst/>
                <a:gdLst>
                  <a:gd name="T0" fmla="*/ 21 w 158"/>
                  <a:gd name="T1" fmla="*/ 26 h 300"/>
                  <a:gd name="T2" fmla="*/ 14 w 158"/>
                  <a:gd name="T3" fmla="*/ 22 h 300"/>
                  <a:gd name="T4" fmla="*/ 7 w 158"/>
                  <a:gd name="T5" fmla="*/ 14 h 300"/>
                  <a:gd name="T6" fmla="*/ 3 w 158"/>
                  <a:gd name="T7" fmla="*/ 6 h 300"/>
                  <a:gd name="T8" fmla="*/ 8 w 158"/>
                  <a:gd name="T9" fmla="*/ 6 h 300"/>
                  <a:gd name="T10" fmla="*/ 14 w 158"/>
                  <a:gd name="T11" fmla="*/ 6 h 300"/>
                  <a:gd name="T12" fmla="*/ 17 w 158"/>
                  <a:gd name="T13" fmla="*/ 6 h 300"/>
                  <a:gd name="T14" fmla="*/ 25 w 158"/>
                  <a:gd name="T15" fmla="*/ 1 h 300"/>
                  <a:gd name="T16" fmla="*/ 35 w 158"/>
                  <a:gd name="T17" fmla="*/ 9 h 300"/>
                  <a:gd name="T18" fmla="*/ 46 w 158"/>
                  <a:gd name="T19" fmla="*/ 16 h 300"/>
                  <a:gd name="T20" fmla="*/ 38 w 158"/>
                  <a:gd name="T21" fmla="*/ 22 h 300"/>
                  <a:gd name="T22" fmla="*/ 35 w 158"/>
                  <a:gd name="T23" fmla="*/ 30 h 300"/>
                  <a:gd name="T24" fmla="*/ 38 w 158"/>
                  <a:gd name="T25" fmla="*/ 46 h 300"/>
                  <a:gd name="T26" fmla="*/ 45 w 158"/>
                  <a:gd name="T27" fmla="*/ 55 h 300"/>
                  <a:gd name="T28" fmla="*/ 56 w 158"/>
                  <a:gd name="T29" fmla="*/ 66 h 300"/>
                  <a:gd name="T30" fmla="*/ 66 w 158"/>
                  <a:gd name="T31" fmla="*/ 84 h 300"/>
                  <a:gd name="T32" fmla="*/ 68 w 158"/>
                  <a:gd name="T33" fmla="*/ 99 h 300"/>
                  <a:gd name="T34" fmla="*/ 67 w 158"/>
                  <a:gd name="T35" fmla="*/ 106 h 300"/>
                  <a:gd name="T36" fmla="*/ 56 w 158"/>
                  <a:gd name="T37" fmla="*/ 116 h 300"/>
                  <a:gd name="T38" fmla="*/ 51 w 158"/>
                  <a:gd name="T39" fmla="*/ 117 h 300"/>
                  <a:gd name="T40" fmla="*/ 49 w 158"/>
                  <a:gd name="T41" fmla="*/ 120 h 300"/>
                  <a:gd name="T42" fmla="*/ 46 w 158"/>
                  <a:gd name="T43" fmla="*/ 125 h 300"/>
                  <a:gd name="T44" fmla="*/ 36 w 158"/>
                  <a:gd name="T45" fmla="*/ 132 h 300"/>
                  <a:gd name="T46" fmla="*/ 32 w 158"/>
                  <a:gd name="T47" fmla="*/ 117 h 300"/>
                  <a:gd name="T48" fmla="*/ 39 w 158"/>
                  <a:gd name="T49" fmla="*/ 111 h 300"/>
                  <a:gd name="T50" fmla="*/ 42 w 158"/>
                  <a:gd name="T51" fmla="*/ 106 h 300"/>
                  <a:gd name="T52" fmla="*/ 54 w 158"/>
                  <a:gd name="T53" fmla="*/ 100 h 300"/>
                  <a:gd name="T54" fmla="*/ 52 w 158"/>
                  <a:gd name="T55" fmla="*/ 85 h 300"/>
                  <a:gd name="T56" fmla="*/ 51 w 158"/>
                  <a:gd name="T57" fmla="*/ 71 h 300"/>
                  <a:gd name="T58" fmla="*/ 49 w 158"/>
                  <a:gd name="T59" fmla="*/ 65 h 300"/>
                  <a:gd name="T60" fmla="*/ 39 w 158"/>
                  <a:gd name="T61" fmla="*/ 54 h 300"/>
                  <a:gd name="T62" fmla="*/ 30 w 158"/>
                  <a:gd name="T63" fmla="*/ 42 h 300"/>
                  <a:gd name="T64" fmla="*/ 21 w 158"/>
                  <a:gd name="T65" fmla="*/ 32 h 300"/>
                  <a:gd name="T66" fmla="*/ 24 w 158"/>
                  <a:gd name="T67" fmla="*/ 28 h 30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58" h="300">
                    <a:moveTo>
                      <a:pt x="54" y="63"/>
                    </a:moveTo>
                    <a:lnTo>
                      <a:pt x="49" y="58"/>
                    </a:lnTo>
                    <a:lnTo>
                      <a:pt x="40" y="46"/>
                    </a:lnTo>
                    <a:lnTo>
                      <a:pt x="31" y="51"/>
                    </a:lnTo>
                    <a:lnTo>
                      <a:pt x="18" y="40"/>
                    </a:lnTo>
                    <a:lnTo>
                      <a:pt x="15" y="31"/>
                    </a:lnTo>
                    <a:lnTo>
                      <a:pt x="0" y="18"/>
                    </a:lnTo>
                    <a:lnTo>
                      <a:pt x="6" y="13"/>
                    </a:lnTo>
                    <a:lnTo>
                      <a:pt x="15" y="16"/>
                    </a:lnTo>
                    <a:lnTo>
                      <a:pt x="18" y="13"/>
                    </a:lnTo>
                    <a:lnTo>
                      <a:pt x="26" y="13"/>
                    </a:lnTo>
                    <a:lnTo>
                      <a:pt x="31" y="13"/>
                    </a:lnTo>
                    <a:lnTo>
                      <a:pt x="34" y="13"/>
                    </a:lnTo>
                    <a:lnTo>
                      <a:pt x="40" y="13"/>
                    </a:lnTo>
                    <a:lnTo>
                      <a:pt x="49" y="0"/>
                    </a:lnTo>
                    <a:lnTo>
                      <a:pt x="57" y="2"/>
                    </a:lnTo>
                    <a:lnTo>
                      <a:pt x="77" y="8"/>
                    </a:lnTo>
                    <a:lnTo>
                      <a:pt x="80" y="21"/>
                    </a:lnTo>
                    <a:lnTo>
                      <a:pt x="89" y="28"/>
                    </a:lnTo>
                    <a:lnTo>
                      <a:pt x="106" y="36"/>
                    </a:lnTo>
                    <a:lnTo>
                      <a:pt x="97" y="43"/>
                    </a:lnTo>
                    <a:lnTo>
                      <a:pt x="86" y="50"/>
                    </a:lnTo>
                    <a:lnTo>
                      <a:pt x="80" y="68"/>
                    </a:lnTo>
                    <a:lnTo>
                      <a:pt x="74" y="86"/>
                    </a:lnTo>
                    <a:lnTo>
                      <a:pt x="86" y="104"/>
                    </a:lnTo>
                    <a:lnTo>
                      <a:pt x="91" y="114"/>
                    </a:lnTo>
                    <a:lnTo>
                      <a:pt x="103" y="126"/>
                    </a:lnTo>
                    <a:lnTo>
                      <a:pt x="113" y="137"/>
                    </a:lnTo>
                    <a:lnTo>
                      <a:pt x="128" y="149"/>
                    </a:lnTo>
                    <a:lnTo>
                      <a:pt x="141" y="162"/>
                    </a:lnTo>
                    <a:lnTo>
                      <a:pt x="150" y="191"/>
                    </a:lnTo>
                    <a:lnTo>
                      <a:pt x="158" y="219"/>
                    </a:lnTo>
                    <a:lnTo>
                      <a:pt x="156" y="225"/>
                    </a:lnTo>
                    <a:lnTo>
                      <a:pt x="156" y="232"/>
                    </a:lnTo>
                    <a:lnTo>
                      <a:pt x="153" y="240"/>
                    </a:lnTo>
                    <a:lnTo>
                      <a:pt x="141" y="250"/>
                    </a:lnTo>
                    <a:lnTo>
                      <a:pt x="128" y="263"/>
                    </a:lnTo>
                    <a:lnTo>
                      <a:pt x="116" y="260"/>
                    </a:lnTo>
                    <a:lnTo>
                      <a:pt x="116" y="265"/>
                    </a:lnTo>
                    <a:lnTo>
                      <a:pt x="116" y="272"/>
                    </a:lnTo>
                    <a:lnTo>
                      <a:pt x="113" y="273"/>
                    </a:lnTo>
                    <a:lnTo>
                      <a:pt x="113" y="282"/>
                    </a:lnTo>
                    <a:lnTo>
                      <a:pt x="106" y="283"/>
                    </a:lnTo>
                    <a:lnTo>
                      <a:pt x="91" y="297"/>
                    </a:lnTo>
                    <a:lnTo>
                      <a:pt x="83" y="300"/>
                    </a:lnTo>
                    <a:lnTo>
                      <a:pt x="85" y="275"/>
                    </a:lnTo>
                    <a:lnTo>
                      <a:pt x="74" y="265"/>
                    </a:lnTo>
                    <a:lnTo>
                      <a:pt x="85" y="257"/>
                    </a:lnTo>
                    <a:lnTo>
                      <a:pt x="89" y="253"/>
                    </a:lnTo>
                    <a:lnTo>
                      <a:pt x="103" y="257"/>
                    </a:lnTo>
                    <a:lnTo>
                      <a:pt x="97" y="242"/>
                    </a:lnTo>
                    <a:lnTo>
                      <a:pt x="106" y="235"/>
                    </a:lnTo>
                    <a:lnTo>
                      <a:pt x="124" y="227"/>
                    </a:lnTo>
                    <a:lnTo>
                      <a:pt x="122" y="212"/>
                    </a:lnTo>
                    <a:lnTo>
                      <a:pt x="120" y="194"/>
                    </a:lnTo>
                    <a:lnTo>
                      <a:pt x="120" y="177"/>
                    </a:lnTo>
                    <a:lnTo>
                      <a:pt x="117" y="161"/>
                    </a:lnTo>
                    <a:lnTo>
                      <a:pt x="113" y="152"/>
                    </a:lnTo>
                    <a:lnTo>
                      <a:pt x="113" y="147"/>
                    </a:lnTo>
                    <a:lnTo>
                      <a:pt x="97" y="136"/>
                    </a:lnTo>
                    <a:lnTo>
                      <a:pt x="89" y="123"/>
                    </a:lnTo>
                    <a:lnTo>
                      <a:pt x="77" y="109"/>
                    </a:lnTo>
                    <a:lnTo>
                      <a:pt x="68" y="96"/>
                    </a:lnTo>
                    <a:lnTo>
                      <a:pt x="45" y="78"/>
                    </a:lnTo>
                    <a:lnTo>
                      <a:pt x="48" y="73"/>
                    </a:lnTo>
                    <a:lnTo>
                      <a:pt x="57" y="71"/>
                    </a:lnTo>
                    <a:lnTo>
                      <a:pt x="54" y="6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07" name="Freeform 137">
                <a:extLst>
                  <a:ext uri="{FF2B5EF4-FFF2-40B4-BE49-F238E27FC236}">
                    <a16:creationId xmlns:a16="http://schemas.microsoft.com/office/drawing/2014/main" id="{BCBE72B0-F8EE-979A-049E-0DE75D30C3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75" y="3409"/>
                <a:ext cx="5" cy="14"/>
              </a:xfrm>
              <a:custGeom>
                <a:avLst/>
                <a:gdLst>
                  <a:gd name="T0" fmla="*/ 3 w 13"/>
                  <a:gd name="T1" fmla="*/ 14 h 31"/>
                  <a:gd name="T2" fmla="*/ 3 w 13"/>
                  <a:gd name="T3" fmla="*/ 14 h 31"/>
                  <a:gd name="T4" fmla="*/ 0 w 13"/>
                  <a:gd name="T5" fmla="*/ 12 h 31"/>
                  <a:gd name="T6" fmla="*/ 0 w 13"/>
                  <a:gd name="T7" fmla="*/ 5 h 31"/>
                  <a:gd name="T8" fmla="*/ 3 w 13"/>
                  <a:gd name="T9" fmla="*/ 0 h 31"/>
                  <a:gd name="T10" fmla="*/ 5 w 13"/>
                  <a:gd name="T11" fmla="*/ 7 h 31"/>
                  <a:gd name="T12" fmla="*/ 3 w 13"/>
                  <a:gd name="T13" fmla="*/ 14 h 3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31">
                    <a:moveTo>
                      <a:pt x="8" y="30"/>
                    </a:moveTo>
                    <a:lnTo>
                      <a:pt x="7" y="31"/>
                    </a:lnTo>
                    <a:lnTo>
                      <a:pt x="0" y="26"/>
                    </a:lnTo>
                    <a:lnTo>
                      <a:pt x="0" y="10"/>
                    </a:lnTo>
                    <a:lnTo>
                      <a:pt x="7" y="0"/>
                    </a:lnTo>
                    <a:lnTo>
                      <a:pt x="13" y="15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08" name="Freeform 138">
                <a:extLst>
                  <a:ext uri="{FF2B5EF4-FFF2-40B4-BE49-F238E27FC236}">
                    <a16:creationId xmlns:a16="http://schemas.microsoft.com/office/drawing/2014/main" id="{6E0812B1-EE8B-B0AF-460A-F9693E0546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05" y="3288"/>
                <a:ext cx="164" cy="130"/>
              </a:xfrm>
              <a:custGeom>
                <a:avLst/>
                <a:gdLst>
                  <a:gd name="T0" fmla="*/ 19 w 369"/>
                  <a:gd name="T1" fmla="*/ 53 h 297"/>
                  <a:gd name="T2" fmla="*/ 21 w 369"/>
                  <a:gd name="T3" fmla="*/ 39 h 297"/>
                  <a:gd name="T4" fmla="*/ 16 w 369"/>
                  <a:gd name="T5" fmla="*/ 33 h 297"/>
                  <a:gd name="T6" fmla="*/ 3 w 369"/>
                  <a:gd name="T7" fmla="*/ 16 h 297"/>
                  <a:gd name="T8" fmla="*/ 0 w 369"/>
                  <a:gd name="T9" fmla="*/ 2 h 297"/>
                  <a:gd name="T10" fmla="*/ 4 w 369"/>
                  <a:gd name="T11" fmla="*/ 1 h 297"/>
                  <a:gd name="T12" fmla="*/ 15 w 369"/>
                  <a:gd name="T13" fmla="*/ 7 h 297"/>
                  <a:gd name="T14" fmla="*/ 28 w 369"/>
                  <a:gd name="T15" fmla="*/ 0 h 297"/>
                  <a:gd name="T16" fmla="*/ 29 w 369"/>
                  <a:gd name="T17" fmla="*/ 7 h 297"/>
                  <a:gd name="T18" fmla="*/ 41 w 369"/>
                  <a:gd name="T19" fmla="*/ 19 h 297"/>
                  <a:gd name="T20" fmla="*/ 57 w 369"/>
                  <a:gd name="T21" fmla="*/ 25 h 297"/>
                  <a:gd name="T22" fmla="*/ 72 w 369"/>
                  <a:gd name="T23" fmla="*/ 26 h 297"/>
                  <a:gd name="T24" fmla="*/ 77 w 369"/>
                  <a:gd name="T25" fmla="*/ 24 h 297"/>
                  <a:gd name="T26" fmla="*/ 78 w 369"/>
                  <a:gd name="T27" fmla="*/ 21 h 297"/>
                  <a:gd name="T28" fmla="*/ 93 w 369"/>
                  <a:gd name="T29" fmla="*/ 15 h 297"/>
                  <a:gd name="T30" fmla="*/ 112 w 369"/>
                  <a:gd name="T31" fmla="*/ 18 h 297"/>
                  <a:gd name="T32" fmla="*/ 126 w 369"/>
                  <a:gd name="T33" fmla="*/ 26 h 297"/>
                  <a:gd name="T34" fmla="*/ 135 w 369"/>
                  <a:gd name="T35" fmla="*/ 37 h 297"/>
                  <a:gd name="T36" fmla="*/ 133 w 369"/>
                  <a:gd name="T37" fmla="*/ 48 h 297"/>
                  <a:gd name="T38" fmla="*/ 136 w 369"/>
                  <a:gd name="T39" fmla="*/ 55 h 297"/>
                  <a:gd name="T40" fmla="*/ 137 w 369"/>
                  <a:gd name="T41" fmla="*/ 64 h 297"/>
                  <a:gd name="T42" fmla="*/ 146 w 369"/>
                  <a:gd name="T43" fmla="*/ 74 h 297"/>
                  <a:gd name="T44" fmla="*/ 142 w 369"/>
                  <a:gd name="T45" fmla="*/ 88 h 297"/>
                  <a:gd name="T46" fmla="*/ 153 w 369"/>
                  <a:gd name="T47" fmla="*/ 100 h 297"/>
                  <a:gd name="T48" fmla="*/ 162 w 369"/>
                  <a:gd name="T49" fmla="*/ 112 h 297"/>
                  <a:gd name="T50" fmla="*/ 164 w 369"/>
                  <a:gd name="T51" fmla="*/ 117 h 297"/>
                  <a:gd name="T52" fmla="*/ 155 w 369"/>
                  <a:gd name="T53" fmla="*/ 123 h 297"/>
                  <a:gd name="T54" fmla="*/ 146 w 369"/>
                  <a:gd name="T55" fmla="*/ 129 h 297"/>
                  <a:gd name="T56" fmla="*/ 128 w 369"/>
                  <a:gd name="T57" fmla="*/ 126 h 297"/>
                  <a:gd name="T58" fmla="*/ 117 w 369"/>
                  <a:gd name="T59" fmla="*/ 119 h 297"/>
                  <a:gd name="T60" fmla="*/ 106 w 369"/>
                  <a:gd name="T61" fmla="*/ 115 h 297"/>
                  <a:gd name="T62" fmla="*/ 88 w 369"/>
                  <a:gd name="T63" fmla="*/ 115 h 297"/>
                  <a:gd name="T64" fmla="*/ 74 w 369"/>
                  <a:gd name="T65" fmla="*/ 106 h 297"/>
                  <a:gd name="T66" fmla="*/ 64 w 369"/>
                  <a:gd name="T67" fmla="*/ 95 h 297"/>
                  <a:gd name="T68" fmla="*/ 53 w 369"/>
                  <a:gd name="T69" fmla="*/ 86 h 297"/>
                  <a:gd name="T70" fmla="*/ 50 w 369"/>
                  <a:gd name="T71" fmla="*/ 82 h 297"/>
                  <a:gd name="T72" fmla="*/ 47 w 369"/>
                  <a:gd name="T73" fmla="*/ 87 h 297"/>
                  <a:gd name="T74" fmla="*/ 41 w 369"/>
                  <a:gd name="T75" fmla="*/ 78 h 297"/>
                  <a:gd name="T76" fmla="*/ 38 w 369"/>
                  <a:gd name="T77" fmla="*/ 71 h 297"/>
                  <a:gd name="T78" fmla="*/ 29 w 369"/>
                  <a:gd name="T79" fmla="*/ 63 h 297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369" h="297">
                    <a:moveTo>
                      <a:pt x="52" y="135"/>
                    </a:moveTo>
                    <a:lnTo>
                      <a:pt x="43" y="121"/>
                    </a:lnTo>
                    <a:lnTo>
                      <a:pt x="40" y="110"/>
                    </a:lnTo>
                    <a:lnTo>
                      <a:pt x="48" y="90"/>
                    </a:lnTo>
                    <a:lnTo>
                      <a:pt x="48" y="82"/>
                    </a:lnTo>
                    <a:lnTo>
                      <a:pt x="35" y="75"/>
                    </a:lnTo>
                    <a:lnTo>
                      <a:pt x="18" y="52"/>
                    </a:lnTo>
                    <a:lnTo>
                      <a:pt x="7" y="37"/>
                    </a:lnTo>
                    <a:lnTo>
                      <a:pt x="3" y="17"/>
                    </a:lnTo>
                    <a:lnTo>
                      <a:pt x="0" y="5"/>
                    </a:lnTo>
                    <a:lnTo>
                      <a:pt x="7" y="0"/>
                    </a:lnTo>
                    <a:lnTo>
                      <a:pt x="10" y="2"/>
                    </a:lnTo>
                    <a:lnTo>
                      <a:pt x="12" y="5"/>
                    </a:lnTo>
                    <a:lnTo>
                      <a:pt x="34" y="17"/>
                    </a:lnTo>
                    <a:lnTo>
                      <a:pt x="48" y="10"/>
                    </a:lnTo>
                    <a:lnTo>
                      <a:pt x="63" y="0"/>
                    </a:lnTo>
                    <a:lnTo>
                      <a:pt x="69" y="10"/>
                    </a:lnTo>
                    <a:lnTo>
                      <a:pt x="66" y="15"/>
                    </a:lnTo>
                    <a:lnTo>
                      <a:pt x="83" y="25"/>
                    </a:lnTo>
                    <a:lnTo>
                      <a:pt x="92" y="43"/>
                    </a:lnTo>
                    <a:lnTo>
                      <a:pt x="113" y="52"/>
                    </a:lnTo>
                    <a:lnTo>
                      <a:pt x="128" y="58"/>
                    </a:lnTo>
                    <a:lnTo>
                      <a:pt x="143" y="63"/>
                    </a:lnTo>
                    <a:lnTo>
                      <a:pt x="161" y="60"/>
                    </a:lnTo>
                    <a:lnTo>
                      <a:pt x="171" y="58"/>
                    </a:lnTo>
                    <a:lnTo>
                      <a:pt x="174" y="55"/>
                    </a:lnTo>
                    <a:lnTo>
                      <a:pt x="171" y="48"/>
                    </a:lnTo>
                    <a:lnTo>
                      <a:pt x="176" y="48"/>
                    </a:lnTo>
                    <a:lnTo>
                      <a:pt x="190" y="35"/>
                    </a:lnTo>
                    <a:lnTo>
                      <a:pt x="210" y="34"/>
                    </a:lnTo>
                    <a:lnTo>
                      <a:pt x="225" y="32"/>
                    </a:lnTo>
                    <a:lnTo>
                      <a:pt x="252" y="40"/>
                    </a:lnTo>
                    <a:lnTo>
                      <a:pt x="267" y="52"/>
                    </a:lnTo>
                    <a:lnTo>
                      <a:pt x="283" y="60"/>
                    </a:lnTo>
                    <a:lnTo>
                      <a:pt x="298" y="62"/>
                    </a:lnTo>
                    <a:lnTo>
                      <a:pt x="304" y="85"/>
                    </a:lnTo>
                    <a:lnTo>
                      <a:pt x="300" y="108"/>
                    </a:lnTo>
                    <a:lnTo>
                      <a:pt x="300" y="110"/>
                    </a:lnTo>
                    <a:lnTo>
                      <a:pt x="300" y="121"/>
                    </a:lnTo>
                    <a:lnTo>
                      <a:pt x="306" y="126"/>
                    </a:lnTo>
                    <a:lnTo>
                      <a:pt x="304" y="128"/>
                    </a:lnTo>
                    <a:lnTo>
                      <a:pt x="309" y="146"/>
                    </a:lnTo>
                    <a:lnTo>
                      <a:pt x="312" y="164"/>
                    </a:lnTo>
                    <a:lnTo>
                      <a:pt x="329" y="169"/>
                    </a:lnTo>
                    <a:lnTo>
                      <a:pt x="332" y="178"/>
                    </a:lnTo>
                    <a:lnTo>
                      <a:pt x="320" y="201"/>
                    </a:lnTo>
                    <a:lnTo>
                      <a:pt x="332" y="216"/>
                    </a:lnTo>
                    <a:lnTo>
                      <a:pt x="345" y="229"/>
                    </a:lnTo>
                    <a:lnTo>
                      <a:pt x="359" y="234"/>
                    </a:lnTo>
                    <a:lnTo>
                      <a:pt x="365" y="256"/>
                    </a:lnTo>
                    <a:lnTo>
                      <a:pt x="369" y="257"/>
                    </a:lnTo>
                    <a:lnTo>
                      <a:pt x="369" y="267"/>
                    </a:lnTo>
                    <a:lnTo>
                      <a:pt x="354" y="274"/>
                    </a:lnTo>
                    <a:lnTo>
                      <a:pt x="348" y="281"/>
                    </a:lnTo>
                    <a:lnTo>
                      <a:pt x="346" y="297"/>
                    </a:lnTo>
                    <a:lnTo>
                      <a:pt x="328" y="294"/>
                    </a:lnTo>
                    <a:lnTo>
                      <a:pt x="307" y="292"/>
                    </a:lnTo>
                    <a:lnTo>
                      <a:pt x="289" y="289"/>
                    </a:lnTo>
                    <a:lnTo>
                      <a:pt x="269" y="284"/>
                    </a:lnTo>
                    <a:lnTo>
                      <a:pt x="263" y="271"/>
                    </a:lnTo>
                    <a:lnTo>
                      <a:pt x="255" y="257"/>
                    </a:lnTo>
                    <a:lnTo>
                      <a:pt x="239" y="262"/>
                    </a:lnTo>
                    <a:lnTo>
                      <a:pt x="225" y="267"/>
                    </a:lnTo>
                    <a:lnTo>
                      <a:pt x="198" y="262"/>
                    </a:lnTo>
                    <a:lnTo>
                      <a:pt x="182" y="252"/>
                    </a:lnTo>
                    <a:lnTo>
                      <a:pt x="167" y="242"/>
                    </a:lnTo>
                    <a:lnTo>
                      <a:pt x="153" y="229"/>
                    </a:lnTo>
                    <a:lnTo>
                      <a:pt x="143" y="216"/>
                    </a:lnTo>
                    <a:lnTo>
                      <a:pt x="128" y="196"/>
                    </a:lnTo>
                    <a:lnTo>
                      <a:pt x="120" y="196"/>
                    </a:lnTo>
                    <a:lnTo>
                      <a:pt x="113" y="191"/>
                    </a:lnTo>
                    <a:lnTo>
                      <a:pt x="113" y="188"/>
                    </a:lnTo>
                    <a:lnTo>
                      <a:pt x="108" y="198"/>
                    </a:lnTo>
                    <a:lnTo>
                      <a:pt x="105" y="199"/>
                    </a:lnTo>
                    <a:lnTo>
                      <a:pt x="100" y="193"/>
                    </a:lnTo>
                    <a:lnTo>
                      <a:pt x="92" y="178"/>
                    </a:lnTo>
                    <a:lnTo>
                      <a:pt x="86" y="178"/>
                    </a:lnTo>
                    <a:lnTo>
                      <a:pt x="86" y="163"/>
                    </a:lnTo>
                    <a:lnTo>
                      <a:pt x="80" y="153"/>
                    </a:lnTo>
                    <a:lnTo>
                      <a:pt x="66" y="145"/>
                    </a:lnTo>
                    <a:lnTo>
                      <a:pt x="52" y="13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09" name="Freeform 139">
                <a:extLst>
                  <a:ext uri="{FF2B5EF4-FFF2-40B4-BE49-F238E27FC236}">
                    <a16:creationId xmlns:a16="http://schemas.microsoft.com/office/drawing/2014/main" id="{30F46F5F-B8F7-A6EC-B73B-3C682F2413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73" y="3308"/>
                <a:ext cx="78" cy="75"/>
              </a:xfrm>
              <a:custGeom>
                <a:avLst/>
                <a:gdLst>
                  <a:gd name="T0" fmla="*/ 51 w 177"/>
                  <a:gd name="T1" fmla="*/ 32 h 170"/>
                  <a:gd name="T2" fmla="*/ 49 w 177"/>
                  <a:gd name="T3" fmla="*/ 27 h 170"/>
                  <a:gd name="T4" fmla="*/ 53 w 177"/>
                  <a:gd name="T5" fmla="*/ 19 h 170"/>
                  <a:gd name="T6" fmla="*/ 53 w 177"/>
                  <a:gd name="T7" fmla="*/ 14 h 170"/>
                  <a:gd name="T8" fmla="*/ 47 w 177"/>
                  <a:gd name="T9" fmla="*/ 12 h 170"/>
                  <a:gd name="T10" fmla="*/ 40 w 177"/>
                  <a:gd name="T11" fmla="*/ 2 h 170"/>
                  <a:gd name="T12" fmla="*/ 36 w 177"/>
                  <a:gd name="T13" fmla="*/ 2 h 170"/>
                  <a:gd name="T14" fmla="*/ 33 w 177"/>
                  <a:gd name="T15" fmla="*/ 0 h 170"/>
                  <a:gd name="T16" fmla="*/ 23 w 177"/>
                  <a:gd name="T17" fmla="*/ 0 h 170"/>
                  <a:gd name="T18" fmla="*/ 21 w 177"/>
                  <a:gd name="T19" fmla="*/ 2 h 170"/>
                  <a:gd name="T20" fmla="*/ 15 w 177"/>
                  <a:gd name="T21" fmla="*/ 9 h 170"/>
                  <a:gd name="T22" fmla="*/ 15 w 177"/>
                  <a:gd name="T23" fmla="*/ 18 h 170"/>
                  <a:gd name="T24" fmla="*/ 15 w 177"/>
                  <a:gd name="T25" fmla="*/ 26 h 170"/>
                  <a:gd name="T26" fmla="*/ 7 w 177"/>
                  <a:gd name="T27" fmla="*/ 31 h 170"/>
                  <a:gd name="T28" fmla="*/ 0 w 177"/>
                  <a:gd name="T29" fmla="*/ 35 h 170"/>
                  <a:gd name="T30" fmla="*/ 5 w 177"/>
                  <a:gd name="T31" fmla="*/ 46 h 170"/>
                  <a:gd name="T32" fmla="*/ 12 w 177"/>
                  <a:gd name="T33" fmla="*/ 50 h 170"/>
                  <a:gd name="T34" fmla="*/ 19 w 177"/>
                  <a:gd name="T35" fmla="*/ 53 h 170"/>
                  <a:gd name="T36" fmla="*/ 27 w 177"/>
                  <a:gd name="T37" fmla="*/ 56 h 170"/>
                  <a:gd name="T38" fmla="*/ 35 w 177"/>
                  <a:gd name="T39" fmla="*/ 60 h 170"/>
                  <a:gd name="T40" fmla="*/ 42 w 177"/>
                  <a:gd name="T41" fmla="*/ 68 h 170"/>
                  <a:gd name="T42" fmla="*/ 49 w 177"/>
                  <a:gd name="T43" fmla="*/ 74 h 170"/>
                  <a:gd name="T44" fmla="*/ 63 w 177"/>
                  <a:gd name="T45" fmla="*/ 75 h 170"/>
                  <a:gd name="T46" fmla="*/ 67 w 177"/>
                  <a:gd name="T47" fmla="*/ 68 h 170"/>
                  <a:gd name="T48" fmla="*/ 73 w 177"/>
                  <a:gd name="T49" fmla="*/ 66 h 170"/>
                  <a:gd name="T50" fmla="*/ 78 w 177"/>
                  <a:gd name="T51" fmla="*/ 68 h 170"/>
                  <a:gd name="T52" fmla="*/ 76 w 177"/>
                  <a:gd name="T53" fmla="*/ 64 h 170"/>
                  <a:gd name="T54" fmla="*/ 72 w 177"/>
                  <a:gd name="T55" fmla="*/ 58 h 170"/>
                  <a:gd name="T56" fmla="*/ 70 w 177"/>
                  <a:gd name="T57" fmla="*/ 58 h 170"/>
                  <a:gd name="T58" fmla="*/ 70 w 177"/>
                  <a:gd name="T59" fmla="*/ 51 h 170"/>
                  <a:gd name="T60" fmla="*/ 67 w 177"/>
                  <a:gd name="T61" fmla="*/ 46 h 170"/>
                  <a:gd name="T62" fmla="*/ 61 w 177"/>
                  <a:gd name="T63" fmla="*/ 43 h 170"/>
                  <a:gd name="T64" fmla="*/ 56 w 177"/>
                  <a:gd name="T65" fmla="*/ 38 h 170"/>
                  <a:gd name="T66" fmla="*/ 51 w 177"/>
                  <a:gd name="T67" fmla="*/ 32 h 17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77" h="170">
                    <a:moveTo>
                      <a:pt x="115" y="73"/>
                    </a:moveTo>
                    <a:lnTo>
                      <a:pt x="112" y="62"/>
                    </a:lnTo>
                    <a:lnTo>
                      <a:pt x="120" y="42"/>
                    </a:lnTo>
                    <a:lnTo>
                      <a:pt x="120" y="32"/>
                    </a:lnTo>
                    <a:lnTo>
                      <a:pt x="107" y="27"/>
                    </a:lnTo>
                    <a:lnTo>
                      <a:pt x="90" y="4"/>
                    </a:lnTo>
                    <a:lnTo>
                      <a:pt x="81" y="5"/>
                    </a:lnTo>
                    <a:lnTo>
                      <a:pt x="75" y="0"/>
                    </a:lnTo>
                    <a:lnTo>
                      <a:pt x="53" y="0"/>
                    </a:lnTo>
                    <a:lnTo>
                      <a:pt x="48" y="5"/>
                    </a:lnTo>
                    <a:lnTo>
                      <a:pt x="34" y="20"/>
                    </a:lnTo>
                    <a:lnTo>
                      <a:pt x="34" y="40"/>
                    </a:lnTo>
                    <a:lnTo>
                      <a:pt x="34" y="60"/>
                    </a:lnTo>
                    <a:lnTo>
                      <a:pt x="16" y="70"/>
                    </a:lnTo>
                    <a:lnTo>
                      <a:pt x="0" y="80"/>
                    </a:lnTo>
                    <a:lnTo>
                      <a:pt x="11" y="105"/>
                    </a:lnTo>
                    <a:lnTo>
                      <a:pt x="28" y="113"/>
                    </a:lnTo>
                    <a:lnTo>
                      <a:pt x="44" y="120"/>
                    </a:lnTo>
                    <a:lnTo>
                      <a:pt x="62" y="128"/>
                    </a:lnTo>
                    <a:lnTo>
                      <a:pt x="79" y="136"/>
                    </a:lnTo>
                    <a:lnTo>
                      <a:pt x="95" y="153"/>
                    </a:lnTo>
                    <a:lnTo>
                      <a:pt x="112" y="168"/>
                    </a:lnTo>
                    <a:lnTo>
                      <a:pt x="144" y="170"/>
                    </a:lnTo>
                    <a:lnTo>
                      <a:pt x="152" y="153"/>
                    </a:lnTo>
                    <a:lnTo>
                      <a:pt x="166" y="150"/>
                    </a:lnTo>
                    <a:lnTo>
                      <a:pt x="177" y="153"/>
                    </a:lnTo>
                    <a:lnTo>
                      <a:pt x="172" y="145"/>
                    </a:lnTo>
                    <a:lnTo>
                      <a:pt x="164" y="131"/>
                    </a:lnTo>
                    <a:lnTo>
                      <a:pt x="158" y="131"/>
                    </a:lnTo>
                    <a:lnTo>
                      <a:pt x="158" y="115"/>
                    </a:lnTo>
                    <a:lnTo>
                      <a:pt x="152" y="105"/>
                    </a:lnTo>
                    <a:lnTo>
                      <a:pt x="138" y="97"/>
                    </a:lnTo>
                    <a:lnTo>
                      <a:pt x="126" y="87"/>
                    </a:lnTo>
                    <a:lnTo>
                      <a:pt x="115" y="7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10" name="Freeform 140">
                <a:extLst>
                  <a:ext uri="{FF2B5EF4-FFF2-40B4-BE49-F238E27FC236}">
                    <a16:creationId xmlns:a16="http://schemas.microsoft.com/office/drawing/2014/main" id="{3985320E-848C-EB30-4F3E-77CD6258F0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37" y="3374"/>
                <a:ext cx="15" cy="14"/>
              </a:xfrm>
              <a:custGeom>
                <a:avLst/>
                <a:gdLst>
                  <a:gd name="T0" fmla="*/ 12 w 34"/>
                  <a:gd name="T1" fmla="*/ 5 h 31"/>
                  <a:gd name="T2" fmla="*/ 10 w 34"/>
                  <a:gd name="T3" fmla="*/ 5 h 31"/>
                  <a:gd name="T4" fmla="*/ 11 w 34"/>
                  <a:gd name="T5" fmla="*/ 7 h 31"/>
                  <a:gd name="T6" fmla="*/ 15 w 34"/>
                  <a:gd name="T7" fmla="*/ 14 h 31"/>
                  <a:gd name="T8" fmla="*/ 8 w 34"/>
                  <a:gd name="T9" fmla="*/ 13 h 31"/>
                  <a:gd name="T10" fmla="*/ 7 w 34"/>
                  <a:gd name="T11" fmla="*/ 9 h 31"/>
                  <a:gd name="T12" fmla="*/ 0 w 34"/>
                  <a:gd name="T13" fmla="*/ 9 h 31"/>
                  <a:gd name="T14" fmla="*/ 4 w 34"/>
                  <a:gd name="T15" fmla="*/ 0 h 31"/>
                  <a:gd name="T16" fmla="*/ 10 w 34"/>
                  <a:gd name="T17" fmla="*/ 0 h 31"/>
                  <a:gd name="T18" fmla="*/ 12 w 34"/>
                  <a:gd name="T19" fmla="*/ 5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4" h="31">
                    <a:moveTo>
                      <a:pt x="28" y="10"/>
                    </a:moveTo>
                    <a:lnTo>
                      <a:pt x="22" y="10"/>
                    </a:lnTo>
                    <a:lnTo>
                      <a:pt x="24" y="15"/>
                    </a:lnTo>
                    <a:lnTo>
                      <a:pt x="34" y="31"/>
                    </a:lnTo>
                    <a:lnTo>
                      <a:pt x="19" y="28"/>
                    </a:lnTo>
                    <a:lnTo>
                      <a:pt x="16" y="21"/>
                    </a:lnTo>
                    <a:lnTo>
                      <a:pt x="0" y="20"/>
                    </a:lnTo>
                    <a:lnTo>
                      <a:pt x="8" y="1"/>
                    </a:lnTo>
                    <a:lnTo>
                      <a:pt x="22" y="0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11" name="Freeform 141">
                <a:extLst>
                  <a:ext uri="{FF2B5EF4-FFF2-40B4-BE49-F238E27FC236}">
                    <a16:creationId xmlns:a16="http://schemas.microsoft.com/office/drawing/2014/main" id="{8B7D631D-B282-0A2A-6C23-568A2D31F9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96" y="3371"/>
                <a:ext cx="66" cy="34"/>
              </a:xfrm>
              <a:custGeom>
                <a:avLst/>
                <a:gdLst>
                  <a:gd name="T0" fmla="*/ 37 w 148"/>
                  <a:gd name="T1" fmla="*/ 27 h 82"/>
                  <a:gd name="T2" fmla="*/ 28 w 148"/>
                  <a:gd name="T3" fmla="*/ 26 h 82"/>
                  <a:gd name="T4" fmla="*/ 19 w 148"/>
                  <a:gd name="T5" fmla="*/ 24 h 82"/>
                  <a:gd name="T6" fmla="*/ 9 w 148"/>
                  <a:gd name="T7" fmla="*/ 19 h 82"/>
                  <a:gd name="T8" fmla="*/ 0 w 148"/>
                  <a:gd name="T9" fmla="*/ 15 h 82"/>
                  <a:gd name="T10" fmla="*/ 0 w 148"/>
                  <a:gd name="T11" fmla="*/ 9 h 82"/>
                  <a:gd name="T12" fmla="*/ 4 w 148"/>
                  <a:gd name="T13" fmla="*/ 2 h 82"/>
                  <a:gd name="T14" fmla="*/ 5 w 148"/>
                  <a:gd name="T15" fmla="*/ 3 h 82"/>
                  <a:gd name="T16" fmla="*/ 8 w 148"/>
                  <a:gd name="T17" fmla="*/ 0 h 82"/>
                  <a:gd name="T18" fmla="*/ 14 w 148"/>
                  <a:gd name="T19" fmla="*/ 4 h 82"/>
                  <a:gd name="T20" fmla="*/ 25 w 148"/>
                  <a:gd name="T21" fmla="*/ 10 h 82"/>
                  <a:gd name="T22" fmla="*/ 28 w 148"/>
                  <a:gd name="T23" fmla="*/ 10 h 82"/>
                  <a:gd name="T24" fmla="*/ 31 w 148"/>
                  <a:gd name="T25" fmla="*/ 12 h 82"/>
                  <a:gd name="T26" fmla="*/ 38 w 148"/>
                  <a:gd name="T27" fmla="*/ 16 h 82"/>
                  <a:gd name="T28" fmla="*/ 39 w 148"/>
                  <a:gd name="T29" fmla="*/ 17 h 82"/>
                  <a:gd name="T30" fmla="*/ 47 w 148"/>
                  <a:gd name="T31" fmla="*/ 20 h 82"/>
                  <a:gd name="T32" fmla="*/ 54 w 148"/>
                  <a:gd name="T33" fmla="*/ 22 h 82"/>
                  <a:gd name="T34" fmla="*/ 64 w 148"/>
                  <a:gd name="T35" fmla="*/ 22 h 82"/>
                  <a:gd name="T36" fmla="*/ 66 w 148"/>
                  <a:gd name="T37" fmla="*/ 34 h 82"/>
                  <a:gd name="T38" fmla="*/ 58 w 148"/>
                  <a:gd name="T39" fmla="*/ 33 h 82"/>
                  <a:gd name="T40" fmla="*/ 47 w 148"/>
                  <a:gd name="T41" fmla="*/ 32 h 82"/>
                  <a:gd name="T42" fmla="*/ 41 w 148"/>
                  <a:gd name="T43" fmla="*/ 30 h 82"/>
                  <a:gd name="T44" fmla="*/ 37 w 148"/>
                  <a:gd name="T45" fmla="*/ 27 h 82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48" h="82">
                    <a:moveTo>
                      <a:pt x="83" y="65"/>
                    </a:moveTo>
                    <a:lnTo>
                      <a:pt x="62" y="62"/>
                    </a:lnTo>
                    <a:lnTo>
                      <a:pt x="43" y="57"/>
                    </a:lnTo>
                    <a:lnTo>
                      <a:pt x="21" y="45"/>
                    </a:lnTo>
                    <a:lnTo>
                      <a:pt x="0" y="35"/>
                    </a:lnTo>
                    <a:lnTo>
                      <a:pt x="0" y="22"/>
                    </a:lnTo>
                    <a:lnTo>
                      <a:pt x="9" y="5"/>
                    </a:lnTo>
                    <a:lnTo>
                      <a:pt x="11" y="7"/>
                    </a:lnTo>
                    <a:lnTo>
                      <a:pt x="18" y="0"/>
                    </a:lnTo>
                    <a:lnTo>
                      <a:pt x="32" y="9"/>
                    </a:lnTo>
                    <a:lnTo>
                      <a:pt x="55" y="25"/>
                    </a:lnTo>
                    <a:lnTo>
                      <a:pt x="62" y="24"/>
                    </a:lnTo>
                    <a:lnTo>
                      <a:pt x="69" y="30"/>
                    </a:lnTo>
                    <a:lnTo>
                      <a:pt x="85" y="38"/>
                    </a:lnTo>
                    <a:lnTo>
                      <a:pt x="88" y="40"/>
                    </a:lnTo>
                    <a:lnTo>
                      <a:pt x="106" y="48"/>
                    </a:lnTo>
                    <a:lnTo>
                      <a:pt x="120" y="52"/>
                    </a:lnTo>
                    <a:lnTo>
                      <a:pt x="144" y="53"/>
                    </a:lnTo>
                    <a:lnTo>
                      <a:pt x="148" y="82"/>
                    </a:lnTo>
                    <a:lnTo>
                      <a:pt x="130" y="80"/>
                    </a:lnTo>
                    <a:lnTo>
                      <a:pt x="106" y="77"/>
                    </a:lnTo>
                    <a:lnTo>
                      <a:pt x="93" y="73"/>
                    </a:lnTo>
                    <a:lnTo>
                      <a:pt x="83" y="6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12" name="Freeform 142">
                <a:extLst>
                  <a:ext uri="{FF2B5EF4-FFF2-40B4-BE49-F238E27FC236}">
                    <a16:creationId xmlns:a16="http://schemas.microsoft.com/office/drawing/2014/main" id="{9FF25255-C625-4DC1-CA48-AF3D7EA948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47" y="3311"/>
                <a:ext cx="117" cy="119"/>
              </a:xfrm>
              <a:custGeom>
                <a:avLst/>
                <a:gdLst>
                  <a:gd name="T0" fmla="*/ 51 w 266"/>
                  <a:gd name="T1" fmla="*/ 109 h 274"/>
                  <a:gd name="T2" fmla="*/ 59 w 266"/>
                  <a:gd name="T3" fmla="*/ 117 h 274"/>
                  <a:gd name="T4" fmla="*/ 68 w 266"/>
                  <a:gd name="T5" fmla="*/ 117 h 274"/>
                  <a:gd name="T6" fmla="*/ 74 w 266"/>
                  <a:gd name="T7" fmla="*/ 115 h 274"/>
                  <a:gd name="T8" fmla="*/ 85 w 266"/>
                  <a:gd name="T9" fmla="*/ 115 h 274"/>
                  <a:gd name="T10" fmla="*/ 78 w 266"/>
                  <a:gd name="T11" fmla="*/ 102 h 274"/>
                  <a:gd name="T12" fmla="*/ 71 w 266"/>
                  <a:gd name="T13" fmla="*/ 93 h 274"/>
                  <a:gd name="T14" fmla="*/ 78 w 266"/>
                  <a:gd name="T15" fmla="*/ 82 h 274"/>
                  <a:gd name="T16" fmla="*/ 90 w 266"/>
                  <a:gd name="T17" fmla="*/ 75 h 274"/>
                  <a:gd name="T18" fmla="*/ 99 w 266"/>
                  <a:gd name="T19" fmla="*/ 61 h 274"/>
                  <a:gd name="T20" fmla="*/ 100 w 266"/>
                  <a:gd name="T21" fmla="*/ 48 h 274"/>
                  <a:gd name="T22" fmla="*/ 102 w 266"/>
                  <a:gd name="T23" fmla="*/ 41 h 274"/>
                  <a:gd name="T24" fmla="*/ 96 w 266"/>
                  <a:gd name="T25" fmla="*/ 36 h 274"/>
                  <a:gd name="T26" fmla="*/ 95 w 266"/>
                  <a:gd name="T27" fmla="*/ 28 h 274"/>
                  <a:gd name="T28" fmla="*/ 91 w 266"/>
                  <a:gd name="T29" fmla="*/ 22 h 274"/>
                  <a:gd name="T30" fmla="*/ 110 w 266"/>
                  <a:gd name="T31" fmla="*/ 20 h 274"/>
                  <a:gd name="T32" fmla="*/ 107 w 266"/>
                  <a:gd name="T33" fmla="*/ 11 h 274"/>
                  <a:gd name="T34" fmla="*/ 98 w 266"/>
                  <a:gd name="T35" fmla="*/ 3 h 274"/>
                  <a:gd name="T36" fmla="*/ 80 w 266"/>
                  <a:gd name="T37" fmla="*/ 2 h 274"/>
                  <a:gd name="T38" fmla="*/ 67 w 266"/>
                  <a:gd name="T39" fmla="*/ 10 h 274"/>
                  <a:gd name="T40" fmla="*/ 69 w 266"/>
                  <a:gd name="T41" fmla="*/ 24 h 274"/>
                  <a:gd name="T42" fmla="*/ 62 w 266"/>
                  <a:gd name="T43" fmla="*/ 28 h 274"/>
                  <a:gd name="T44" fmla="*/ 60 w 266"/>
                  <a:gd name="T45" fmla="*/ 38 h 274"/>
                  <a:gd name="T46" fmla="*/ 51 w 266"/>
                  <a:gd name="T47" fmla="*/ 48 h 274"/>
                  <a:gd name="T48" fmla="*/ 42 w 266"/>
                  <a:gd name="T49" fmla="*/ 53 h 274"/>
                  <a:gd name="T50" fmla="*/ 41 w 266"/>
                  <a:gd name="T51" fmla="*/ 65 h 274"/>
                  <a:gd name="T52" fmla="*/ 25 w 266"/>
                  <a:gd name="T53" fmla="*/ 69 h 274"/>
                  <a:gd name="T54" fmla="*/ 7 w 266"/>
                  <a:gd name="T55" fmla="*/ 66 h 274"/>
                  <a:gd name="T56" fmla="*/ 5 w 266"/>
                  <a:gd name="T57" fmla="*/ 71 h 274"/>
                  <a:gd name="T58" fmla="*/ 17 w 266"/>
                  <a:gd name="T59" fmla="*/ 79 h 274"/>
                  <a:gd name="T60" fmla="*/ 22 w 266"/>
                  <a:gd name="T61" fmla="*/ 89 h 274"/>
                  <a:gd name="T62" fmla="*/ 15 w 266"/>
                  <a:gd name="T63" fmla="*/ 96 h 274"/>
                  <a:gd name="T64" fmla="*/ 11 w 266"/>
                  <a:gd name="T65" fmla="*/ 107 h 274"/>
                  <a:gd name="T66" fmla="*/ 26 w 266"/>
                  <a:gd name="T67" fmla="*/ 105 h 274"/>
                  <a:gd name="T68" fmla="*/ 40 w 266"/>
                  <a:gd name="T69" fmla="*/ 105 h 27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66" h="274">
                    <a:moveTo>
                      <a:pt x="110" y="239"/>
                    </a:moveTo>
                    <a:lnTo>
                      <a:pt x="117" y="251"/>
                    </a:lnTo>
                    <a:lnTo>
                      <a:pt x="122" y="254"/>
                    </a:lnTo>
                    <a:lnTo>
                      <a:pt x="133" y="269"/>
                    </a:lnTo>
                    <a:lnTo>
                      <a:pt x="145" y="274"/>
                    </a:lnTo>
                    <a:lnTo>
                      <a:pt x="155" y="269"/>
                    </a:lnTo>
                    <a:lnTo>
                      <a:pt x="155" y="264"/>
                    </a:lnTo>
                    <a:lnTo>
                      <a:pt x="169" y="264"/>
                    </a:lnTo>
                    <a:lnTo>
                      <a:pt x="187" y="261"/>
                    </a:lnTo>
                    <a:lnTo>
                      <a:pt x="193" y="264"/>
                    </a:lnTo>
                    <a:lnTo>
                      <a:pt x="184" y="236"/>
                    </a:lnTo>
                    <a:lnTo>
                      <a:pt x="178" y="236"/>
                    </a:lnTo>
                    <a:lnTo>
                      <a:pt x="173" y="219"/>
                    </a:lnTo>
                    <a:lnTo>
                      <a:pt x="161" y="213"/>
                    </a:lnTo>
                    <a:lnTo>
                      <a:pt x="170" y="188"/>
                    </a:lnTo>
                    <a:lnTo>
                      <a:pt x="178" y="189"/>
                    </a:lnTo>
                    <a:lnTo>
                      <a:pt x="193" y="189"/>
                    </a:lnTo>
                    <a:lnTo>
                      <a:pt x="204" y="173"/>
                    </a:lnTo>
                    <a:lnTo>
                      <a:pt x="216" y="155"/>
                    </a:lnTo>
                    <a:lnTo>
                      <a:pt x="224" y="140"/>
                    </a:lnTo>
                    <a:lnTo>
                      <a:pt x="232" y="125"/>
                    </a:lnTo>
                    <a:lnTo>
                      <a:pt x="227" y="110"/>
                    </a:lnTo>
                    <a:lnTo>
                      <a:pt x="240" y="102"/>
                    </a:lnTo>
                    <a:lnTo>
                      <a:pt x="232" y="95"/>
                    </a:lnTo>
                    <a:lnTo>
                      <a:pt x="224" y="87"/>
                    </a:lnTo>
                    <a:lnTo>
                      <a:pt x="218" y="83"/>
                    </a:lnTo>
                    <a:lnTo>
                      <a:pt x="212" y="72"/>
                    </a:lnTo>
                    <a:lnTo>
                      <a:pt x="215" y="65"/>
                    </a:lnTo>
                    <a:lnTo>
                      <a:pt x="206" y="57"/>
                    </a:lnTo>
                    <a:lnTo>
                      <a:pt x="206" y="50"/>
                    </a:lnTo>
                    <a:lnTo>
                      <a:pt x="230" y="52"/>
                    </a:lnTo>
                    <a:lnTo>
                      <a:pt x="249" y="47"/>
                    </a:lnTo>
                    <a:lnTo>
                      <a:pt x="266" y="32"/>
                    </a:lnTo>
                    <a:lnTo>
                      <a:pt x="243" y="25"/>
                    </a:lnTo>
                    <a:lnTo>
                      <a:pt x="230" y="19"/>
                    </a:lnTo>
                    <a:lnTo>
                      <a:pt x="223" y="7"/>
                    </a:lnTo>
                    <a:lnTo>
                      <a:pt x="203" y="0"/>
                    </a:lnTo>
                    <a:lnTo>
                      <a:pt x="182" y="5"/>
                    </a:lnTo>
                    <a:lnTo>
                      <a:pt x="161" y="9"/>
                    </a:lnTo>
                    <a:lnTo>
                      <a:pt x="152" y="24"/>
                    </a:lnTo>
                    <a:lnTo>
                      <a:pt x="161" y="40"/>
                    </a:lnTo>
                    <a:lnTo>
                      <a:pt x="158" y="55"/>
                    </a:lnTo>
                    <a:lnTo>
                      <a:pt x="155" y="65"/>
                    </a:lnTo>
                    <a:lnTo>
                      <a:pt x="141" y="65"/>
                    </a:lnTo>
                    <a:lnTo>
                      <a:pt x="150" y="77"/>
                    </a:lnTo>
                    <a:lnTo>
                      <a:pt x="136" y="88"/>
                    </a:lnTo>
                    <a:lnTo>
                      <a:pt x="134" y="111"/>
                    </a:lnTo>
                    <a:lnTo>
                      <a:pt x="117" y="110"/>
                    </a:lnTo>
                    <a:lnTo>
                      <a:pt x="113" y="116"/>
                    </a:lnTo>
                    <a:lnTo>
                      <a:pt x="96" y="123"/>
                    </a:lnTo>
                    <a:lnTo>
                      <a:pt x="94" y="140"/>
                    </a:lnTo>
                    <a:lnTo>
                      <a:pt x="94" y="150"/>
                    </a:lnTo>
                    <a:lnTo>
                      <a:pt x="74" y="153"/>
                    </a:lnTo>
                    <a:lnTo>
                      <a:pt x="57" y="158"/>
                    </a:lnTo>
                    <a:lnTo>
                      <a:pt x="29" y="158"/>
                    </a:lnTo>
                    <a:lnTo>
                      <a:pt x="15" y="153"/>
                    </a:lnTo>
                    <a:lnTo>
                      <a:pt x="0" y="148"/>
                    </a:lnTo>
                    <a:lnTo>
                      <a:pt x="12" y="163"/>
                    </a:lnTo>
                    <a:lnTo>
                      <a:pt x="25" y="176"/>
                    </a:lnTo>
                    <a:lnTo>
                      <a:pt x="39" y="183"/>
                    </a:lnTo>
                    <a:lnTo>
                      <a:pt x="45" y="203"/>
                    </a:lnTo>
                    <a:lnTo>
                      <a:pt x="49" y="206"/>
                    </a:lnTo>
                    <a:lnTo>
                      <a:pt x="49" y="216"/>
                    </a:lnTo>
                    <a:lnTo>
                      <a:pt x="35" y="221"/>
                    </a:lnTo>
                    <a:lnTo>
                      <a:pt x="28" y="229"/>
                    </a:lnTo>
                    <a:lnTo>
                      <a:pt x="26" y="246"/>
                    </a:lnTo>
                    <a:lnTo>
                      <a:pt x="43" y="246"/>
                    </a:lnTo>
                    <a:lnTo>
                      <a:pt x="59" y="242"/>
                    </a:lnTo>
                    <a:lnTo>
                      <a:pt x="73" y="242"/>
                    </a:lnTo>
                    <a:lnTo>
                      <a:pt x="91" y="241"/>
                    </a:lnTo>
                    <a:lnTo>
                      <a:pt x="110" y="23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13" name="Freeform 143">
                <a:extLst>
                  <a:ext uri="{FF2B5EF4-FFF2-40B4-BE49-F238E27FC236}">
                    <a16:creationId xmlns:a16="http://schemas.microsoft.com/office/drawing/2014/main" id="{0C0F922F-A402-1678-9290-54F026CD6A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69" y="3359"/>
                <a:ext cx="88" cy="89"/>
              </a:xfrm>
              <a:custGeom>
                <a:avLst/>
                <a:gdLst>
                  <a:gd name="T0" fmla="*/ 70 w 199"/>
                  <a:gd name="T1" fmla="*/ 33 h 204"/>
                  <a:gd name="T2" fmla="*/ 65 w 199"/>
                  <a:gd name="T3" fmla="*/ 24 h 204"/>
                  <a:gd name="T4" fmla="*/ 60 w 199"/>
                  <a:gd name="T5" fmla="*/ 16 h 204"/>
                  <a:gd name="T6" fmla="*/ 58 w 199"/>
                  <a:gd name="T7" fmla="*/ 17 h 204"/>
                  <a:gd name="T8" fmla="*/ 62 w 199"/>
                  <a:gd name="T9" fmla="*/ 24 h 204"/>
                  <a:gd name="T10" fmla="*/ 65 w 199"/>
                  <a:gd name="T11" fmla="*/ 31 h 204"/>
                  <a:gd name="T12" fmla="*/ 68 w 199"/>
                  <a:gd name="T13" fmla="*/ 37 h 204"/>
                  <a:gd name="T14" fmla="*/ 73 w 199"/>
                  <a:gd name="T15" fmla="*/ 44 h 204"/>
                  <a:gd name="T16" fmla="*/ 75 w 199"/>
                  <a:gd name="T17" fmla="*/ 50 h 204"/>
                  <a:gd name="T18" fmla="*/ 79 w 199"/>
                  <a:gd name="T19" fmla="*/ 57 h 204"/>
                  <a:gd name="T20" fmla="*/ 84 w 199"/>
                  <a:gd name="T21" fmla="*/ 62 h 204"/>
                  <a:gd name="T22" fmla="*/ 88 w 199"/>
                  <a:gd name="T23" fmla="*/ 69 h 204"/>
                  <a:gd name="T24" fmla="*/ 87 w 199"/>
                  <a:gd name="T25" fmla="*/ 69 h 204"/>
                  <a:gd name="T26" fmla="*/ 88 w 199"/>
                  <a:gd name="T27" fmla="*/ 77 h 204"/>
                  <a:gd name="T28" fmla="*/ 85 w 199"/>
                  <a:gd name="T29" fmla="*/ 80 h 204"/>
                  <a:gd name="T30" fmla="*/ 83 w 199"/>
                  <a:gd name="T31" fmla="*/ 79 h 204"/>
                  <a:gd name="T32" fmla="*/ 80 w 199"/>
                  <a:gd name="T33" fmla="*/ 85 h 204"/>
                  <a:gd name="T34" fmla="*/ 77 w 199"/>
                  <a:gd name="T35" fmla="*/ 85 h 204"/>
                  <a:gd name="T36" fmla="*/ 75 w 199"/>
                  <a:gd name="T37" fmla="*/ 89 h 204"/>
                  <a:gd name="T38" fmla="*/ 65 w 199"/>
                  <a:gd name="T39" fmla="*/ 89 h 204"/>
                  <a:gd name="T40" fmla="*/ 55 w 199"/>
                  <a:gd name="T41" fmla="*/ 87 h 204"/>
                  <a:gd name="T42" fmla="*/ 55 w 199"/>
                  <a:gd name="T43" fmla="*/ 85 h 204"/>
                  <a:gd name="T44" fmla="*/ 54 w 199"/>
                  <a:gd name="T45" fmla="*/ 87 h 204"/>
                  <a:gd name="T46" fmla="*/ 48 w 199"/>
                  <a:gd name="T47" fmla="*/ 87 h 204"/>
                  <a:gd name="T48" fmla="*/ 42 w 199"/>
                  <a:gd name="T49" fmla="*/ 87 h 204"/>
                  <a:gd name="T50" fmla="*/ 35 w 199"/>
                  <a:gd name="T51" fmla="*/ 87 h 204"/>
                  <a:gd name="T52" fmla="*/ 29 w 199"/>
                  <a:gd name="T53" fmla="*/ 87 h 204"/>
                  <a:gd name="T54" fmla="*/ 23 w 199"/>
                  <a:gd name="T55" fmla="*/ 87 h 204"/>
                  <a:gd name="T56" fmla="*/ 17 w 199"/>
                  <a:gd name="T57" fmla="*/ 87 h 204"/>
                  <a:gd name="T58" fmla="*/ 11 w 199"/>
                  <a:gd name="T59" fmla="*/ 87 h 204"/>
                  <a:gd name="T60" fmla="*/ 5 w 199"/>
                  <a:gd name="T61" fmla="*/ 87 h 204"/>
                  <a:gd name="T62" fmla="*/ 4 w 199"/>
                  <a:gd name="T63" fmla="*/ 79 h 204"/>
                  <a:gd name="T64" fmla="*/ 4 w 199"/>
                  <a:gd name="T65" fmla="*/ 70 h 204"/>
                  <a:gd name="T66" fmla="*/ 3 w 199"/>
                  <a:gd name="T67" fmla="*/ 62 h 204"/>
                  <a:gd name="T68" fmla="*/ 3 w 199"/>
                  <a:gd name="T69" fmla="*/ 53 h 204"/>
                  <a:gd name="T70" fmla="*/ 2 w 199"/>
                  <a:gd name="T71" fmla="*/ 45 h 204"/>
                  <a:gd name="T72" fmla="*/ 2 w 199"/>
                  <a:gd name="T73" fmla="*/ 36 h 204"/>
                  <a:gd name="T74" fmla="*/ 0 w 199"/>
                  <a:gd name="T75" fmla="*/ 27 h 204"/>
                  <a:gd name="T76" fmla="*/ 0 w 199"/>
                  <a:gd name="T77" fmla="*/ 20 h 204"/>
                  <a:gd name="T78" fmla="*/ 0 w 199"/>
                  <a:gd name="T79" fmla="*/ 13 h 204"/>
                  <a:gd name="T80" fmla="*/ 0 w 199"/>
                  <a:gd name="T81" fmla="*/ 6 h 204"/>
                  <a:gd name="T82" fmla="*/ 0 w 199"/>
                  <a:gd name="T83" fmla="*/ 0 h 204"/>
                  <a:gd name="T84" fmla="*/ 7 w 199"/>
                  <a:gd name="T85" fmla="*/ 0 h 204"/>
                  <a:gd name="T86" fmla="*/ 18 w 199"/>
                  <a:gd name="T87" fmla="*/ 4 h 204"/>
                  <a:gd name="T88" fmla="*/ 29 w 199"/>
                  <a:gd name="T89" fmla="*/ 7 h 204"/>
                  <a:gd name="T90" fmla="*/ 41 w 199"/>
                  <a:gd name="T91" fmla="*/ 3 h 204"/>
                  <a:gd name="T92" fmla="*/ 46 w 199"/>
                  <a:gd name="T93" fmla="*/ 1 h 204"/>
                  <a:gd name="T94" fmla="*/ 44 w 199"/>
                  <a:gd name="T95" fmla="*/ 2 h 204"/>
                  <a:gd name="T96" fmla="*/ 47 w 199"/>
                  <a:gd name="T97" fmla="*/ 1 h 204"/>
                  <a:gd name="T98" fmla="*/ 54 w 199"/>
                  <a:gd name="T99" fmla="*/ 3 h 204"/>
                  <a:gd name="T100" fmla="*/ 56 w 199"/>
                  <a:gd name="T101" fmla="*/ 5 h 204"/>
                  <a:gd name="T102" fmla="*/ 60 w 199"/>
                  <a:gd name="T103" fmla="*/ 6 h 204"/>
                  <a:gd name="T104" fmla="*/ 71 w 199"/>
                  <a:gd name="T105" fmla="*/ 3 h 204"/>
                  <a:gd name="T106" fmla="*/ 74 w 199"/>
                  <a:gd name="T107" fmla="*/ 11 h 204"/>
                  <a:gd name="T108" fmla="*/ 78 w 199"/>
                  <a:gd name="T109" fmla="*/ 20 h 204"/>
                  <a:gd name="T110" fmla="*/ 76 w 199"/>
                  <a:gd name="T111" fmla="*/ 27 h 204"/>
                  <a:gd name="T112" fmla="*/ 74 w 199"/>
                  <a:gd name="T113" fmla="*/ 34 h 204"/>
                  <a:gd name="T114" fmla="*/ 70 w 199"/>
                  <a:gd name="T115" fmla="*/ 33 h 20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99" h="204">
                    <a:moveTo>
                      <a:pt x="158" y="75"/>
                    </a:moveTo>
                    <a:lnTo>
                      <a:pt x="147" y="55"/>
                    </a:lnTo>
                    <a:lnTo>
                      <a:pt x="136" y="37"/>
                    </a:lnTo>
                    <a:lnTo>
                      <a:pt x="131" y="40"/>
                    </a:lnTo>
                    <a:lnTo>
                      <a:pt x="140" y="55"/>
                    </a:lnTo>
                    <a:lnTo>
                      <a:pt x="147" y="70"/>
                    </a:lnTo>
                    <a:lnTo>
                      <a:pt x="154" y="85"/>
                    </a:lnTo>
                    <a:lnTo>
                      <a:pt x="164" y="100"/>
                    </a:lnTo>
                    <a:lnTo>
                      <a:pt x="170" y="115"/>
                    </a:lnTo>
                    <a:lnTo>
                      <a:pt x="178" y="130"/>
                    </a:lnTo>
                    <a:lnTo>
                      <a:pt x="190" y="143"/>
                    </a:lnTo>
                    <a:lnTo>
                      <a:pt x="199" y="158"/>
                    </a:lnTo>
                    <a:lnTo>
                      <a:pt x="196" y="158"/>
                    </a:lnTo>
                    <a:lnTo>
                      <a:pt x="198" y="176"/>
                    </a:lnTo>
                    <a:lnTo>
                      <a:pt x="192" y="183"/>
                    </a:lnTo>
                    <a:lnTo>
                      <a:pt x="187" y="181"/>
                    </a:lnTo>
                    <a:lnTo>
                      <a:pt x="182" y="194"/>
                    </a:lnTo>
                    <a:lnTo>
                      <a:pt x="173" y="194"/>
                    </a:lnTo>
                    <a:lnTo>
                      <a:pt x="170" y="204"/>
                    </a:lnTo>
                    <a:lnTo>
                      <a:pt x="147" y="203"/>
                    </a:lnTo>
                    <a:lnTo>
                      <a:pt x="125" y="199"/>
                    </a:lnTo>
                    <a:lnTo>
                      <a:pt x="125" y="194"/>
                    </a:lnTo>
                    <a:lnTo>
                      <a:pt x="122" y="199"/>
                    </a:lnTo>
                    <a:lnTo>
                      <a:pt x="108" y="199"/>
                    </a:lnTo>
                    <a:lnTo>
                      <a:pt x="94" y="199"/>
                    </a:lnTo>
                    <a:lnTo>
                      <a:pt x="80" y="199"/>
                    </a:lnTo>
                    <a:lnTo>
                      <a:pt x="66" y="199"/>
                    </a:lnTo>
                    <a:lnTo>
                      <a:pt x="52" y="199"/>
                    </a:lnTo>
                    <a:lnTo>
                      <a:pt x="38" y="199"/>
                    </a:lnTo>
                    <a:lnTo>
                      <a:pt x="24" y="199"/>
                    </a:lnTo>
                    <a:lnTo>
                      <a:pt x="11" y="199"/>
                    </a:lnTo>
                    <a:lnTo>
                      <a:pt x="9" y="180"/>
                    </a:lnTo>
                    <a:lnTo>
                      <a:pt x="9" y="161"/>
                    </a:lnTo>
                    <a:lnTo>
                      <a:pt x="7" y="141"/>
                    </a:lnTo>
                    <a:lnTo>
                      <a:pt x="6" y="121"/>
                    </a:lnTo>
                    <a:lnTo>
                      <a:pt x="4" y="102"/>
                    </a:lnTo>
                    <a:lnTo>
                      <a:pt x="4" y="83"/>
                    </a:lnTo>
                    <a:lnTo>
                      <a:pt x="1" y="63"/>
                    </a:lnTo>
                    <a:lnTo>
                      <a:pt x="1" y="45"/>
                    </a:lnTo>
                    <a:lnTo>
                      <a:pt x="1" y="29"/>
                    </a:lnTo>
                    <a:lnTo>
                      <a:pt x="0" y="14"/>
                    </a:lnTo>
                    <a:lnTo>
                      <a:pt x="1" y="0"/>
                    </a:lnTo>
                    <a:lnTo>
                      <a:pt x="15" y="0"/>
                    </a:lnTo>
                    <a:lnTo>
                      <a:pt x="41" y="9"/>
                    </a:lnTo>
                    <a:lnTo>
                      <a:pt x="66" y="15"/>
                    </a:lnTo>
                    <a:lnTo>
                      <a:pt x="93" y="7"/>
                    </a:lnTo>
                    <a:lnTo>
                      <a:pt x="103" y="2"/>
                    </a:lnTo>
                    <a:lnTo>
                      <a:pt x="99" y="5"/>
                    </a:lnTo>
                    <a:lnTo>
                      <a:pt x="106" y="2"/>
                    </a:lnTo>
                    <a:lnTo>
                      <a:pt x="122" y="7"/>
                    </a:lnTo>
                    <a:lnTo>
                      <a:pt x="127" y="12"/>
                    </a:lnTo>
                    <a:lnTo>
                      <a:pt x="136" y="14"/>
                    </a:lnTo>
                    <a:lnTo>
                      <a:pt x="161" y="7"/>
                    </a:lnTo>
                    <a:lnTo>
                      <a:pt x="167" y="25"/>
                    </a:lnTo>
                    <a:lnTo>
                      <a:pt x="176" y="45"/>
                    </a:lnTo>
                    <a:lnTo>
                      <a:pt x="171" y="62"/>
                    </a:lnTo>
                    <a:lnTo>
                      <a:pt x="167" y="78"/>
                    </a:lnTo>
                    <a:lnTo>
                      <a:pt x="158" y="7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14" name="Freeform 144">
                <a:extLst>
                  <a:ext uri="{FF2B5EF4-FFF2-40B4-BE49-F238E27FC236}">
                    <a16:creationId xmlns:a16="http://schemas.microsoft.com/office/drawing/2014/main" id="{F73519E9-D139-EAB2-7907-4938DDA207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11" y="3324"/>
                <a:ext cx="220" cy="248"/>
              </a:xfrm>
              <a:custGeom>
                <a:avLst/>
                <a:gdLst>
                  <a:gd name="T0" fmla="*/ 38 w 497"/>
                  <a:gd name="T1" fmla="*/ 9 h 565"/>
                  <a:gd name="T2" fmla="*/ 31 w 497"/>
                  <a:gd name="T3" fmla="*/ 15 h 565"/>
                  <a:gd name="T4" fmla="*/ 35 w 497"/>
                  <a:gd name="T5" fmla="*/ 24 h 565"/>
                  <a:gd name="T6" fmla="*/ 36 w 497"/>
                  <a:gd name="T7" fmla="*/ 35 h 565"/>
                  <a:gd name="T8" fmla="*/ 31 w 497"/>
                  <a:gd name="T9" fmla="*/ 54 h 565"/>
                  <a:gd name="T10" fmla="*/ 15 w 497"/>
                  <a:gd name="T11" fmla="*/ 69 h 565"/>
                  <a:gd name="T12" fmla="*/ 12 w 497"/>
                  <a:gd name="T13" fmla="*/ 82 h 565"/>
                  <a:gd name="T14" fmla="*/ 21 w 497"/>
                  <a:gd name="T15" fmla="*/ 101 h 565"/>
                  <a:gd name="T16" fmla="*/ 4 w 497"/>
                  <a:gd name="T17" fmla="*/ 101 h 565"/>
                  <a:gd name="T18" fmla="*/ 0 w 497"/>
                  <a:gd name="T19" fmla="*/ 106 h 565"/>
                  <a:gd name="T20" fmla="*/ 9 w 497"/>
                  <a:gd name="T21" fmla="*/ 114 h 565"/>
                  <a:gd name="T22" fmla="*/ 12 w 497"/>
                  <a:gd name="T23" fmla="*/ 119 h 565"/>
                  <a:gd name="T24" fmla="*/ 22 w 497"/>
                  <a:gd name="T25" fmla="*/ 133 h 565"/>
                  <a:gd name="T26" fmla="*/ 35 w 497"/>
                  <a:gd name="T27" fmla="*/ 120 h 565"/>
                  <a:gd name="T28" fmla="*/ 36 w 497"/>
                  <a:gd name="T29" fmla="*/ 124 h 565"/>
                  <a:gd name="T30" fmla="*/ 39 w 497"/>
                  <a:gd name="T31" fmla="*/ 131 h 565"/>
                  <a:gd name="T32" fmla="*/ 42 w 497"/>
                  <a:gd name="T33" fmla="*/ 149 h 565"/>
                  <a:gd name="T34" fmla="*/ 48 w 497"/>
                  <a:gd name="T35" fmla="*/ 171 h 565"/>
                  <a:gd name="T36" fmla="*/ 58 w 497"/>
                  <a:gd name="T37" fmla="*/ 193 h 565"/>
                  <a:gd name="T38" fmla="*/ 69 w 497"/>
                  <a:gd name="T39" fmla="*/ 218 h 565"/>
                  <a:gd name="T40" fmla="*/ 79 w 497"/>
                  <a:gd name="T41" fmla="*/ 239 h 565"/>
                  <a:gd name="T42" fmla="*/ 91 w 497"/>
                  <a:gd name="T43" fmla="*/ 243 h 565"/>
                  <a:gd name="T44" fmla="*/ 97 w 497"/>
                  <a:gd name="T45" fmla="*/ 234 h 565"/>
                  <a:gd name="T46" fmla="*/ 104 w 497"/>
                  <a:gd name="T47" fmla="*/ 220 h 565"/>
                  <a:gd name="T48" fmla="*/ 106 w 497"/>
                  <a:gd name="T49" fmla="*/ 199 h 565"/>
                  <a:gd name="T50" fmla="*/ 107 w 497"/>
                  <a:gd name="T51" fmla="*/ 178 h 565"/>
                  <a:gd name="T52" fmla="*/ 112 w 497"/>
                  <a:gd name="T53" fmla="*/ 173 h 565"/>
                  <a:gd name="T54" fmla="*/ 127 w 497"/>
                  <a:gd name="T55" fmla="*/ 157 h 565"/>
                  <a:gd name="T56" fmla="*/ 146 w 497"/>
                  <a:gd name="T57" fmla="*/ 140 h 565"/>
                  <a:gd name="T58" fmla="*/ 158 w 497"/>
                  <a:gd name="T59" fmla="*/ 122 h 565"/>
                  <a:gd name="T60" fmla="*/ 165 w 497"/>
                  <a:gd name="T61" fmla="*/ 125 h 565"/>
                  <a:gd name="T62" fmla="*/ 164 w 497"/>
                  <a:gd name="T63" fmla="*/ 115 h 565"/>
                  <a:gd name="T64" fmla="*/ 155 w 497"/>
                  <a:gd name="T65" fmla="*/ 99 h 565"/>
                  <a:gd name="T66" fmla="*/ 154 w 497"/>
                  <a:gd name="T67" fmla="*/ 88 h 565"/>
                  <a:gd name="T68" fmla="*/ 162 w 497"/>
                  <a:gd name="T69" fmla="*/ 86 h 565"/>
                  <a:gd name="T70" fmla="*/ 176 w 497"/>
                  <a:gd name="T71" fmla="*/ 92 h 565"/>
                  <a:gd name="T72" fmla="*/ 186 w 497"/>
                  <a:gd name="T73" fmla="*/ 101 h 565"/>
                  <a:gd name="T74" fmla="*/ 185 w 497"/>
                  <a:gd name="T75" fmla="*/ 114 h 565"/>
                  <a:gd name="T76" fmla="*/ 194 w 497"/>
                  <a:gd name="T77" fmla="*/ 122 h 565"/>
                  <a:gd name="T78" fmla="*/ 197 w 497"/>
                  <a:gd name="T79" fmla="*/ 105 h 565"/>
                  <a:gd name="T80" fmla="*/ 205 w 497"/>
                  <a:gd name="T81" fmla="*/ 90 h 565"/>
                  <a:gd name="T82" fmla="*/ 219 w 497"/>
                  <a:gd name="T83" fmla="*/ 75 h 565"/>
                  <a:gd name="T84" fmla="*/ 220 w 497"/>
                  <a:gd name="T85" fmla="*/ 66 h 565"/>
                  <a:gd name="T86" fmla="*/ 209 w 497"/>
                  <a:gd name="T87" fmla="*/ 58 h 565"/>
                  <a:gd name="T88" fmla="*/ 201 w 497"/>
                  <a:gd name="T89" fmla="*/ 58 h 565"/>
                  <a:gd name="T90" fmla="*/ 185 w 497"/>
                  <a:gd name="T91" fmla="*/ 67 h 565"/>
                  <a:gd name="T92" fmla="*/ 182 w 497"/>
                  <a:gd name="T93" fmla="*/ 78 h 565"/>
                  <a:gd name="T94" fmla="*/ 158 w 497"/>
                  <a:gd name="T95" fmla="*/ 78 h 565"/>
                  <a:gd name="T96" fmla="*/ 150 w 497"/>
                  <a:gd name="T97" fmla="*/ 69 h 565"/>
                  <a:gd name="T98" fmla="*/ 133 w 497"/>
                  <a:gd name="T99" fmla="*/ 80 h 565"/>
                  <a:gd name="T100" fmla="*/ 113 w 497"/>
                  <a:gd name="T101" fmla="*/ 73 h 565"/>
                  <a:gd name="T102" fmla="*/ 86 w 497"/>
                  <a:gd name="T103" fmla="*/ 61 h 565"/>
                  <a:gd name="T104" fmla="*/ 83 w 497"/>
                  <a:gd name="T105" fmla="*/ 43 h 565"/>
                  <a:gd name="T106" fmla="*/ 66 w 497"/>
                  <a:gd name="T107" fmla="*/ 27 h 565"/>
                  <a:gd name="T108" fmla="*/ 67 w 497"/>
                  <a:gd name="T109" fmla="*/ 18 h 565"/>
                  <a:gd name="T110" fmla="*/ 66 w 497"/>
                  <a:gd name="T111" fmla="*/ 11 h 565"/>
                  <a:gd name="T112" fmla="*/ 64 w 497"/>
                  <a:gd name="T113" fmla="*/ 6 h 565"/>
                  <a:gd name="T114" fmla="*/ 56 w 497"/>
                  <a:gd name="T115" fmla="*/ 1 h 565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497" h="565">
                    <a:moveTo>
                      <a:pt x="121" y="0"/>
                    </a:moveTo>
                    <a:lnTo>
                      <a:pt x="104" y="15"/>
                    </a:lnTo>
                    <a:lnTo>
                      <a:pt x="85" y="20"/>
                    </a:lnTo>
                    <a:lnTo>
                      <a:pt x="61" y="18"/>
                    </a:lnTo>
                    <a:lnTo>
                      <a:pt x="61" y="25"/>
                    </a:lnTo>
                    <a:lnTo>
                      <a:pt x="70" y="35"/>
                    </a:lnTo>
                    <a:lnTo>
                      <a:pt x="67" y="40"/>
                    </a:lnTo>
                    <a:lnTo>
                      <a:pt x="73" y="51"/>
                    </a:lnTo>
                    <a:lnTo>
                      <a:pt x="79" y="55"/>
                    </a:lnTo>
                    <a:lnTo>
                      <a:pt x="87" y="65"/>
                    </a:lnTo>
                    <a:lnTo>
                      <a:pt x="95" y="70"/>
                    </a:lnTo>
                    <a:lnTo>
                      <a:pt x="82" y="79"/>
                    </a:lnTo>
                    <a:lnTo>
                      <a:pt x="87" y="94"/>
                    </a:lnTo>
                    <a:lnTo>
                      <a:pt x="79" y="108"/>
                    </a:lnTo>
                    <a:lnTo>
                      <a:pt x="71" y="123"/>
                    </a:lnTo>
                    <a:lnTo>
                      <a:pt x="59" y="141"/>
                    </a:lnTo>
                    <a:lnTo>
                      <a:pt x="48" y="157"/>
                    </a:lnTo>
                    <a:lnTo>
                      <a:pt x="33" y="157"/>
                    </a:lnTo>
                    <a:lnTo>
                      <a:pt x="25" y="156"/>
                    </a:lnTo>
                    <a:lnTo>
                      <a:pt x="16" y="181"/>
                    </a:lnTo>
                    <a:lnTo>
                      <a:pt x="28" y="187"/>
                    </a:lnTo>
                    <a:lnTo>
                      <a:pt x="33" y="204"/>
                    </a:lnTo>
                    <a:lnTo>
                      <a:pt x="39" y="204"/>
                    </a:lnTo>
                    <a:lnTo>
                      <a:pt x="48" y="230"/>
                    </a:lnTo>
                    <a:lnTo>
                      <a:pt x="42" y="229"/>
                    </a:lnTo>
                    <a:lnTo>
                      <a:pt x="24" y="232"/>
                    </a:lnTo>
                    <a:lnTo>
                      <a:pt x="8" y="230"/>
                    </a:lnTo>
                    <a:lnTo>
                      <a:pt x="10" y="237"/>
                    </a:lnTo>
                    <a:lnTo>
                      <a:pt x="0" y="242"/>
                    </a:lnTo>
                    <a:lnTo>
                      <a:pt x="8" y="240"/>
                    </a:lnTo>
                    <a:lnTo>
                      <a:pt x="5" y="245"/>
                    </a:lnTo>
                    <a:lnTo>
                      <a:pt x="20" y="260"/>
                    </a:lnTo>
                    <a:lnTo>
                      <a:pt x="42" y="259"/>
                    </a:lnTo>
                    <a:lnTo>
                      <a:pt x="41" y="262"/>
                    </a:lnTo>
                    <a:lnTo>
                      <a:pt x="28" y="270"/>
                    </a:lnTo>
                    <a:lnTo>
                      <a:pt x="19" y="268"/>
                    </a:lnTo>
                    <a:lnTo>
                      <a:pt x="33" y="287"/>
                    </a:lnTo>
                    <a:lnTo>
                      <a:pt x="50" y="303"/>
                    </a:lnTo>
                    <a:lnTo>
                      <a:pt x="75" y="297"/>
                    </a:lnTo>
                    <a:lnTo>
                      <a:pt x="76" y="283"/>
                    </a:lnTo>
                    <a:lnTo>
                      <a:pt x="78" y="273"/>
                    </a:lnTo>
                    <a:lnTo>
                      <a:pt x="85" y="273"/>
                    </a:lnTo>
                    <a:lnTo>
                      <a:pt x="82" y="278"/>
                    </a:lnTo>
                    <a:lnTo>
                      <a:pt x="82" y="283"/>
                    </a:lnTo>
                    <a:lnTo>
                      <a:pt x="93" y="283"/>
                    </a:lnTo>
                    <a:lnTo>
                      <a:pt x="85" y="290"/>
                    </a:lnTo>
                    <a:lnTo>
                      <a:pt x="89" y="298"/>
                    </a:lnTo>
                    <a:lnTo>
                      <a:pt x="90" y="313"/>
                    </a:lnTo>
                    <a:lnTo>
                      <a:pt x="93" y="335"/>
                    </a:lnTo>
                    <a:lnTo>
                      <a:pt x="95" y="340"/>
                    </a:lnTo>
                    <a:lnTo>
                      <a:pt x="96" y="345"/>
                    </a:lnTo>
                    <a:lnTo>
                      <a:pt x="102" y="370"/>
                    </a:lnTo>
                    <a:lnTo>
                      <a:pt x="109" y="389"/>
                    </a:lnTo>
                    <a:lnTo>
                      <a:pt x="116" y="409"/>
                    </a:lnTo>
                    <a:lnTo>
                      <a:pt x="121" y="414"/>
                    </a:lnTo>
                    <a:lnTo>
                      <a:pt x="130" y="439"/>
                    </a:lnTo>
                    <a:lnTo>
                      <a:pt x="140" y="462"/>
                    </a:lnTo>
                    <a:lnTo>
                      <a:pt x="147" y="479"/>
                    </a:lnTo>
                    <a:lnTo>
                      <a:pt x="155" y="496"/>
                    </a:lnTo>
                    <a:lnTo>
                      <a:pt x="164" y="512"/>
                    </a:lnTo>
                    <a:lnTo>
                      <a:pt x="171" y="529"/>
                    </a:lnTo>
                    <a:lnTo>
                      <a:pt x="178" y="544"/>
                    </a:lnTo>
                    <a:lnTo>
                      <a:pt x="184" y="559"/>
                    </a:lnTo>
                    <a:lnTo>
                      <a:pt x="195" y="565"/>
                    </a:lnTo>
                    <a:lnTo>
                      <a:pt x="205" y="554"/>
                    </a:lnTo>
                    <a:lnTo>
                      <a:pt x="217" y="544"/>
                    </a:lnTo>
                    <a:lnTo>
                      <a:pt x="228" y="540"/>
                    </a:lnTo>
                    <a:lnTo>
                      <a:pt x="220" y="534"/>
                    </a:lnTo>
                    <a:lnTo>
                      <a:pt x="231" y="519"/>
                    </a:lnTo>
                    <a:lnTo>
                      <a:pt x="235" y="517"/>
                    </a:lnTo>
                    <a:lnTo>
                      <a:pt x="234" y="502"/>
                    </a:lnTo>
                    <a:lnTo>
                      <a:pt x="232" y="487"/>
                    </a:lnTo>
                    <a:lnTo>
                      <a:pt x="235" y="472"/>
                    </a:lnTo>
                    <a:lnTo>
                      <a:pt x="239" y="454"/>
                    </a:lnTo>
                    <a:lnTo>
                      <a:pt x="234" y="436"/>
                    </a:lnTo>
                    <a:lnTo>
                      <a:pt x="232" y="413"/>
                    </a:lnTo>
                    <a:lnTo>
                      <a:pt x="242" y="406"/>
                    </a:lnTo>
                    <a:lnTo>
                      <a:pt x="245" y="403"/>
                    </a:lnTo>
                    <a:lnTo>
                      <a:pt x="249" y="403"/>
                    </a:lnTo>
                    <a:lnTo>
                      <a:pt x="254" y="394"/>
                    </a:lnTo>
                    <a:lnTo>
                      <a:pt x="270" y="389"/>
                    </a:lnTo>
                    <a:lnTo>
                      <a:pt x="270" y="376"/>
                    </a:lnTo>
                    <a:lnTo>
                      <a:pt x="288" y="358"/>
                    </a:lnTo>
                    <a:lnTo>
                      <a:pt x="307" y="340"/>
                    </a:lnTo>
                    <a:lnTo>
                      <a:pt x="319" y="326"/>
                    </a:lnTo>
                    <a:lnTo>
                      <a:pt x="330" y="320"/>
                    </a:lnTo>
                    <a:lnTo>
                      <a:pt x="339" y="303"/>
                    </a:lnTo>
                    <a:lnTo>
                      <a:pt x="339" y="290"/>
                    </a:lnTo>
                    <a:lnTo>
                      <a:pt x="356" y="278"/>
                    </a:lnTo>
                    <a:lnTo>
                      <a:pt x="362" y="285"/>
                    </a:lnTo>
                    <a:lnTo>
                      <a:pt x="367" y="287"/>
                    </a:lnTo>
                    <a:lnTo>
                      <a:pt x="372" y="285"/>
                    </a:lnTo>
                    <a:lnTo>
                      <a:pt x="376" y="285"/>
                    </a:lnTo>
                    <a:lnTo>
                      <a:pt x="375" y="280"/>
                    </a:lnTo>
                    <a:lnTo>
                      <a:pt x="370" y="263"/>
                    </a:lnTo>
                    <a:lnTo>
                      <a:pt x="365" y="249"/>
                    </a:lnTo>
                    <a:lnTo>
                      <a:pt x="364" y="237"/>
                    </a:lnTo>
                    <a:lnTo>
                      <a:pt x="350" y="225"/>
                    </a:lnTo>
                    <a:lnTo>
                      <a:pt x="353" y="217"/>
                    </a:lnTo>
                    <a:lnTo>
                      <a:pt x="362" y="212"/>
                    </a:lnTo>
                    <a:lnTo>
                      <a:pt x="348" y="200"/>
                    </a:lnTo>
                    <a:lnTo>
                      <a:pt x="348" y="186"/>
                    </a:lnTo>
                    <a:lnTo>
                      <a:pt x="359" y="191"/>
                    </a:lnTo>
                    <a:lnTo>
                      <a:pt x="367" y="196"/>
                    </a:lnTo>
                    <a:lnTo>
                      <a:pt x="370" y="192"/>
                    </a:lnTo>
                    <a:lnTo>
                      <a:pt x="376" y="210"/>
                    </a:lnTo>
                    <a:lnTo>
                      <a:pt x="398" y="210"/>
                    </a:lnTo>
                    <a:lnTo>
                      <a:pt x="417" y="212"/>
                    </a:lnTo>
                    <a:lnTo>
                      <a:pt x="424" y="219"/>
                    </a:lnTo>
                    <a:lnTo>
                      <a:pt x="421" y="229"/>
                    </a:lnTo>
                    <a:lnTo>
                      <a:pt x="409" y="237"/>
                    </a:lnTo>
                    <a:lnTo>
                      <a:pt x="412" y="254"/>
                    </a:lnTo>
                    <a:lnTo>
                      <a:pt x="417" y="259"/>
                    </a:lnTo>
                    <a:lnTo>
                      <a:pt x="424" y="242"/>
                    </a:lnTo>
                    <a:lnTo>
                      <a:pt x="430" y="260"/>
                    </a:lnTo>
                    <a:lnTo>
                      <a:pt x="438" y="278"/>
                    </a:lnTo>
                    <a:lnTo>
                      <a:pt x="444" y="278"/>
                    </a:lnTo>
                    <a:lnTo>
                      <a:pt x="444" y="257"/>
                    </a:lnTo>
                    <a:lnTo>
                      <a:pt x="444" y="239"/>
                    </a:lnTo>
                    <a:lnTo>
                      <a:pt x="458" y="239"/>
                    </a:lnTo>
                    <a:lnTo>
                      <a:pt x="464" y="214"/>
                    </a:lnTo>
                    <a:lnTo>
                      <a:pt x="464" y="205"/>
                    </a:lnTo>
                    <a:lnTo>
                      <a:pt x="464" y="187"/>
                    </a:lnTo>
                    <a:lnTo>
                      <a:pt x="483" y="171"/>
                    </a:lnTo>
                    <a:lnTo>
                      <a:pt x="495" y="172"/>
                    </a:lnTo>
                    <a:lnTo>
                      <a:pt x="492" y="167"/>
                    </a:lnTo>
                    <a:lnTo>
                      <a:pt x="495" y="159"/>
                    </a:lnTo>
                    <a:lnTo>
                      <a:pt x="497" y="151"/>
                    </a:lnTo>
                    <a:lnTo>
                      <a:pt x="478" y="144"/>
                    </a:lnTo>
                    <a:lnTo>
                      <a:pt x="478" y="136"/>
                    </a:lnTo>
                    <a:lnTo>
                      <a:pt x="472" y="133"/>
                    </a:lnTo>
                    <a:lnTo>
                      <a:pt x="472" y="129"/>
                    </a:lnTo>
                    <a:lnTo>
                      <a:pt x="464" y="126"/>
                    </a:lnTo>
                    <a:lnTo>
                      <a:pt x="455" y="133"/>
                    </a:lnTo>
                    <a:lnTo>
                      <a:pt x="441" y="129"/>
                    </a:lnTo>
                    <a:lnTo>
                      <a:pt x="427" y="142"/>
                    </a:lnTo>
                    <a:lnTo>
                      <a:pt x="417" y="152"/>
                    </a:lnTo>
                    <a:lnTo>
                      <a:pt x="400" y="159"/>
                    </a:lnTo>
                    <a:lnTo>
                      <a:pt x="404" y="167"/>
                    </a:lnTo>
                    <a:lnTo>
                      <a:pt x="412" y="177"/>
                    </a:lnTo>
                    <a:lnTo>
                      <a:pt x="393" y="177"/>
                    </a:lnTo>
                    <a:lnTo>
                      <a:pt x="376" y="181"/>
                    </a:lnTo>
                    <a:lnTo>
                      <a:pt x="356" y="177"/>
                    </a:lnTo>
                    <a:lnTo>
                      <a:pt x="353" y="171"/>
                    </a:lnTo>
                    <a:lnTo>
                      <a:pt x="347" y="152"/>
                    </a:lnTo>
                    <a:lnTo>
                      <a:pt x="338" y="157"/>
                    </a:lnTo>
                    <a:lnTo>
                      <a:pt x="344" y="186"/>
                    </a:lnTo>
                    <a:lnTo>
                      <a:pt x="324" y="186"/>
                    </a:lnTo>
                    <a:lnTo>
                      <a:pt x="300" y="182"/>
                    </a:lnTo>
                    <a:lnTo>
                      <a:pt x="287" y="177"/>
                    </a:lnTo>
                    <a:lnTo>
                      <a:pt x="279" y="171"/>
                    </a:lnTo>
                    <a:lnTo>
                      <a:pt x="256" y="166"/>
                    </a:lnTo>
                    <a:lnTo>
                      <a:pt x="239" y="162"/>
                    </a:lnTo>
                    <a:lnTo>
                      <a:pt x="217" y="151"/>
                    </a:lnTo>
                    <a:lnTo>
                      <a:pt x="195" y="139"/>
                    </a:lnTo>
                    <a:lnTo>
                      <a:pt x="195" y="126"/>
                    </a:lnTo>
                    <a:lnTo>
                      <a:pt x="205" y="111"/>
                    </a:lnTo>
                    <a:lnTo>
                      <a:pt x="188" y="98"/>
                    </a:lnTo>
                    <a:lnTo>
                      <a:pt x="166" y="84"/>
                    </a:lnTo>
                    <a:lnTo>
                      <a:pt x="158" y="83"/>
                    </a:lnTo>
                    <a:lnTo>
                      <a:pt x="149" y="61"/>
                    </a:lnTo>
                    <a:lnTo>
                      <a:pt x="160" y="61"/>
                    </a:lnTo>
                    <a:lnTo>
                      <a:pt x="163" y="55"/>
                    </a:lnTo>
                    <a:lnTo>
                      <a:pt x="152" y="40"/>
                    </a:lnTo>
                    <a:lnTo>
                      <a:pt x="152" y="31"/>
                    </a:lnTo>
                    <a:lnTo>
                      <a:pt x="152" y="30"/>
                    </a:lnTo>
                    <a:lnTo>
                      <a:pt x="150" y="26"/>
                    </a:lnTo>
                    <a:lnTo>
                      <a:pt x="147" y="23"/>
                    </a:lnTo>
                    <a:lnTo>
                      <a:pt x="144" y="18"/>
                    </a:lnTo>
                    <a:lnTo>
                      <a:pt x="144" y="13"/>
                    </a:lnTo>
                    <a:lnTo>
                      <a:pt x="141" y="8"/>
                    </a:lnTo>
                    <a:lnTo>
                      <a:pt x="135" y="5"/>
                    </a:lnTo>
                    <a:lnTo>
                      <a:pt x="127" y="3"/>
                    </a:lnTo>
                    <a:lnTo>
                      <a:pt x="121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15" name="Freeform 145">
                <a:extLst>
                  <a:ext uri="{FF2B5EF4-FFF2-40B4-BE49-F238E27FC236}">
                    <a16:creationId xmlns:a16="http://schemas.microsoft.com/office/drawing/2014/main" id="{F48E4D5F-9A7E-401B-9213-9D9F86F84F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40" y="3345"/>
                <a:ext cx="8" cy="34"/>
              </a:xfrm>
              <a:custGeom>
                <a:avLst/>
                <a:gdLst>
                  <a:gd name="T0" fmla="*/ 6 w 19"/>
                  <a:gd name="T1" fmla="*/ 34 h 78"/>
                  <a:gd name="T2" fmla="*/ 3 w 19"/>
                  <a:gd name="T3" fmla="*/ 25 h 78"/>
                  <a:gd name="T4" fmla="*/ 0 w 19"/>
                  <a:gd name="T5" fmla="*/ 17 h 78"/>
                  <a:gd name="T6" fmla="*/ 2 w 19"/>
                  <a:gd name="T7" fmla="*/ 10 h 78"/>
                  <a:gd name="T8" fmla="*/ 4 w 19"/>
                  <a:gd name="T9" fmla="*/ 2 h 78"/>
                  <a:gd name="T10" fmla="*/ 7 w 19"/>
                  <a:gd name="T11" fmla="*/ 0 h 78"/>
                  <a:gd name="T12" fmla="*/ 8 w 19"/>
                  <a:gd name="T13" fmla="*/ 4 h 78"/>
                  <a:gd name="T14" fmla="*/ 7 w 19"/>
                  <a:gd name="T15" fmla="*/ 12 h 78"/>
                  <a:gd name="T16" fmla="*/ 7 w 19"/>
                  <a:gd name="T17" fmla="*/ 19 h 78"/>
                  <a:gd name="T18" fmla="*/ 7 w 19"/>
                  <a:gd name="T19" fmla="*/ 26 h 78"/>
                  <a:gd name="T20" fmla="*/ 6 w 19"/>
                  <a:gd name="T21" fmla="*/ 34 h 78"/>
                  <a:gd name="T22" fmla="*/ 6 w 19"/>
                  <a:gd name="T23" fmla="*/ 34 h 7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9" h="78">
                    <a:moveTo>
                      <a:pt x="14" y="78"/>
                    </a:moveTo>
                    <a:lnTo>
                      <a:pt x="6" y="58"/>
                    </a:lnTo>
                    <a:lnTo>
                      <a:pt x="0" y="40"/>
                    </a:lnTo>
                    <a:lnTo>
                      <a:pt x="5" y="22"/>
                    </a:lnTo>
                    <a:lnTo>
                      <a:pt x="9" y="4"/>
                    </a:lnTo>
                    <a:lnTo>
                      <a:pt x="17" y="0"/>
                    </a:lnTo>
                    <a:lnTo>
                      <a:pt x="19" y="10"/>
                    </a:lnTo>
                    <a:lnTo>
                      <a:pt x="17" y="27"/>
                    </a:lnTo>
                    <a:lnTo>
                      <a:pt x="17" y="43"/>
                    </a:lnTo>
                    <a:lnTo>
                      <a:pt x="16" y="60"/>
                    </a:lnTo>
                    <a:lnTo>
                      <a:pt x="14" y="77"/>
                    </a:lnTo>
                    <a:lnTo>
                      <a:pt x="14" y="7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16" name="Freeform 146">
                <a:extLst>
                  <a:ext uri="{FF2B5EF4-FFF2-40B4-BE49-F238E27FC236}">
                    <a16:creationId xmlns:a16="http://schemas.microsoft.com/office/drawing/2014/main" id="{C3C4038D-0311-0A25-962A-97848E41217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47" y="3344"/>
                <a:ext cx="32" cy="37"/>
              </a:xfrm>
              <a:custGeom>
                <a:avLst/>
                <a:gdLst>
                  <a:gd name="T0" fmla="*/ 12 w 69"/>
                  <a:gd name="T1" fmla="*/ 9 h 86"/>
                  <a:gd name="T2" fmla="*/ 2 w 69"/>
                  <a:gd name="T3" fmla="*/ 6 h 86"/>
                  <a:gd name="T4" fmla="*/ 1 w 69"/>
                  <a:gd name="T5" fmla="*/ 13 h 86"/>
                  <a:gd name="T6" fmla="*/ 1 w 69"/>
                  <a:gd name="T7" fmla="*/ 19 h 86"/>
                  <a:gd name="T8" fmla="*/ 0 w 69"/>
                  <a:gd name="T9" fmla="*/ 26 h 86"/>
                  <a:gd name="T10" fmla="*/ 0 w 69"/>
                  <a:gd name="T11" fmla="*/ 34 h 86"/>
                  <a:gd name="T12" fmla="*/ 0 w 69"/>
                  <a:gd name="T13" fmla="*/ 35 h 86"/>
                  <a:gd name="T14" fmla="*/ 8 w 69"/>
                  <a:gd name="T15" fmla="*/ 37 h 86"/>
                  <a:gd name="T16" fmla="*/ 14 w 69"/>
                  <a:gd name="T17" fmla="*/ 31 h 86"/>
                  <a:gd name="T18" fmla="*/ 20 w 69"/>
                  <a:gd name="T19" fmla="*/ 29 h 86"/>
                  <a:gd name="T20" fmla="*/ 24 w 69"/>
                  <a:gd name="T21" fmla="*/ 26 h 86"/>
                  <a:gd name="T22" fmla="*/ 14 w 69"/>
                  <a:gd name="T23" fmla="*/ 16 h 86"/>
                  <a:gd name="T24" fmla="*/ 24 w 69"/>
                  <a:gd name="T25" fmla="*/ 14 h 86"/>
                  <a:gd name="T26" fmla="*/ 32 w 69"/>
                  <a:gd name="T27" fmla="*/ 11 h 86"/>
                  <a:gd name="T28" fmla="*/ 27 w 69"/>
                  <a:gd name="T29" fmla="*/ 0 h 86"/>
                  <a:gd name="T30" fmla="*/ 19 w 69"/>
                  <a:gd name="T31" fmla="*/ 5 h 86"/>
                  <a:gd name="T32" fmla="*/ 12 w 69"/>
                  <a:gd name="T33" fmla="*/ 9 h 8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9" h="86">
                    <a:moveTo>
                      <a:pt x="26" y="22"/>
                    </a:moveTo>
                    <a:lnTo>
                      <a:pt x="4" y="13"/>
                    </a:lnTo>
                    <a:lnTo>
                      <a:pt x="3" y="30"/>
                    </a:lnTo>
                    <a:lnTo>
                      <a:pt x="3" y="45"/>
                    </a:lnTo>
                    <a:lnTo>
                      <a:pt x="1" y="61"/>
                    </a:lnTo>
                    <a:lnTo>
                      <a:pt x="0" y="78"/>
                    </a:lnTo>
                    <a:lnTo>
                      <a:pt x="0" y="81"/>
                    </a:lnTo>
                    <a:lnTo>
                      <a:pt x="18" y="86"/>
                    </a:lnTo>
                    <a:lnTo>
                      <a:pt x="31" y="71"/>
                    </a:lnTo>
                    <a:lnTo>
                      <a:pt x="43" y="68"/>
                    </a:lnTo>
                    <a:lnTo>
                      <a:pt x="51" y="60"/>
                    </a:lnTo>
                    <a:lnTo>
                      <a:pt x="31" y="38"/>
                    </a:lnTo>
                    <a:lnTo>
                      <a:pt x="51" y="32"/>
                    </a:lnTo>
                    <a:lnTo>
                      <a:pt x="69" y="25"/>
                    </a:lnTo>
                    <a:lnTo>
                      <a:pt x="58" y="0"/>
                    </a:lnTo>
                    <a:lnTo>
                      <a:pt x="41" y="12"/>
                    </a:lnTo>
                    <a:lnTo>
                      <a:pt x="26" y="2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17" name="Freeform 147">
                <a:extLst>
                  <a:ext uri="{FF2B5EF4-FFF2-40B4-BE49-F238E27FC236}">
                    <a16:creationId xmlns:a16="http://schemas.microsoft.com/office/drawing/2014/main" id="{6A32F2BA-1A4F-0FB9-59B7-EFA59907BB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87" y="3419"/>
                <a:ext cx="60" cy="76"/>
              </a:xfrm>
              <a:custGeom>
                <a:avLst/>
                <a:gdLst>
                  <a:gd name="T0" fmla="*/ 60 w 134"/>
                  <a:gd name="T1" fmla="*/ 23 h 172"/>
                  <a:gd name="T2" fmla="*/ 54 w 134"/>
                  <a:gd name="T3" fmla="*/ 19 h 172"/>
                  <a:gd name="T4" fmla="*/ 48 w 134"/>
                  <a:gd name="T5" fmla="*/ 12 h 172"/>
                  <a:gd name="T6" fmla="*/ 41 w 134"/>
                  <a:gd name="T7" fmla="*/ 10 h 172"/>
                  <a:gd name="T8" fmla="*/ 34 w 134"/>
                  <a:gd name="T9" fmla="*/ 8 h 172"/>
                  <a:gd name="T10" fmla="*/ 30 w 134"/>
                  <a:gd name="T11" fmla="*/ 1 h 172"/>
                  <a:gd name="T12" fmla="*/ 28 w 134"/>
                  <a:gd name="T13" fmla="*/ 2 h 172"/>
                  <a:gd name="T14" fmla="*/ 27 w 134"/>
                  <a:gd name="T15" fmla="*/ 0 h 172"/>
                  <a:gd name="T16" fmla="*/ 28 w 134"/>
                  <a:gd name="T17" fmla="*/ 9 h 172"/>
                  <a:gd name="T18" fmla="*/ 24 w 134"/>
                  <a:gd name="T19" fmla="*/ 10 h 172"/>
                  <a:gd name="T20" fmla="*/ 23 w 134"/>
                  <a:gd name="T21" fmla="*/ 20 h 172"/>
                  <a:gd name="T22" fmla="*/ 28 w 134"/>
                  <a:gd name="T23" fmla="*/ 27 h 172"/>
                  <a:gd name="T24" fmla="*/ 26 w 134"/>
                  <a:gd name="T25" fmla="*/ 36 h 172"/>
                  <a:gd name="T26" fmla="*/ 23 w 134"/>
                  <a:gd name="T27" fmla="*/ 46 h 172"/>
                  <a:gd name="T28" fmla="*/ 17 w 134"/>
                  <a:gd name="T29" fmla="*/ 48 h 172"/>
                  <a:gd name="T30" fmla="*/ 12 w 134"/>
                  <a:gd name="T31" fmla="*/ 50 h 172"/>
                  <a:gd name="T32" fmla="*/ 6 w 134"/>
                  <a:gd name="T33" fmla="*/ 52 h 172"/>
                  <a:gd name="T34" fmla="*/ 0 w 134"/>
                  <a:gd name="T35" fmla="*/ 54 h 172"/>
                  <a:gd name="T36" fmla="*/ 0 w 134"/>
                  <a:gd name="T37" fmla="*/ 59 h 172"/>
                  <a:gd name="T38" fmla="*/ 5 w 134"/>
                  <a:gd name="T39" fmla="*/ 67 h 172"/>
                  <a:gd name="T40" fmla="*/ 11 w 134"/>
                  <a:gd name="T41" fmla="*/ 76 h 172"/>
                  <a:gd name="T42" fmla="*/ 17 w 134"/>
                  <a:gd name="T43" fmla="*/ 74 h 172"/>
                  <a:gd name="T44" fmla="*/ 23 w 134"/>
                  <a:gd name="T45" fmla="*/ 73 h 172"/>
                  <a:gd name="T46" fmla="*/ 28 w 134"/>
                  <a:gd name="T47" fmla="*/ 69 h 172"/>
                  <a:gd name="T48" fmla="*/ 30 w 134"/>
                  <a:gd name="T49" fmla="*/ 65 h 172"/>
                  <a:gd name="T50" fmla="*/ 37 w 134"/>
                  <a:gd name="T51" fmla="*/ 62 h 172"/>
                  <a:gd name="T52" fmla="*/ 40 w 134"/>
                  <a:gd name="T53" fmla="*/ 56 h 172"/>
                  <a:gd name="T54" fmla="*/ 46 w 134"/>
                  <a:gd name="T55" fmla="*/ 53 h 172"/>
                  <a:gd name="T56" fmla="*/ 46 w 134"/>
                  <a:gd name="T57" fmla="*/ 43 h 172"/>
                  <a:gd name="T58" fmla="*/ 49 w 134"/>
                  <a:gd name="T59" fmla="*/ 41 h 172"/>
                  <a:gd name="T60" fmla="*/ 52 w 134"/>
                  <a:gd name="T61" fmla="*/ 41 h 172"/>
                  <a:gd name="T62" fmla="*/ 56 w 134"/>
                  <a:gd name="T63" fmla="*/ 32 h 172"/>
                  <a:gd name="T64" fmla="*/ 60 w 134"/>
                  <a:gd name="T65" fmla="*/ 23 h 17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34" h="172">
                    <a:moveTo>
                      <a:pt x="134" y="51"/>
                    </a:moveTo>
                    <a:lnTo>
                      <a:pt x="120" y="42"/>
                    </a:lnTo>
                    <a:lnTo>
                      <a:pt x="107" y="28"/>
                    </a:lnTo>
                    <a:lnTo>
                      <a:pt x="91" y="22"/>
                    </a:lnTo>
                    <a:lnTo>
                      <a:pt x="76" y="17"/>
                    </a:lnTo>
                    <a:lnTo>
                      <a:pt x="68" y="2"/>
                    </a:lnTo>
                    <a:lnTo>
                      <a:pt x="62" y="5"/>
                    </a:lnTo>
                    <a:lnTo>
                      <a:pt x="60" y="0"/>
                    </a:lnTo>
                    <a:lnTo>
                      <a:pt x="62" y="20"/>
                    </a:lnTo>
                    <a:lnTo>
                      <a:pt x="54" y="22"/>
                    </a:lnTo>
                    <a:lnTo>
                      <a:pt x="52" y="46"/>
                    </a:lnTo>
                    <a:lnTo>
                      <a:pt x="62" y="61"/>
                    </a:lnTo>
                    <a:lnTo>
                      <a:pt x="57" y="81"/>
                    </a:lnTo>
                    <a:lnTo>
                      <a:pt x="52" y="103"/>
                    </a:lnTo>
                    <a:lnTo>
                      <a:pt x="38" y="108"/>
                    </a:lnTo>
                    <a:lnTo>
                      <a:pt x="26" y="113"/>
                    </a:lnTo>
                    <a:lnTo>
                      <a:pt x="14" y="118"/>
                    </a:lnTo>
                    <a:lnTo>
                      <a:pt x="1" y="123"/>
                    </a:lnTo>
                    <a:lnTo>
                      <a:pt x="0" y="133"/>
                    </a:lnTo>
                    <a:lnTo>
                      <a:pt x="12" y="151"/>
                    </a:lnTo>
                    <a:lnTo>
                      <a:pt x="25" y="172"/>
                    </a:lnTo>
                    <a:lnTo>
                      <a:pt x="38" y="167"/>
                    </a:lnTo>
                    <a:lnTo>
                      <a:pt x="52" y="166"/>
                    </a:lnTo>
                    <a:lnTo>
                      <a:pt x="62" y="156"/>
                    </a:lnTo>
                    <a:lnTo>
                      <a:pt x="66" y="146"/>
                    </a:lnTo>
                    <a:lnTo>
                      <a:pt x="83" y="141"/>
                    </a:lnTo>
                    <a:lnTo>
                      <a:pt x="90" y="126"/>
                    </a:lnTo>
                    <a:lnTo>
                      <a:pt x="103" y="119"/>
                    </a:lnTo>
                    <a:lnTo>
                      <a:pt x="102" y="98"/>
                    </a:lnTo>
                    <a:lnTo>
                      <a:pt x="110" y="93"/>
                    </a:lnTo>
                    <a:lnTo>
                      <a:pt x="116" y="93"/>
                    </a:lnTo>
                    <a:lnTo>
                      <a:pt x="125" y="73"/>
                    </a:lnTo>
                    <a:lnTo>
                      <a:pt x="134" y="5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18" name="Freeform 148">
                <a:extLst>
                  <a:ext uri="{FF2B5EF4-FFF2-40B4-BE49-F238E27FC236}">
                    <a16:creationId xmlns:a16="http://schemas.microsoft.com/office/drawing/2014/main" id="{3E08C36B-D967-08C6-63AD-56253558FC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13" y="3407"/>
                <a:ext cx="3" cy="6"/>
              </a:xfrm>
              <a:custGeom>
                <a:avLst/>
                <a:gdLst>
                  <a:gd name="T0" fmla="*/ 3 w 8"/>
                  <a:gd name="T1" fmla="*/ 0 h 11"/>
                  <a:gd name="T2" fmla="*/ 0 w 8"/>
                  <a:gd name="T3" fmla="*/ 5 h 11"/>
                  <a:gd name="T4" fmla="*/ 3 w 8"/>
                  <a:gd name="T5" fmla="*/ 6 h 11"/>
                  <a:gd name="T6" fmla="*/ 3 w 8"/>
                  <a:gd name="T7" fmla="*/ 0 h 1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1">
                    <a:moveTo>
                      <a:pt x="8" y="0"/>
                    </a:moveTo>
                    <a:lnTo>
                      <a:pt x="0" y="10"/>
                    </a:lnTo>
                    <a:lnTo>
                      <a:pt x="8" y="1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19" name="Freeform 149">
                <a:extLst>
                  <a:ext uri="{FF2B5EF4-FFF2-40B4-BE49-F238E27FC236}">
                    <a16:creationId xmlns:a16="http://schemas.microsoft.com/office/drawing/2014/main" id="{96AEB45F-7398-1A3D-6126-759F811A33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47" y="3354"/>
                <a:ext cx="168" cy="149"/>
              </a:xfrm>
              <a:custGeom>
                <a:avLst/>
                <a:gdLst>
                  <a:gd name="T0" fmla="*/ 37 w 381"/>
                  <a:gd name="T1" fmla="*/ 90 h 341"/>
                  <a:gd name="T2" fmla="*/ 32 w 381"/>
                  <a:gd name="T3" fmla="*/ 76 h 341"/>
                  <a:gd name="T4" fmla="*/ 22 w 381"/>
                  <a:gd name="T5" fmla="*/ 67 h 341"/>
                  <a:gd name="T6" fmla="*/ 10 w 381"/>
                  <a:gd name="T7" fmla="*/ 47 h 341"/>
                  <a:gd name="T8" fmla="*/ 0 w 381"/>
                  <a:gd name="T9" fmla="*/ 37 h 341"/>
                  <a:gd name="T10" fmla="*/ 10 w 381"/>
                  <a:gd name="T11" fmla="*/ 28 h 341"/>
                  <a:gd name="T12" fmla="*/ 20 w 381"/>
                  <a:gd name="T13" fmla="*/ 20 h 341"/>
                  <a:gd name="T14" fmla="*/ 15 w 381"/>
                  <a:gd name="T15" fmla="*/ 7 h 341"/>
                  <a:gd name="T16" fmla="*/ 31 w 381"/>
                  <a:gd name="T17" fmla="*/ 0 h 341"/>
                  <a:gd name="T18" fmla="*/ 46 w 381"/>
                  <a:gd name="T19" fmla="*/ 7 h 341"/>
                  <a:gd name="T20" fmla="*/ 61 w 381"/>
                  <a:gd name="T21" fmla="*/ 14 h 341"/>
                  <a:gd name="T22" fmla="*/ 76 w 381"/>
                  <a:gd name="T23" fmla="*/ 27 h 341"/>
                  <a:gd name="T24" fmla="*/ 97 w 381"/>
                  <a:gd name="T25" fmla="*/ 29 h 341"/>
                  <a:gd name="T26" fmla="*/ 105 w 381"/>
                  <a:gd name="T27" fmla="*/ 33 h 341"/>
                  <a:gd name="T28" fmla="*/ 113 w 381"/>
                  <a:gd name="T29" fmla="*/ 43 h 341"/>
                  <a:gd name="T30" fmla="*/ 121 w 381"/>
                  <a:gd name="T31" fmla="*/ 55 h 341"/>
                  <a:gd name="T32" fmla="*/ 127 w 381"/>
                  <a:gd name="T33" fmla="*/ 67 h 341"/>
                  <a:gd name="T34" fmla="*/ 131 w 381"/>
                  <a:gd name="T35" fmla="*/ 68 h 341"/>
                  <a:gd name="T36" fmla="*/ 132 w 381"/>
                  <a:gd name="T37" fmla="*/ 71 h 341"/>
                  <a:gd name="T38" fmla="*/ 133 w 381"/>
                  <a:gd name="T39" fmla="*/ 73 h 341"/>
                  <a:gd name="T40" fmla="*/ 138 w 381"/>
                  <a:gd name="T41" fmla="*/ 83 h 341"/>
                  <a:gd name="T42" fmla="*/ 162 w 381"/>
                  <a:gd name="T43" fmla="*/ 87 h 341"/>
                  <a:gd name="T44" fmla="*/ 168 w 381"/>
                  <a:gd name="T45" fmla="*/ 92 h 341"/>
                  <a:gd name="T46" fmla="*/ 164 w 381"/>
                  <a:gd name="T47" fmla="*/ 110 h 341"/>
                  <a:gd name="T48" fmla="*/ 152 w 381"/>
                  <a:gd name="T49" fmla="*/ 114 h 341"/>
                  <a:gd name="T50" fmla="*/ 141 w 381"/>
                  <a:gd name="T51" fmla="*/ 119 h 341"/>
                  <a:gd name="T52" fmla="*/ 128 w 381"/>
                  <a:gd name="T53" fmla="*/ 122 h 341"/>
                  <a:gd name="T54" fmla="*/ 117 w 381"/>
                  <a:gd name="T55" fmla="*/ 126 h 341"/>
                  <a:gd name="T56" fmla="*/ 107 w 381"/>
                  <a:gd name="T57" fmla="*/ 137 h 341"/>
                  <a:gd name="T58" fmla="*/ 99 w 381"/>
                  <a:gd name="T59" fmla="*/ 149 h 341"/>
                  <a:gd name="T60" fmla="*/ 90 w 381"/>
                  <a:gd name="T61" fmla="*/ 137 h 341"/>
                  <a:gd name="T62" fmla="*/ 74 w 381"/>
                  <a:gd name="T63" fmla="*/ 132 h 341"/>
                  <a:gd name="T64" fmla="*/ 70 w 381"/>
                  <a:gd name="T65" fmla="*/ 142 h 341"/>
                  <a:gd name="T66" fmla="*/ 62 w 381"/>
                  <a:gd name="T67" fmla="*/ 129 h 341"/>
                  <a:gd name="T68" fmla="*/ 50 w 381"/>
                  <a:gd name="T69" fmla="*/ 109 h 34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81" h="341">
                    <a:moveTo>
                      <a:pt x="93" y="234"/>
                    </a:moveTo>
                    <a:lnTo>
                      <a:pt x="85" y="205"/>
                    </a:lnTo>
                    <a:lnTo>
                      <a:pt x="79" y="191"/>
                    </a:lnTo>
                    <a:lnTo>
                      <a:pt x="73" y="174"/>
                    </a:lnTo>
                    <a:lnTo>
                      <a:pt x="60" y="164"/>
                    </a:lnTo>
                    <a:lnTo>
                      <a:pt x="50" y="154"/>
                    </a:lnTo>
                    <a:lnTo>
                      <a:pt x="39" y="132"/>
                    </a:lnTo>
                    <a:lnTo>
                      <a:pt x="22" y="108"/>
                    </a:lnTo>
                    <a:lnTo>
                      <a:pt x="3" y="84"/>
                    </a:lnTo>
                    <a:lnTo>
                      <a:pt x="0" y="84"/>
                    </a:lnTo>
                    <a:lnTo>
                      <a:pt x="2" y="58"/>
                    </a:lnTo>
                    <a:lnTo>
                      <a:pt x="22" y="63"/>
                    </a:lnTo>
                    <a:lnTo>
                      <a:pt x="33" y="48"/>
                    </a:lnTo>
                    <a:lnTo>
                      <a:pt x="45" y="45"/>
                    </a:lnTo>
                    <a:lnTo>
                      <a:pt x="53" y="35"/>
                    </a:lnTo>
                    <a:lnTo>
                      <a:pt x="33" y="15"/>
                    </a:lnTo>
                    <a:lnTo>
                      <a:pt x="53" y="7"/>
                    </a:lnTo>
                    <a:lnTo>
                      <a:pt x="71" y="0"/>
                    </a:lnTo>
                    <a:lnTo>
                      <a:pt x="88" y="7"/>
                    </a:lnTo>
                    <a:lnTo>
                      <a:pt x="104" y="15"/>
                    </a:lnTo>
                    <a:lnTo>
                      <a:pt x="122" y="23"/>
                    </a:lnTo>
                    <a:lnTo>
                      <a:pt x="139" y="31"/>
                    </a:lnTo>
                    <a:lnTo>
                      <a:pt x="155" y="46"/>
                    </a:lnTo>
                    <a:lnTo>
                      <a:pt x="173" y="61"/>
                    </a:lnTo>
                    <a:lnTo>
                      <a:pt x="204" y="65"/>
                    </a:lnTo>
                    <a:lnTo>
                      <a:pt x="221" y="66"/>
                    </a:lnTo>
                    <a:lnTo>
                      <a:pt x="224" y="73"/>
                    </a:lnTo>
                    <a:lnTo>
                      <a:pt x="238" y="76"/>
                    </a:lnTo>
                    <a:lnTo>
                      <a:pt x="248" y="91"/>
                    </a:lnTo>
                    <a:lnTo>
                      <a:pt x="257" y="99"/>
                    </a:lnTo>
                    <a:lnTo>
                      <a:pt x="271" y="114"/>
                    </a:lnTo>
                    <a:lnTo>
                      <a:pt x="274" y="126"/>
                    </a:lnTo>
                    <a:lnTo>
                      <a:pt x="282" y="141"/>
                    </a:lnTo>
                    <a:lnTo>
                      <a:pt x="289" y="154"/>
                    </a:lnTo>
                    <a:lnTo>
                      <a:pt x="296" y="159"/>
                    </a:lnTo>
                    <a:lnTo>
                      <a:pt x="297" y="156"/>
                    </a:lnTo>
                    <a:lnTo>
                      <a:pt x="299" y="156"/>
                    </a:lnTo>
                    <a:lnTo>
                      <a:pt x="299" y="162"/>
                    </a:lnTo>
                    <a:lnTo>
                      <a:pt x="302" y="164"/>
                    </a:lnTo>
                    <a:lnTo>
                      <a:pt x="302" y="167"/>
                    </a:lnTo>
                    <a:lnTo>
                      <a:pt x="308" y="172"/>
                    </a:lnTo>
                    <a:lnTo>
                      <a:pt x="313" y="191"/>
                    </a:lnTo>
                    <a:lnTo>
                      <a:pt x="340" y="195"/>
                    </a:lnTo>
                    <a:lnTo>
                      <a:pt x="367" y="200"/>
                    </a:lnTo>
                    <a:lnTo>
                      <a:pt x="371" y="195"/>
                    </a:lnTo>
                    <a:lnTo>
                      <a:pt x="381" y="210"/>
                    </a:lnTo>
                    <a:lnTo>
                      <a:pt x="376" y="230"/>
                    </a:lnTo>
                    <a:lnTo>
                      <a:pt x="373" y="252"/>
                    </a:lnTo>
                    <a:lnTo>
                      <a:pt x="359" y="257"/>
                    </a:lnTo>
                    <a:lnTo>
                      <a:pt x="345" y="262"/>
                    </a:lnTo>
                    <a:lnTo>
                      <a:pt x="333" y="267"/>
                    </a:lnTo>
                    <a:lnTo>
                      <a:pt x="320" y="272"/>
                    </a:lnTo>
                    <a:lnTo>
                      <a:pt x="306" y="275"/>
                    </a:lnTo>
                    <a:lnTo>
                      <a:pt x="291" y="280"/>
                    </a:lnTo>
                    <a:lnTo>
                      <a:pt x="279" y="283"/>
                    </a:lnTo>
                    <a:lnTo>
                      <a:pt x="265" y="288"/>
                    </a:lnTo>
                    <a:lnTo>
                      <a:pt x="252" y="300"/>
                    </a:lnTo>
                    <a:lnTo>
                      <a:pt x="243" y="313"/>
                    </a:lnTo>
                    <a:lnTo>
                      <a:pt x="234" y="328"/>
                    </a:lnTo>
                    <a:lnTo>
                      <a:pt x="224" y="341"/>
                    </a:lnTo>
                    <a:lnTo>
                      <a:pt x="223" y="320"/>
                    </a:lnTo>
                    <a:lnTo>
                      <a:pt x="204" y="313"/>
                    </a:lnTo>
                    <a:lnTo>
                      <a:pt x="187" y="307"/>
                    </a:lnTo>
                    <a:lnTo>
                      <a:pt x="167" y="303"/>
                    </a:lnTo>
                    <a:lnTo>
                      <a:pt x="164" y="320"/>
                    </a:lnTo>
                    <a:lnTo>
                      <a:pt x="159" y="326"/>
                    </a:lnTo>
                    <a:lnTo>
                      <a:pt x="150" y="312"/>
                    </a:lnTo>
                    <a:lnTo>
                      <a:pt x="141" y="295"/>
                    </a:lnTo>
                    <a:lnTo>
                      <a:pt x="127" y="272"/>
                    </a:lnTo>
                    <a:lnTo>
                      <a:pt x="113" y="250"/>
                    </a:lnTo>
                    <a:lnTo>
                      <a:pt x="93" y="23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20" name="Freeform 150">
                <a:extLst>
                  <a:ext uri="{FF2B5EF4-FFF2-40B4-BE49-F238E27FC236}">
                    <a16:creationId xmlns:a16="http://schemas.microsoft.com/office/drawing/2014/main" id="{7E08CF6A-F193-229B-8354-AB4238F470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79" y="3412"/>
                <a:ext cx="38" cy="30"/>
              </a:xfrm>
              <a:custGeom>
                <a:avLst/>
                <a:gdLst>
                  <a:gd name="T0" fmla="*/ 0 w 87"/>
                  <a:gd name="T1" fmla="*/ 17 h 69"/>
                  <a:gd name="T2" fmla="*/ 3 w 87"/>
                  <a:gd name="T3" fmla="*/ 18 h 69"/>
                  <a:gd name="T4" fmla="*/ 6 w 87"/>
                  <a:gd name="T5" fmla="*/ 26 h 69"/>
                  <a:gd name="T6" fmla="*/ 17 w 87"/>
                  <a:gd name="T7" fmla="*/ 28 h 69"/>
                  <a:gd name="T8" fmla="*/ 29 w 87"/>
                  <a:gd name="T9" fmla="*/ 30 h 69"/>
                  <a:gd name="T10" fmla="*/ 31 w 87"/>
                  <a:gd name="T11" fmla="*/ 28 h 69"/>
                  <a:gd name="T12" fmla="*/ 32 w 87"/>
                  <a:gd name="T13" fmla="*/ 17 h 69"/>
                  <a:gd name="T14" fmla="*/ 36 w 87"/>
                  <a:gd name="T15" fmla="*/ 17 h 69"/>
                  <a:gd name="T16" fmla="*/ 35 w 87"/>
                  <a:gd name="T17" fmla="*/ 8 h 69"/>
                  <a:gd name="T18" fmla="*/ 36 w 87"/>
                  <a:gd name="T19" fmla="*/ 10 h 69"/>
                  <a:gd name="T20" fmla="*/ 38 w 87"/>
                  <a:gd name="T21" fmla="*/ 9 h 69"/>
                  <a:gd name="T22" fmla="*/ 37 w 87"/>
                  <a:gd name="T23" fmla="*/ 0 h 69"/>
                  <a:gd name="T24" fmla="*/ 34 w 87"/>
                  <a:gd name="T25" fmla="*/ 0 h 69"/>
                  <a:gd name="T26" fmla="*/ 27 w 87"/>
                  <a:gd name="T27" fmla="*/ 8 h 69"/>
                  <a:gd name="T28" fmla="*/ 20 w 87"/>
                  <a:gd name="T29" fmla="*/ 15 h 69"/>
                  <a:gd name="T30" fmla="*/ 7 w 87"/>
                  <a:gd name="T31" fmla="*/ 17 h 69"/>
                  <a:gd name="T32" fmla="*/ 3 w 87"/>
                  <a:gd name="T33" fmla="*/ 15 h 69"/>
                  <a:gd name="T34" fmla="*/ 1 w 87"/>
                  <a:gd name="T35" fmla="*/ 14 h 69"/>
                  <a:gd name="T36" fmla="*/ 0 w 87"/>
                  <a:gd name="T37" fmla="*/ 17 h 6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87" h="69">
                    <a:moveTo>
                      <a:pt x="0" y="38"/>
                    </a:moveTo>
                    <a:lnTo>
                      <a:pt x="6" y="41"/>
                    </a:lnTo>
                    <a:lnTo>
                      <a:pt x="13" y="60"/>
                    </a:lnTo>
                    <a:lnTo>
                      <a:pt x="40" y="64"/>
                    </a:lnTo>
                    <a:lnTo>
                      <a:pt x="67" y="69"/>
                    </a:lnTo>
                    <a:lnTo>
                      <a:pt x="71" y="64"/>
                    </a:lnTo>
                    <a:lnTo>
                      <a:pt x="73" y="40"/>
                    </a:lnTo>
                    <a:lnTo>
                      <a:pt x="82" y="38"/>
                    </a:lnTo>
                    <a:lnTo>
                      <a:pt x="79" y="18"/>
                    </a:lnTo>
                    <a:lnTo>
                      <a:pt x="82" y="23"/>
                    </a:lnTo>
                    <a:lnTo>
                      <a:pt x="87" y="20"/>
                    </a:lnTo>
                    <a:lnTo>
                      <a:pt x="84" y="1"/>
                    </a:lnTo>
                    <a:lnTo>
                      <a:pt x="78" y="0"/>
                    </a:lnTo>
                    <a:lnTo>
                      <a:pt x="62" y="18"/>
                    </a:lnTo>
                    <a:lnTo>
                      <a:pt x="45" y="35"/>
                    </a:lnTo>
                    <a:lnTo>
                      <a:pt x="16" y="38"/>
                    </a:lnTo>
                    <a:lnTo>
                      <a:pt x="6" y="35"/>
                    </a:lnTo>
                    <a:lnTo>
                      <a:pt x="2" y="33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21" name="Freeform 151">
                <a:extLst>
                  <a:ext uri="{FF2B5EF4-FFF2-40B4-BE49-F238E27FC236}">
                    <a16:creationId xmlns:a16="http://schemas.microsoft.com/office/drawing/2014/main" id="{7B23C243-F4AB-90A3-20A0-65E68E4425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16" y="3473"/>
                <a:ext cx="83" cy="58"/>
              </a:xfrm>
              <a:custGeom>
                <a:avLst/>
                <a:gdLst>
                  <a:gd name="T0" fmla="*/ 3 w 186"/>
                  <a:gd name="T1" fmla="*/ 20 h 131"/>
                  <a:gd name="T2" fmla="*/ 0 w 186"/>
                  <a:gd name="T3" fmla="*/ 24 h 131"/>
                  <a:gd name="T4" fmla="*/ 0 w 186"/>
                  <a:gd name="T5" fmla="*/ 35 h 131"/>
                  <a:gd name="T6" fmla="*/ 4 w 186"/>
                  <a:gd name="T7" fmla="*/ 46 h 131"/>
                  <a:gd name="T8" fmla="*/ 7 w 186"/>
                  <a:gd name="T9" fmla="*/ 58 h 131"/>
                  <a:gd name="T10" fmla="*/ 17 w 186"/>
                  <a:gd name="T11" fmla="*/ 57 h 131"/>
                  <a:gd name="T12" fmla="*/ 28 w 186"/>
                  <a:gd name="T13" fmla="*/ 51 h 131"/>
                  <a:gd name="T14" fmla="*/ 36 w 186"/>
                  <a:gd name="T15" fmla="*/ 49 h 131"/>
                  <a:gd name="T16" fmla="*/ 44 w 186"/>
                  <a:gd name="T17" fmla="*/ 46 h 131"/>
                  <a:gd name="T18" fmla="*/ 50 w 186"/>
                  <a:gd name="T19" fmla="*/ 43 h 131"/>
                  <a:gd name="T20" fmla="*/ 57 w 186"/>
                  <a:gd name="T21" fmla="*/ 40 h 131"/>
                  <a:gd name="T22" fmla="*/ 63 w 186"/>
                  <a:gd name="T23" fmla="*/ 37 h 131"/>
                  <a:gd name="T24" fmla="*/ 69 w 186"/>
                  <a:gd name="T25" fmla="*/ 35 h 131"/>
                  <a:gd name="T26" fmla="*/ 75 w 186"/>
                  <a:gd name="T27" fmla="*/ 31 h 131"/>
                  <a:gd name="T28" fmla="*/ 75 w 186"/>
                  <a:gd name="T29" fmla="*/ 28 h 131"/>
                  <a:gd name="T30" fmla="*/ 83 w 186"/>
                  <a:gd name="T31" fmla="*/ 22 h 131"/>
                  <a:gd name="T32" fmla="*/ 77 w 186"/>
                  <a:gd name="T33" fmla="*/ 12 h 131"/>
                  <a:gd name="T34" fmla="*/ 72 w 186"/>
                  <a:gd name="T35" fmla="*/ 4 h 131"/>
                  <a:gd name="T36" fmla="*/ 72 w 186"/>
                  <a:gd name="T37" fmla="*/ 0 h 131"/>
                  <a:gd name="T38" fmla="*/ 66 w 186"/>
                  <a:gd name="T39" fmla="*/ 1 h 131"/>
                  <a:gd name="T40" fmla="*/ 59 w 186"/>
                  <a:gd name="T41" fmla="*/ 4 h 131"/>
                  <a:gd name="T42" fmla="*/ 53 w 186"/>
                  <a:gd name="T43" fmla="*/ 5 h 131"/>
                  <a:gd name="T44" fmla="*/ 48 w 186"/>
                  <a:gd name="T45" fmla="*/ 7 h 131"/>
                  <a:gd name="T46" fmla="*/ 42 w 186"/>
                  <a:gd name="T47" fmla="*/ 12 h 131"/>
                  <a:gd name="T48" fmla="*/ 38 w 186"/>
                  <a:gd name="T49" fmla="*/ 18 h 131"/>
                  <a:gd name="T50" fmla="*/ 34 w 186"/>
                  <a:gd name="T51" fmla="*/ 25 h 131"/>
                  <a:gd name="T52" fmla="*/ 29 w 186"/>
                  <a:gd name="T53" fmla="*/ 31 h 131"/>
                  <a:gd name="T54" fmla="*/ 29 w 186"/>
                  <a:gd name="T55" fmla="*/ 20 h 131"/>
                  <a:gd name="T56" fmla="*/ 21 w 186"/>
                  <a:gd name="T57" fmla="*/ 18 h 131"/>
                  <a:gd name="T58" fmla="*/ 13 w 186"/>
                  <a:gd name="T59" fmla="*/ 15 h 131"/>
                  <a:gd name="T60" fmla="*/ 4 w 186"/>
                  <a:gd name="T61" fmla="*/ 14 h 131"/>
                  <a:gd name="T62" fmla="*/ 3 w 186"/>
                  <a:gd name="T63" fmla="*/ 20 h 13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86" h="131">
                    <a:moveTo>
                      <a:pt x="6" y="46"/>
                    </a:moveTo>
                    <a:lnTo>
                      <a:pt x="1" y="54"/>
                    </a:lnTo>
                    <a:lnTo>
                      <a:pt x="0" y="78"/>
                    </a:lnTo>
                    <a:lnTo>
                      <a:pt x="8" y="104"/>
                    </a:lnTo>
                    <a:lnTo>
                      <a:pt x="15" y="131"/>
                    </a:lnTo>
                    <a:lnTo>
                      <a:pt x="39" y="129"/>
                    </a:lnTo>
                    <a:lnTo>
                      <a:pt x="62" y="116"/>
                    </a:lnTo>
                    <a:lnTo>
                      <a:pt x="80" y="111"/>
                    </a:lnTo>
                    <a:lnTo>
                      <a:pt x="99" y="103"/>
                    </a:lnTo>
                    <a:lnTo>
                      <a:pt x="113" y="98"/>
                    </a:lnTo>
                    <a:lnTo>
                      <a:pt x="127" y="91"/>
                    </a:lnTo>
                    <a:lnTo>
                      <a:pt x="141" y="84"/>
                    </a:lnTo>
                    <a:lnTo>
                      <a:pt x="155" y="78"/>
                    </a:lnTo>
                    <a:lnTo>
                      <a:pt x="169" y="71"/>
                    </a:lnTo>
                    <a:lnTo>
                      <a:pt x="169" y="63"/>
                    </a:lnTo>
                    <a:lnTo>
                      <a:pt x="186" y="49"/>
                    </a:lnTo>
                    <a:lnTo>
                      <a:pt x="173" y="28"/>
                    </a:lnTo>
                    <a:lnTo>
                      <a:pt x="161" y="8"/>
                    </a:lnTo>
                    <a:lnTo>
                      <a:pt x="162" y="0"/>
                    </a:lnTo>
                    <a:lnTo>
                      <a:pt x="148" y="3"/>
                    </a:lnTo>
                    <a:lnTo>
                      <a:pt x="133" y="8"/>
                    </a:lnTo>
                    <a:lnTo>
                      <a:pt x="119" y="11"/>
                    </a:lnTo>
                    <a:lnTo>
                      <a:pt x="107" y="16"/>
                    </a:lnTo>
                    <a:lnTo>
                      <a:pt x="94" y="28"/>
                    </a:lnTo>
                    <a:lnTo>
                      <a:pt x="85" y="41"/>
                    </a:lnTo>
                    <a:lnTo>
                      <a:pt x="76" y="56"/>
                    </a:lnTo>
                    <a:lnTo>
                      <a:pt x="66" y="69"/>
                    </a:lnTo>
                    <a:lnTo>
                      <a:pt x="65" y="46"/>
                    </a:lnTo>
                    <a:lnTo>
                      <a:pt x="46" y="41"/>
                    </a:lnTo>
                    <a:lnTo>
                      <a:pt x="29" y="35"/>
                    </a:lnTo>
                    <a:lnTo>
                      <a:pt x="9" y="31"/>
                    </a:lnTo>
                    <a:lnTo>
                      <a:pt x="6" y="4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22" name="Freeform 152">
                <a:extLst>
                  <a:ext uri="{FF2B5EF4-FFF2-40B4-BE49-F238E27FC236}">
                    <a16:creationId xmlns:a16="http://schemas.microsoft.com/office/drawing/2014/main" id="{FB65FA47-065A-C719-DD5D-89DB803429E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15" y="3557"/>
                <a:ext cx="17" cy="34"/>
              </a:xfrm>
              <a:custGeom>
                <a:avLst/>
                <a:gdLst>
                  <a:gd name="T0" fmla="*/ 4 w 41"/>
                  <a:gd name="T1" fmla="*/ 2 h 78"/>
                  <a:gd name="T2" fmla="*/ 7 w 41"/>
                  <a:gd name="T3" fmla="*/ 6 h 78"/>
                  <a:gd name="T4" fmla="*/ 10 w 41"/>
                  <a:gd name="T5" fmla="*/ 12 h 78"/>
                  <a:gd name="T6" fmla="*/ 14 w 41"/>
                  <a:gd name="T7" fmla="*/ 18 h 78"/>
                  <a:gd name="T8" fmla="*/ 17 w 41"/>
                  <a:gd name="T9" fmla="*/ 25 h 78"/>
                  <a:gd name="T10" fmla="*/ 13 w 41"/>
                  <a:gd name="T11" fmla="*/ 32 h 78"/>
                  <a:gd name="T12" fmla="*/ 5 w 41"/>
                  <a:gd name="T13" fmla="*/ 34 h 78"/>
                  <a:gd name="T14" fmla="*/ 1 w 41"/>
                  <a:gd name="T15" fmla="*/ 23 h 78"/>
                  <a:gd name="T16" fmla="*/ 0 w 41"/>
                  <a:gd name="T17" fmla="*/ 15 h 78"/>
                  <a:gd name="T18" fmla="*/ 1 w 41"/>
                  <a:gd name="T19" fmla="*/ 15 h 78"/>
                  <a:gd name="T20" fmla="*/ 2 w 41"/>
                  <a:gd name="T21" fmla="*/ 8 h 78"/>
                  <a:gd name="T22" fmla="*/ 3 w 41"/>
                  <a:gd name="T23" fmla="*/ 2 h 78"/>
                  <a:gd name="T24" fmla="*/ 3 w 41"/>
                  <a:gd name="T25" fmla="*/ 2 h 78"/>
                  <a:gd name="T26" fmla="*/ 1 w 41"/>
                  <a:gd name="T27" fmla="*/ 0 h 78"/>
                  <a:gd name="T28" fmla="*/ 4 w 41"/>
                  <a:gd name="T29" fmla="*/ 2 h 7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1" h="78">
                    <a:moveTo>
                      <a:pt x="10" y="4"/>
                    </a:moveTo>
                    <a:lnTo>
                      <a:pt x="18" y="14"/>
                    </a:lnTo>
                    <a:lnTo>
                      <a:pt x="25" y="27"/>
                    </a:lnTo>
                    <a:lnTo>
                      <a:pt x="33" y="42"/>
                    </a:lnTo>
                    <a:lnTo>
                      <a:pt x="41" y="58"/>
                    </a:lnTo>
                    <a:lnTo>
                      <a:pt x="31" y="73"/>
                    </a:lnTo>
                    <a:lnTo>
                      <a:pt x="13" y="78"/>
                    </a:lnTo>
                    <a:lnTo>
                      <a:pt x="2" y="52"/>
                    </a:lnTo>
                    <a:lnTo>
                      <a:pt x="0" y="34"/>
                    </a:lnTo>
                    <a:lnTo>
                      <a:pt x="2" y="35"/>
                    </a:lnTo>
                    <a:lnTo>
                      <a:pt x="5" y="19"/>
                    </a:lnTo>
                    <a:lnTo>
                      <a:pt x="7" y="5"/>
                    </a:lnTo>
                    <a:lnTo>
                      <a:pt x="2" y="0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23" name="Freeform 153">
                <a:extLst>
                  <a:ext uri="{FF2B5EF4-FFF2-40B4-BE49-F238E27FC236}">
                    <a16:creationId xmlns:a16="http://schemas.microsoft.com/office/drawing/2014/main" id="{D2F77C91-06B4-920A-3379-23CB087AAB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10" y="3654"/>
                <a:ext cx="15" cy="14"/>
              </a:xfrm>
              <a:custGeom>
                <a:avLst/>
                <a:gdLst>
                  <a:gd name="T0" fmla="*/ 5 w 34"/>
                  <a:gd name="T1" fmla="*/ 4 h 34"/>
                  <a:gd name="T2" fmla="*/ 2 w 34"/>
                  <a:gd name="T3" fmla="*/ 9 h 34"/>
                  <a:gd name="T4" fmla="*/ 0 w 34"/>
                  <a:gd name="T5" fmla="*/ 14 h 34"/>
                  <a:gd name="T6" fmla="*/ 0 w 34"/>
                  <a:gd name="T7" fmla="*/ 14 h 34"/>
                  <a:gd name="T8" fmla="*/ 8 w 34"/>
                  <a:gd name="T9" fmla="*/ 14 h 34"/>
                  <a:gd name="T10" fmla="*/ 8 w 34"/>
                  <a:gd name="T11" fmla="*/ 11 h 34"/>
                  <a:gd name="T12" fmla="*/ 13 w 34"/>
                  <a:gd name="T13" fmla="*/ 12 h 34"/>
                  <a:gd name="T14" fmla="*/ 15 w 34"/>
                  <a:gd name="T15" fmla="*/ 10 h 34"/>
                  <a:gd name="T16" fmla="*/ 12 w 34"/>
                  <a:gd name="T17" fmla="*/ 0 h 34"/>
                  <a:gd name="T18" fmla="*/ 7 w 34"/>
                  <a:gd name="T19" fmla="*/ 4 h 34"/>
                  <a:gd name="T20" fmla="*/ 5 w 34"/>
                  <a:gd name="T21" fmla="*/ 4 h 3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4" h="34">
                    <a:moveTo>
                      <a:pt x="12" y="9"/>
                    </a:moveTo>
                    <a:lnTo>
                      <a:pt x="4" y="22"/>
                    </a:lnTo>
                    <a:lnTo>
                      <a:pt x="0" y="34"/>
                    </a:lnTo>
                    <a:lnTo>
                      <a:pt x="1" y="34"/>
                    </a:lnTo>
                    <a:lnTo>
                      <a:pt x="18" y="34"/>
                    </a:lnTo>
                    <a:lnTo>
                      <a:pt x="18" y="27"/>
                    </a:lnTo>
                    <a:lnTo>
                      <a:pt x="29" y="29"/>
                    </a:lnTo>
                    <a:lnTo>
                      <a:pt x="34" y="25"/>
                    </a:lnTo>
                    <a:lnTo>
                      <a:pt x="27" y="0"/>
                    </a:lnTo>
                    <a:lnTo>
                      <a:pt x="15" y="9"/>
                    </a:lnTo>
                    <a:lnTo>
                      <a:pt x="12" y="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24" name="Freeform 154">
                <a:extLst>
                  <a:ext uri="{FF2B5EF4-FFF2-40B4-BE49-F238E27FC236}">
                    <a16:creationId xmlns:a16="http://schemas.microsoft.com/office/drawing/2014/main" id="{22B140A8-D29A-4DF8-246A-BE4EC03CD8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71" y="3409"/>
                <a:ext cx="1" cy="3"/>
              </a:xfrm>
              <a:custGeom>
                <a:avLst/>
                <a:gdLst>
                  <a:gd name="T0" fmla="*/ 1 w 1"/>
                  <a:gd name="T1" fmla="*/ 0 h 5"/>
                  <a:gd name="T2" fmla="*/ 0 w 1"/>
                  <a:gd name="T3" fmla="*/ 3 h 5"/>
                  <a:gd name="T4" fmla="*/ 1 w 1"/>
                  <a:gd name="T5" fmla="*/ 1 h 5"/>
                  <a:gd name="T6" fmla="*/ 1 w 1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" h="5">
                    <a:moveTo>
                      <a:pt x="1" y="0"/>
                    </a:moveTo>
                    <a:lnTo>
                      <a:pt x="0" y="5"/>
                    </a:lnTo>
                    <a:lnTo>
                      <a:pt x="1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25" name="Freeform 155">
                <a:extLst>
                  <a:ext uri="{FF2B5EF4-FFF2-40B4-BE49-F238E27FC236}">
                    <a16:creationId xmlns:a16="http://schemas.microsoft.com/office/drawing/2014/main" id="{99944373-3B27-8604-AA89-3FE52784AF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86" y="3433"/>
                <a:ext cx="83" cy="144"/>
              </a:xfrm>
              <a:custGeom>
                <a:avLst/>
                <a:gdLst>
                  <a:gd name="T0" fmla="*/ 82 w 188"/>
                  <a:gd name="T1" fmla="*/ 36 h 330"/>
                  <a:gd name="T2" fmla="*/ 73 w 188"/>
                  <a:gd name="T3" fmla="*/ 32 h 330"/>
                  <a:gd name="T4" fmla="*/ 65 w 188"/>
                  <a:gd name="T5" fmla="*/ 27 h 330"/>
                  <a:gd name="T6" fmla="*/ 57 w 188"/>
                  <a:gd name="T7" fmla="*/ 22 h 330"/>
                  <a:gd name="T8" fmla="*/ 49 w 188"/>
                  <a:gd name="T9" fmla="*/ 18 h 330"/>
                  <a:gd name="T10" fmla="*/ 41 w 188"/>
                  <a:gd name="T11" fmla="*/ 14 h 330"/>
                  <a:gd name="T12" fmla="*/ 33 w 188"/>
                  <a:gd name="T13" fmla="*/ 9 h 330"/>
                  <a:gd name="T14" fmla="*/ 26 w 188"/>
                  <a:gd name="T15" fmla="*/ 5 h 330"/>
                  <a:gd name="T16" fmla="*/ 17 w 188"/>
                  <a:gd name="T17" fmla="*/ 0 h 330"/>
                  <a:gd name="T18" fmla="*/ 10 w 188"/>
                  <a:gd name="T19" fmla="*/ 5 h 330"/>
                  <a:gd name="T20" fmla="*/ 11 w 188"/>
                  <a:gd name="T21" fmla="*/ 11 h 330"/>
                  <a:gd name="T22" fmla="*/ 11 w 188"/>
                  <a:gd name="T23" fmla="*/ 18 h 330"/>
                  <a:gd name="T24" fmla="*/ 18 w 188"/>
                  <a:gd name="T25" fmla="*/ 28 h 330"/>
                  <a:gd name="T26" fmla="*/ 16 w 188"/>
                  <a:gd name="T27" fmla="*/ 32 h 330"/>
                  <a:gd name="T28" fmla="*/ 16 w 188"/>
                  <a:gd name="T29" fmla="*/ 39 h 330"/>
                  <a:gd name="T30" fmla="*/ 16 w 188"/>
                  <a:gd name="T31" fmla="*/ 46 h 330"/>
                  <a:gd name="T32" fmla="*/ 15 w 188"/>
                  <a:gd name="T33" fmla="*/ 53 h 330"/>
                  <a:gd name="T34" fmla="*/ 15 w 188"/>
                  <a:gd name="T35" fmla="*/ 60 h 330"/>
                  <a:gd name="T36" fmla="*/ 11 w 188"/>
                  <a:gd name="T37" fmla="*/ 65 h 330"/>
                  <a:gd name="T38" fmla="*/ 8 w 188"/>
                  <a:gd name="T39" fmla="*/ 71 h 330"/>
                  <a:gd name="T40" fmla="*/ 4 w 188"/>
                  <a:gd name="T41" fmla="*/ 76 h 330"/>
                  <a:gd name="T42" fmla="*/ 0 w 188"/>
                  <a:gd name="T43" fmla="*/ 81 h 330"/>
                  <a:gd name="T44" fmla="*/ 0 w 188"/>
                  <a:gd name="T45" fmla="*/ 88 h 330"/>
                  <a:gd name="T46" fmla="*/ 4 w 188"/>
                  <a:gd name="T47" fmla="*/ 94 h 330"/>
                  <a:gd name="T48" fmla="*/ 7 w 188"/>
                  <a:gd name="T49" fmla="*/ 94 h 330"/>
                  <a:gd name="T50" fmla="*/ 11 w 188"/>
                  <a:gd name="T51" fmla="*/ 103 h 330"/>
                  <a:gd name="T52" fmla="*/ 12 w 188"/>
                  <a:gd name="T53" fmla="*/ 113 h 330"/>
                  <a:gd name="T54" fmla="*/ 17 w 188"/>
                  <a:gd name="T55" fmla="*/ 121 h 330"/>
                  <a:gd name="T56" fmla="*/ 8 w 188"/>
                  <a:gd name="T57" fmla="*/ 121 h 330"/>
                  <a:gd name="T58" fmla="*/ 4 w 188"/>
                  <a:gd name="T59" fmla="*/ 123 h 330"/>
                  <a:gd name="T60" fmla="*/ 11 w 188"/>
                  <a:gd name="T61" fmla="*/ 132 h 330"/>
                  <a:gd name="T62" fmla="*/ 16 w 188"/>
                  <a:gd name="T63" fmla="*/ 144 h 330"/>
                  <a:gd name="T64" fmla="*/ 23 w 188"/>
                  <a:gd name="T65" fmla="*/ 142 h 330"/>
                  <a:gd name="T66" fmla="*/ 25 w 188"/>
                  <a:gd name="T67" fmla="*/ 142 h 330"/>
                  <a:gd name="T68" fmla="*/ 30 w 188"/>
                  <a:gd name="T69" fmla="*/ 142 h 330"/>
                  <a:gd name="T70" fmla="*/ 41 w 188"/>
                  <a:gd name="T71" fmla="*/ 140 h 330"/>
                  <a:gd name="T72" fmla="*/ 45 w 188"/>
                  <a:gd name="T73" fmla="*/ 135 h 330"/>
                  <a:gd name="T74" fmla="*/ 43 w 188"/>
                  <a:gd name="T75" fmla="*/ 132 h 330"/>
                  <a:gd name="T76" fmla="*/ 55 w 188"/>
                  <a:gd name="T77" fmla="*/ 130 h 330"/>
                  <a:gd name="T78" fmla="*/ 61 w 188"/>
                  <a:gd name="T79" fmla="*/ 122 h 330"/>
                  <a:gd name="T80" fmla="*/ 67 w 188"/>
                  <a:gd name="T81" fmla="*/ 115 h 330"/>
                  <a:gd name="T82" fmla="*/ 75 w 188"/>
                  <a:gd name="T83" fmla="*/ 113 h 330"/>
                  <a:gd name="T84" fmla="*/ 73 w 188"/>
                  <a:gd name="T85" fmla="*/ 109 h 330"/>
                  <a:gd name="T86" fmla="*/ 72 w 188"/>
                  <a:gd name="T87" fmla="*/ 103 h 330"/>
                  <a:gd name="T88" fmla="*/ 68 w 188"/>
                  <a:gd name="T89" fmla="*/ 97 h 330"/>
                  <a:gd name="T90" fmla="*/ 66 w 188"/>
                  <a:gd name="T91" fmla="*/ 97 h 330"/>
                  <a:gd name="T92" fmla="*/ 68 w 188"/>
                  <a:gd name="T93" fmla="*/ 89 h 330"/>
                  <a:gd name="T94" fmla="*/ 69 w 188"/>
                  <a:gd name="T95" fmla="*/ 86 h 330"/>
                  <a:gd name="T96" fmla="*/ 71 w 188"/>
                  <a:gd name="T97" fmla="*/ 83 h 330"/>
                  <a:gd name="T98" fmla="*/ 71 w 188"/>
                  <a:gd name="T99" fmla="*/ 80 h 330"/>
                  <a:gd name="T100" fmla="*/ 75 w 188"/>
                  <a:gd name="T101" fmla="*/ 73 h 330"/>
                  <a:gd name="T102" fmla="*/ 77 w 188"/>
                  <a:gd name="T103" fmla="*/ 71 h 330"/>
                  <a:gd name="T104" fmla="*/ 83 w 188"/>
                  <a:gd name="T105" fmla="*/ 71 h 330"/>
                  <a:gd name="T106" fmla="*/ 82 w 188"/>
                  <a:gd name="T107" fmla="*/ 62 h 330"/>
                  <a:gd name="T108" fmla="*/ 82 w 188"/>
                  <a:gd name="T109" fmla="*/ 53 h 330"/>
                  <a:gd name="T110" fmla="*/ 82 w 188"/>
                  <a:gd name="T111" fmla="*/ 45 h 330"/>
                  <a:gd name="T112" fmla="*/ 82 w 188"/>
                  <a:gd name="T113" fmla="*/ 36 h 33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88" h="330">
                    <a:moveTo>
                      <a:pt x="185" y="83"/>
                    </a:moveTo>
                    <a:lnTo>
                      <a:pt x="166" y="73"/>
                    </a:lnTo>
                    <a:lnTo>
                      <a:pt x="147" y="63"/>
                    </a:lnTo>
                    <a:lnTo>
                      <a:pt x="129" y="51"/>
                    </a:lnTo>
                    <a:lnTo>
                      <a:pt x="110" y="41"/>
                    </a:lnTo>
                    <a:lnTo>
                      <a:pt x="93" y="31"/>
                    </a:lnTo>
                    <a:lnTo>
                      <a:pt x="75" y="21"/>
                    </a:lnTo>
                    <a:lnTo>
                      <a:pt x="58" y="12"/>
                    </a:lnTo>
                    <a:lnTo>
                      <a:pt x="39" y="0"/>
                    </a:lnTo>
                    <a:lnTo>
                      <a:pt x="22" y="12"/>
                    </a:lnTo>
                    <a:lnTo>
                      <a:pt x="24" y="26"/>
                    </a:lnTo>
                    <a:lnTo>
                      <a:pt x="25" y="41"/>
                    </a:lnTo>
                    <a:lnTo>
                      <a:pt x="41" y="65"/>
                    </a:lnTo>
                    <a:lnTo>
                      <a:pt x="36" y="74"/>
                    </a:lnTo>
                    <a:lnTo>
                      <a:pt x="36" y="89"/>
                    </a:lnTo>
                    <a:lnTo>
                      <a:pt x="36" y="106"/>
                    </a:lnTo>
                    <a:lnTo>
                      <a:pt x="35" y="121"/>
                    </a:lnTo>
                    <a:lnTo>
                      <a:pt x="33" y="137"/>
                    </a:lnTo>
                    <a:lnTo>
                      <a:pt x="24" y="149"/>
                    </a:lnTo>
                    <a:lnTo>
                      <a:pt x="18" y="162"/>
                    </a:lnTo>
                    <a:lnTo>
                      <a:pt x="8" y="174"/>
                    </a:lnTo>
                    <a:lnTo>
                      <a:pt x="0" y="186"/>
                    </a:lnTo>
                    <a:lnTo>
                      <a:pt x="0" y="202"/>
                    </a:lnTo>
                    <a:lnTo>
                      <a:pt x="8" y="215"/>
                    </a:lnTo>
                    <a:lnTo>
                      <a:pt x="16" y="215"/>
                    </a:lnTo>
                    <a:lnTo>
                      <a:pt x="25" y="237"/>
                    </a:lnTo>
                    <a:lnTo>
                      <a:pt x="27" y="258"/>
                    </a:lnTo>
                    <a:lnTo>
                      <a:pt x="39" y="278"/>
                    </a:lnTo>
                    <a:lnTo>
                      <a:pt x="19" y="278"/>
                    </a:lnTo>
                    <a:lnTo>
                      <a:pt x="8" y="283"/>
                    </a:lnTo>
                    <a:lnTo>
                      <a:pt x="24" y="302"/>
                    </a:lnTo>
                    <a:lnTo>
                      <a:pt x="36" y="330"/>
                    </a:lnTo>
                    <a:lnTo>
                      <a:pt x="53" y="325"/>
                    </a:lnTo>
                    <a:lnTo>
                      <a:pt x="56" y="325"/>
                    </a:lnTo>
                    <a:lnTo>
                      <a:pt x="67" y="325"/>
                    </a:lnTo>
                    <a:lnTo>
                      <a:pt x="92" y="320"/>
                    </a:lnTo>
                    <a:lnTo>
                      <a:pt x="101" y="310"/>
                    </a:lnTo>
                    <a:lnTo>
                      <a:pt x="98" y="302"/>
                    </a:lnTo>
                    <a:lnTo>
                      <a:pt x="124" y="297"/>
                    </a:lnTo>
                    <a:lnTo>
                      <a:pt x="138" y="280"/>
                    </a:lnTo>
                    <a:lnTo>
                      <a:pt x="152" y="263"/>
                    </a:lnTo>
                    <a:lnTo>
                      <a:pt x="169" y="260"/>
                    </a:lnTo>
                    <a:lnTo>
                      <a:pt x="166" y="249"/>
                    </a:lnTo>
                    <a:lnTo>
                      <a:pt x="163" y="237"/>
                    </a:lnTo>
                    <a:lnTo>
                      <a:pt x="155" y="222"/>
                    </a:lnTo>
                    <a:lnTo>
                      <a:pt x="149" y="222"/>
                    </a:lnTo>
                    <a:lnTo>
                      <a:pt x="155" y="205"/>
                    </a:lnTo>
                    <a:lnTo>
                      <a:pt x="157" y="196"/>
                    </a:lnTo>
                    <a:lnTo>
                      <a:pt x="160" y="191"/>
                    </a:lnTo>
                    <a:lnTo>
                      <a:pt x="160" y="184"/>
                    </a:lnTo>
                    <a:lnTo>
                      <a:pt x="169" y="167"/>
                    </a:lnTo>
                    <a:lnTo>
                      <a:pt x="175" y="162"/>
                    </a:lnTo>
                    <a:lnTo>
                      <a:pt x="188" y="162"/>
                    </a:lnTo>
                    <a:lnTo>
                      <a:pt x="186" y="142"/>
                    </a:lnTo>
                    <a:lnTo>
                      <a:pt x="186" y="121"/>
                    </a:lnTo>
                    <a:lnTo>
                      <a:pt x="185" y="103"/>
                    </a:lnTo>
                    <a:lnTo>
                      <a:pt x="185" y="8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26" name="Freeform 156">
                <a:extLst>
                  <a:ext uri="{FF2B5EF4-FFF2-40B4-BE49-F238E27FC236}">
                    <a16:creationId xmlns:a16="http://schemas.microsoft.com/office/drawing/2014/main" id="{E7384F50-7E2E-624A-4C99-42CD136393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10" y="3532"/>
                <a:ext cx="12" cy="14"/>
              </a:xfrm>
              <a:custGeom>
                <a:avLst/>
                <a:gdLst>
                  <a:gd name="T0" fmla="*/ 0 w 26"/>
                  <a:gd name="T1" fmla="*/ 14 h 33"/>
                  <a:gd name="T2" fmla="*/ 10 w 26"/>
                  <a:gd name="T3" fmla="*/ 14 h 33"/>
                  <a:gd name="T4" fmla="*/ 12 w 26"/>
                  <a:gd name="T5" fmla="*/ 10 h 33"/>
                  <a:gd name="T6" fmla="*/ 9 w 26"/>
                  <a:gd name="T7" fmla="*/ 0 h 33"/>
                  <a:gd name="T8" fmla="*/ 6 w 26"/>
                  <a:gd name="T9" fmla="*/ 1 h 33"/>
                  <a:gd name="T10" fmla="*/ 0 w 26"/>
                  <a:gd name="T11" fmla="*/ 14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" h="33">
                    <a:moveTo>
                      <a:pt x="0" y="32"/>
                    </a:moveTo>
                    <a:lnTo>
                      <a:pt x="22" y="33"/>
                    </a:lnTo>
                    <a:lnTo>
                      <a:pt x="26" y="24"/>
                    </a:lnTo>
                    <a:lnTo>
                      <a:pt x="19" y="0"/>
                    </a:lnTo>
                    <a:lnTo>
                      <a:pt x="12" y="2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27" name="Freeform 157">
                <a:extLst>
                  <a:ext uri="{FF2B5EF4-FFF2-40B4-BE49-F238E27FC236}">
                    <a16:creationId xmlns:a16="http://schemas.microsoft.com/office/drawing/2014/main" id="{4294D4F8-11EA-430A-E965-045FB50AE6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67" y="3483"/>
                <a:ext cx="53" cy="50"/>
              </a:xfrm>
              <a:custGeom>
                <a:avLst/>
                <a:gdLst>
                  <a:gd name="T0" fmla="*/ 0 w 119"/>
                  <a:gd name="T1" fmla="*/ 39 h 116"/>
                  <a:gd name="T2" fmla="*/ 0 w 119"/>
                  <a:gd name="T3" fmla="*/ 32 h 116"/>
                  <a:gd name="T4" fmla="*/ 2 w 119"/>
                  <a:gd name="T5" fmla="*/ 20 h 116"/>
                  <a:gd name="T6" fmla="*/ 4 w 119"/>
                  <a:gd name="T7" fmla="*/ 9 h 116"/>
                  <a:gd name="T8" fmla="*/ 9 w 119"/>
                  <a:gd name="T9" fmla="*/ 5 h 116"/>
                  <a:gd name="T10" fmla="*/ 14 w 119"/>
                  <a:gd name="T11" fmla="*/ 1 h 116"/>
                  <a:gd name="T12" fmla="*/ 15 w 119"/>
                  <a:gd name="T13" fmla="*/ 0 h 116"/>
                  <a:gd name="T14" fmla="*/ 18 w 119"/>
                  <a:gd name="T15" fmla="*/ 6 h 116"/>
                  <a:gd name="T16" fmla="*/ 20 w 119"/>
                  <a:gd name="T17" fmla="*/ 13 h 116"/>
                  <a:gd name="T18" fmla="*/ 23 w 119"/>
                  <a:gd name="T19" fmla="*/ 19 h 116"/>
                  <a:gd name="T20" fmla="*/ 25 w 119"/>
                  <a:gd name="T21" fmla="*/ 25 h 116"/>
                  <a:gd name="T22" fmla="*/ 25 w 119"/>
                  <a:gd name="T23" fmla="*/ 23 h 116"/>
                  <a:gd name="T24" fmla="*/ 29 w 119"/>
                  <a:gd name="T25" fmla="*/ 25 h 116"/>
                  <a:gd name="T26" fmla="*/ 34 w 119"/>
                  <a:gd name="T27" fmla="*/ 29 h 116"/>
                  <a:gd name="T28" fmla="*/ 43 w 119"/>
                  <a:gd name="T29" fmla="*/ 37 h 116"/>
                  <a:gd name="T30" fmla="*/ 52 w 119"/>
                  <a:gd name="T31" fmla="*/ 46 h 116"/>
                  <a:gd name="T32" fmla="*/ 53 w 119"/>
                  <a:gd name="T33" fmla="*/ 47 h 116"/>
                  <a:gd name="T34" fmla="*/ 52 w 119"/>
                  <a:gd name="T35" fmla="*/ 48 h 116"/>
                  <a:gd name="T36" fmla="*/ 49 w 119"/>
                  <a:gd name="T37" fmla="*/ 48 h 116"/>
                  <a:gd name="T38" fmla="*/ 45 w 119"/>
                  <a:gd name="T39" fmla="*/ 50 h 116"/>
                  <a:gd name="T40" fmla="*/ 45 w 119"/>
                  <a:gd name="T41" fmla="*/ 48 h 116"/>
                  <a:gd name="T42" fmla="*/ 38 w 119"/>
                  <a:gd name="T43" fmla="*/ 46 h 116"/>
                  <a:gd name="T44" fmla="*/ 33 w 119"/>
                  <a:gd name="T45" fmla="*/ 41 h 116"/>
                  <a:gd name="T46" fmla="*/ 30 w 119"/>
                  <a:gd name="T47" fmla="*/ 37 h 116"/>
                  <a:gd name="T48" fmla="*/ 25 w 119"/>
                  <a:gd name="T49" fmla="*/ 35 h 116"/>
                  <a:gd name="T50" fmla="*/ 21 w 119"/>
                  <a:gd name="T51" fmla="*/ 34 h 116"/>
                  <a:gd name="T52" fmla="*/ 16 w 119"/>
                  <a:gd name="T53" fmla="*/ 35 h 116"/>
                  <a:gd name="T54" fmla="*/ 12 w 119"/>
                  <a:gd name="T55" fmla="*/ 31 h 116"/>
                  <a:gd name="T56" fmla="*/ 11 w 119"/>
                  <a:gd name="T57" fmla="*/ 38 h 116"/>
                  <a:gd name="T58" fmla="*/ 7 w 119"/>
                  <a:gd name="T59" fmla="*/ 35 h 116"/>
                  <a:gd name="T60" fmla="*/ 3 w 119"/>
                  <a:gd name="T61" fmla="*/ 39 h 116"/>
                  <a:gd name="T62" fmla="*/ 0 w 119"/>
                  <a:gd name="T63" fmla="*/ 39 h 11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19" h="116">
                    <a:moveTo>
                      <a:pt x="0" y="90"/>
                    </a:moveTo>
                    <a:lnTo>
                      <a:pt x="1" y="75"/>
                    </a:lnTo>
                    <a:lnTo>
                      <a:pt x="4" y="47"/>
                    </a:lnTo>
                    <a:lnTo>
                      <a:pt x="10" y="20"/>
                    </a:lnTo>
                    <a:lnTo>
                      <a:pt x="21" y="12"/>
                    </a:lnTo>
                    <a:lnTo>
                      <a:pt x="32" y="2"/>
                    </a:lnTo>
                    <a:lnTo>
                      <a:pt x="34" y="0"/>
                    </a:lnTo>
                    <a:lnTo>
                      <a:pt x="41" y="15"/>
                    </a:lnTo>
                    <a:lnTo>
                      <a:pt x="46" y="30"/>
                    </a:lnTo>
                    <a:lnTo>
                      <a:pt x="51" y="43"/>
                    </a:lnTo>
                    <a:lnTo>
                      <a:pt x="57" y="58"/>
                    </a:lnTo>
                    <a:lnTo>
                      <a:pt x="57" y="53"/>
                    </a:lnTo>
                    <a:lnTo>
                      <a:pt x="64" y="57"/>
                    </a:lnTo>
                    <a:lnTo>
                      <a:pt x="77" y="67"/>
                    </a:lnTo>
                    <a:lnTo>
                      <a:pt x="97" y="86"/>
                    </a:lnTo>
                    <a:lnTo>
                      <a:pt x="117" y="106"/>
                    </a:lnTo>
                    <a:lnTo>
                      <a:pt x="119" y="110"/>
                    </a:lnTo>
                    <a:lnTo>
                      <a:pt x="116" y="111"/>
                    </a:lnTo>
                    <a:lnTo>
                      <a:pt x="111" y="111"/>
                    </a:lnTo>
                    <a:lnTo>
                      <a:pt x="100" y="116"/>
                    </a:lnTo>
                    <a:lnTo>
                      <a:pt x="100" y="111"/>
                    </a:lnTo>
                    <a:lnTo>
                      <a:pt x="85" y="106"/>
                    </a:lnTo>
                    <a:lnTo>
                      <a:pt x="74" y="95"/>
                    </a:lnTo>
                    <a:lnTo>
                      <a:pt x="68" y="86"/>
                    </a:lnTo>
                    <a:lnTo>
                      <a:pt x="57" y="82"/>
                    </a:lnTo>
                    <a:lnTo>
                      <a:pt x="47" y="80"/>
                    </a:lnTo>
                    <a:lnTo>
                      <a:pt x="37" y="82"/>
                    </a:lnTo>
                    <a:lnTo>
                      <a:pt x="27" y="72"/>
                    </a:lnTo>
                    <a:lnTo>
                      <a:pt x="24" y="88"/>
                    </a:lnTo>
                    <a:lnTo>
                      <a:pt x="15" y="82"/>
                    </a:lnTo>
                    <a:lnTo>
                      <a:pt x="7" y="90"/>
                    </a:lnTo>
                    <a:lnTo>
                      <a:pt x="0" y="9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28" name="Freeform 158">
                <a:extLst>
                  <a:ext uri="{FF2B5EF4-FFF2-40B4-BE49-F238E27FC236}">
                    <a16:creationId xmlns:a16="http://schemas.microsoft.com/office/drawing/2014/main" id="{F202F76C-F1AF-48E5-72E7-5AFD4849FE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42" y="3514"/>
                <a:ext cx="120" cy="99"/>
              </a:xfrm>
              <a:custGeom>
                <a:avLst/>
                <a:gdLst>
                  <a:gd name="T0" fmla="*/ 41 w 271"/>
                  <a:gd name="T1" fmla="*/ 97 h 227"/>
                  <a:gd name="T2" fmla="*/ 30 w 271"/>
                  <a:gd name="T3" fmla="*/ 90 h 227"/>
                  <a:gd name="T4" fmla="*/ 23 w 271"/>
                  <a:gd name="T5" fmla="*/ 89 h 227"/>
                  <a:gd name="T6" fmla="*/ 21 w 271"/>
                  <a:gd name="T7" fmla="*/ 82 h 227"/>
                  <a:gd name="T8" fmla="*/ 17 w 271"/>
                  <a:gd name="T9" fmla="*/ 80 h 227"/>
                  <a:gd name="T10" fmla="*/ 14 w 271"/>
                  <a:gd name="T11" fmla="*/ 74 h 227"/>
                  <a:gd name="T12" fmla="*/ 10 w 271"/>
                  <a:gd name="T13" fmla="*/ 68 h 227"/>
                  <a:gd name="T14" fmla="*/ 3 w 271"/>
                  <a:gd name="T15" fmla="*/ 61 h 227"/>
                  <a:gd name="T16" fmla="*/ 0 w 271"/>
                  <a:gd name="T17" fmla="*/ 58 h 227"/>
                  <a:gd name="T18" fmla="*/ 3 w 271"/>
                  <a:gd name="T19" fmla="*/ 54 h 227"/>
                  <a:gd name="T20" fmla="*/ 8 w 271"/>
                  <a:gd name="T21" fmla="*/ 53 h 227"/>
                  <a:gd name="T22" fmla="*/ 10 w 271"/>
                  <a:gd name="T23" fmla="*/ 43 h 227"/>
                  <a:gd name="T24" fmla="*/ 10 w 271"/>
                  <a:gd name="T25" fmla="*/ 33 h 227"/>
                  <a:gd name="T26" fmla="*/ 15 w 271"/>
                  <a:gd name="T27" fmla="*/ 32 h 227"/>
                  <a:gd name="T28" fmla="*/ 16 w 271"/>
                  <a:gd name="T29" fmla="*/ 22 h 227"/>
                  <a:gd name="T30" fmla="*/ 26 w 271"/>
                  <a:gd name="T31" fmla="*/ 8 h 227"/>
                  <a:gd name="T32" fmla="*/ 28 w 271"/>
                  <a:gd name="T33" fmla="*/ 8 h 227"/>
                  <a:gd name="T34" fmla="*/ 32 w 271"/>
                  <a:gd name="T35" fmla="*/ 4 h 227"/>
                  <a:gd name="T36" fmla="*/ 36 w 271"/>
                  <a:gd name="T37" fmla="*/ 7 h 227"/>
                  <a:gd name="T38" fmla="*/ 37 w 271"/>
                  <a:gd name="T39" fmla="*/ 0 h 227"/>
                  <a:gd name="T40" fmla="*/ 42 w 271"/>
                  <a:gd name="T41" fmla="*/ 4 h 227"/>
                  <a:gd name="T42" fmla="*/ 46 w 271"/>
                  <a:gd name="T43" fmla="*/ 3 h 227"/>
                  <a:gd name="T44" fmla="*/ 51 w 271"/>
                  <a:gd name="T45" fmla="*/ 4 h 227"/>
                  <a:gd name="T46" fmla="*/ 56 w 271"/>
                  <a:gd name="T47" fmla="*/ 7 h 227"/>
                  <a:gd name="T48" fmla="*/ 58 w 271"/>
                  <a:gd name="T49" fmla="*/ 10 h 227"/>
                  <a:gd name="T50" fmla="*/ 63 w 271"/>
                  <a:gd name="T51" fmla="*/ 16 h 227"/>
                  <a:gd name="T52" fmla="*/ 71 w 271"/>
                  <a:gd name="T53" fmla="*/ 17 h 227"/>
                  <a:gd name="T54" fmla="*/ 71 w 271"/>
                  <a:gd name="T55" fmla="*/ 20 h 227"/>
                  <a:gd name="T56" fmla="*/ 75 w 271"/>
                  <a:gd name="T57" fmla="*/ 18 h 227"/>
                  <a:gd name="T58" fmla="*/ 70 w 271"/>
                  <a:gd name="T59" fmla="*/ 30 h 227"/>
                  <a:gd name="T60" fmla="*/ 79 w 271"/>
                  <a:gd name="T61" fmla="*/ 31 h 227"/>
                  <a:gd name="T62" fmla="*/ 77 w 271"/>
                  <a:gd name="T63" fmla="*/ 36 h 227"/>
                  <a:gd name="T64" fmla="*/ 83 w 271"/>
                  <a:gd name="T65" fmla="*/ 42 h 227"/>
                  <a:gd name="T66" fmla="*/ 88 w 271"/>
                  <a:gd name="T67" fmla="*/ 50 h 227"/>
                  <a:gd name="T68" fmla="*/ 93 w 271"/>
                  <a:gd name="T69" fmla="*/ 51 h 227"/>
                  <a:gd name="T70" fmla="*/ 100 w 271"/>
                  <a:gd name="T71" fmla="*/ 54 h 227"/>
                  <a:gd name="T72" fmla="*/ 106 w 271"/>
                  <a:gd name="T73" fmla="*/ 56 h 227"/>
                  <a:gd name="T74" fmla="*/ 112 w 271"/>
                  <a:gd name="T75" fmla="*/ 58 h 227"/>
                  <a:gd name="T76" fmla="*/ 120 w 271"/>
                  <a:gd name="T77" fmla="*/ 58 h 227"/>
                  <a:gd name="T78" fmla="*/ 114 w 271"/>
                  <a:gd name="T79" fmla="*/ 65 h 227"/>
                  <a:gd name="T80" fmla="*/ 108 w 271"/>
                  <a:gd name="T81" fmla="*/ 72 h 227"/>
                  <a:gd name="T82" fmla="*/ 102 w 271"/>
                  <a:gd name="T83" fmla="*/ 79 h 227"/>
                  <a:gd name="T84" fmla="*/ 96 w 271"/>
                  <a:gd name="T85" fmla="*/ 86 h 227"/>
                  <a:gd name="T86" fmla="*/ 90 w 271"/>
                  <a:gd name="T87" fmla="*/ 86 h 227"/>
                  <a:gd name="T88" fmla="*/ 83 w 271"/>
                  <a:gd name="T89" fmla="*/ 87 h 227"/>
                  <a:gd name="T90" fmla="*/ 75 w 271"/>
                  <a:gd name="T91" fmla="*/ 92 h 227"/>
                  <a:gd name="T92" fmla="*/ 71 w 271"/>
                  <a:gd name="T93" fmla="*/ 95 h 227"/>
                  <a:gd name="T94" fmla="*/ 63 w 271"/>
                  <a:gd name="T95" fmla="*/ 93 h 227"/>
                  <a:gd name="T96" fmla="*/ 56 w 271"/>
                  <a:gd name="T97" fmla="*/ 95 h 227"/>
                  <a:gd name="T98" fmla="*/ 51 w 271"/>
                  <a:gd name="T99" fmla="*/ 99 h 227"/>
                  <a:gd name="T100" fmla="*/ 41 w 271"/>
                  <a:gd name="T101" fmla="*/ 97 h 22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71" h="227">
                    <a:moveTo>
                      <a:pt x="92" y="222"/>
                    </a:moveTo>
                    <a:lnTo>
                      <a:pt x="68" y="207"/>
                    </a:lnTo>
                    <a:lnTo>
                      <a:pt x="53" y="203"/>
                    </a:lnTo>
                    <a:lnTo>
                      <a:pt x="48" y="189"/>
                    </a:lnTo>
                    <a:lnTo>
                      <a:pt x="39" y="184"/>
                    </a:lnTo>
                    <a:lnTo>
                      <a:pt x="31" y="169"/>
                    </a:lnTo>
                    <a:lnTo>
                      <a:pt x="23" y="155"/>
                    </a:lnTo>
                    <a:lnTo>
                      <a:pt x="6" y="139"/>
                    </a:lnTo>
                    <a:lnTo>
                      <a:pt x="0" y="134"/>
                    </a:lnTo>
                    <a:lnTo>
                      <a:pt x="6" y="124"/>
                    </a:lnTo>
                    <a:lnTo>
                      <a:pt x="19" y="121"/>
                    </a:lnTo>
                    <a:lnTo>
                      <a:pt x="22" y="99"/>
                    </a:lnTo>
                    <a:lnTo>
                      <a:pt x="23" y="76"/>
                    </a:lnTo>
                    <a:lnTo>
                      <a:pt x="33" y="74"/>
                    </a:lnTo>
                    <a:lnTo>
                      <a:pt x="37" y="51"/>
                    </a:lnTo>
                    <a:lnTo>
                      <a:pt x="58" y="18"/>
                    </a:lnTo>
                    <a:lnTo>
                      <a:pt x="64" y="19"/>
                    </a:lnTo>
                    <a:lnTo>
                      <a:pt x="73" y="10"/>
                    </a:lnTo>
                    <a:lnTo>
                      <a:pt x="81" y="16"/>
                    </a:lnTo>
                    <a:lnTo>
                      <a:pt x="84" y="0"/>
                    </a:lnTo>
                    <a:lnTo>
                      <a:pt x="95" y="10"/>
                    </a:lnTo>
                    <a:lnTo>
                      <a:pt x="105" y="8"/>
                    </a:lnTo>
                    <a:lnTo>
                      <a:pt x="115" y="10"/>
                    </a:lnTo>
                    <a:lnTo>
                      <a:pt x="126" y="16"/>
                    </a:lnTo>
                    <a:lnTo>
                      <a:pt x="132" y="23"/>
                    </a:lnTo>
                    <a:lnTo>
                      <a:pt x="143" y="36"/>
                    </a:lnTo>
                    <a:lnTo>
                      <a:pt x="160" y="39"/>
                    </a:lnTo>
                    <a:lnTo>
                      <a:pt x="160" y="46"/>
                    </a:lnTo>
                    <a:lnTo>
                      <a:pt x="169" y="41"/>
                    </a:lnTo>
                    <a:lnTo>
                      <a:pt x="157" y="69"/>
                    </a:lnTo>
                    <a:lnTo>
                      <a:pt x="178" y="72"/>
                    </a:lnTo>
                    <a:lnTo>
                      <a:pt x="175" y="82"/>
                    </a:lnTo>
                    <a:lnTo>
                      <a:pt x="187" y="97"/>
                    </a:lnTo>
                    <a:lnTo>
                      <a:pt x="198" y="114"/>
                    </a:lnTo>
                    <a:lnTo>
                      <a:pt x="211" y="117"/>
                    </a:lnTo>
                    <a:lnTo>
                      <a:pt x="225" y="124"/>
                    </a:lnTo>
                    <a:lnTo>
                      <a:pt x="239" y="129"/>
                    </a:lnTo>
                    <a:lnTo>
                      <a:pt x="252" y="134"/>
                    </a:lnTo>
                    <a:lnTo>
                      <a:pt x="271" y="134"/>
                    </a:lnTo>
                    <a:lnTo>
                      <a:pt x="257" y="149"/>
                    </a:lnTo>
                    <a:lnTo>
                      <a:pt x="245" y="165"/>
                    </a:lnTo>
                    <a:lnTo>
                      <a:pt x="231" y="180"/>
                    </a:lnTo>
                    <a:lnTo>
                      <a:pt x="217" y="198"/>
                    </a:lnTo>
                    <a:lnTo>
                      <a:pt x="203" y="198"/>
                    </a:lnTo>
                    <a:lnTo>
                      <a:pt x="187" y="200"/>
                    </a:lnTo>
                    <a:lnTo>
                      <a:pt x="170" y="212"/>
                    </a:lnTo>
                    <a:lnTo>
                      <a:pt x="161" y="217"/>
                    </a:lnTo>
                    <a:lnTo>
                      <a:pt x="143" y="213"/>
                    </a:lnTo>
                    <a:lnTo>
                      <a:pt x="126" y="218"/>
                    </a:lnTo>
                    <a:lnTo>
                      <a:pt x="115" y="227"/>
                    </a:lnTo>
                    <a:lnTo>
                      <a:pt x="92" y="22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29" name="Freeform 159">
                <a:extLst>
                  <a:ext uri="{FF2B5EF4-FFF2-40B4-BE49-F238E27FC236}">
                    <a16:creationId xmlns:a16="http://schemas.microsoft.com/office/drawing/2014/main" id="{899DE664-7C07-B299-0F21-737AD652A8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06" y="3537"/>
                <a:ext cx="81" cy="122"/>
              </a:xfrm>
              <a:custGeom>
                <a:avLst/>
                <a:gdLst>
                  <a:gd name="T0" fmla="*/ 78 w 181"/>
                  <a:gd name="T1" fmla="*/ 16 h 280"/>
                  <a:gd name="T2" fmla="*/ 76 w 181"/>
                  <a:gd name="T3" fmla="*/ 27 h 280"/>
                  <a:gd name="T4" fmla="*/ 70 w 181"/>
                  <a:gd name="T5" fmla="*/ 37 h 280"/>
                  <a:gd name="T6" fmla="*/ 66 w 181"/>
                  <a:gd name="T7" fmla="*/ 47 h 280"/>
                  <a:gd name="T8" fmla="*/ 60 w 181"/>
                  <a:gd name="T9" fmla="*/ 59 h 280"/>
                  <a:gd name="T10" fmla="*/ 54 w 181"/>
                  <a:gd name="T11" fmla="*/ 69 h 280"/>
                  <a:gd name="T12" fmla="*/ 49 w 181"/>
                  <a:gd name="T13" fmla="*/ 74 h 280"/>
                  <a:gd name="T14" fmla="*/ 44 w 181"/>
                  <a:gd name="T15" fmla="*/ 79 h 280"/>
                  <a:gd name="T16" fmla="*/ 39 w 181"/>
                  <a:gd name="T17" fmla="*/ 84 h 280"/>
                  <a:gd name="T18" fmla="*/ 34 w 181"/>
                  <a:gd name="T19" fmla="*/ 88 h 280"/>
                  <a:gd name="T20" fmla="*/ 29 w 181"/>
                  <a:gd name="T21" fmla="*/ 94 h 280"/>
                  <a:gd name="T22" fmla="*/ 23 w 181"/>
                  <a:gd name="T23" fmla="*/ 99 h 280"/>
                  <a:gd name="T24" fmla="*/ 18 w 181"/>
                  <a:gd name="T25" fmla="*/ 105 h 280"/>
                  <a:gd name="T26" fmla="*/ 13 w 181"/>
                  <a:gd name="T27" fmla="*/ 110 h 280"/>
                  <a:gd name="T28" fmla="*/ 8 w 181"/>
                  <a:gd name="T29" fmla="*/ 116 h 280"/>
                  <a:gd name="T30" fmla="*/ 5 w 181"/>
                  <a:gd name="T31" fmla="*/ 122 h 280"/>
                  <a:gd name="T32" fmla="*/ 0 w 181"/>
                  <a:gd name="T33" fmla="*/ 115 h 280"/>
                  <a:gd name="T34" fmla="*/ 0 w 181"/>
                  <a:gd name="T35" fmla="*/ 106 h 280"/>
                  <a:gd name="T36" fmla="*/ 0 w 181"/>
                  <a:gd name="T37" fmla="*/ 98 h 280"/>
                  <a:gd name="T38" fmla="*/ 0 w 181"/>
                  <a:gd name="T39" fmla="*/ 90 h 280"/>
                  <a:gd name="T40" fmla="*/ 0 w 181"/>
                  <a:gd name="T41" fmla="*/ 81 h 280"/>
                  <a:gd name="T42" fmla="*/ 3 w 181"/>
                  <a:gd name="T43" fmla="*/ 76 h 280"/>
                  <a:gd name="T44" fmla="*/ 7 w 181"/>
                  <a:gd name="T45" fmla="*/ 71 h 280"/>
                  <a:gd name="T46" fmla="*/ 11 w 181"/>
                  <a:gd name="T47" fmla="*/ 69 h 280"/>
                  <a:gd name="T48" fmla="*/ 18 w 181"/>
                  <a:gd name="T49" fmla="*/ 64 h 280"/>
                  <a:gd name="T50" fmla="*/ 26 w 181"/>
                  <a:gd name="T51" fmla="*/ 63 h 280"/>
                  <a:gd name="T52" fmla="*/ 32 w 181"/>
                  <a:gd name="T53" fmla="*/ 63 h 280"/>
                  <a:gd name="T54" fmla="*/ 37 w 181"/>
                  <a:gd name="T55" fmla="*/ 55 h 280"/>
                  <a:gd name="T56" fmla="*/ 43 w 181"/>
                  <a:gd name="T57" fmla="*/ 49 h 280"/>
                  <a:gd name="T58" fmla="*/ 49 w 181"/>
                  <a:gd name="T59" fmla="*/ 42 h 280"/>
                  <a:gd name="T60" fmla="*/ 55 w 181"/>
                  <a:gd name="T61" fmla="*/ 35 h 280"/>
                  <a:gd name="T62" fmla="*/ 47 w 181"/>
                  <a:gd name="T63" fmla="*/ 35 h 280"/>
                  <a:gd name="T64" fmla="*/ 42 w 181"/>
                  <a:gd name="T65" fmla="*/ 33 h 280"/>
                  <a:gd name="T66" fmla="*/ 35 w 181"/>
                  <a:gd name="T67" fmla="*/ 30 h 280"/>
                  <a:gd name="T68" fmla="*/ 29 w 181"/>
                  <a:gd name="T69" fmla="*/ 28 h 280"/>
                  <a:gd name="T70" fmla="*/ 23 w 181"/>
                  <a:gd name="T71" fmla="*/ 27 h 280"/>
                  <a:gd name="T72" fmla="*/ 18 w 181"/>
                  <a:gd name="T73" fmla="*/ 19 h 280"/>
                  <a:gd name="T74" fmla="*/ 13 w 181"/>
                  <a:gd name="T75" fmla="*/ 13 h 280"/>
                  <a:gd name="T76" fmla="*/ 14 w 181"/>
                  <a:gd name="T77" fmla="*/ 8 h 280"/>
                  <a:gd name="T78" fmla="*/ 17 w 181"/>
                  <a:gd name="T79" fmla="*/ 4 h 280"/>
                  <a:gd name="T80" fmla="*/ 21 w 181"/>
                  <a:gd name="T81" fmla="*/ 8 h 280"/>
                  <a:gd name="T82" fmla="*/ 26 w 181"/>
                  <a:gd name="T83" fmla="*/ 13 h 280"/>
                  <a:gd name="T84" fmla="*/ 37 w 181"/>
                  <a:gd name="T85" fmla="*/ 9 h 280"/>
                  <a:gd name="T86" fmla="*/ 43 w 181"/>
                  <a:gd name="T87" fmla="*/ 10 h 280"/>
                  <a:gd name="T88" fmla="*/ 52 w 181"/>
                  <a:gd name="T89" fmla="*/ 7 h 280"/>
                  <a:gd name="T90" fmla="*/ 62 w 181"/>
                  <a:gd name="T91" fmla="*/ 4 h 280"/>
                  <a:gd name="T92" fmla="*/ 74 w 181"/>
                  <a:gd name="T93" fmla="*/ 2 h 280"/>
                  <a:gd name="T94" fmla="*/ 78 w 181"/>
                  <a:gd name="T95" fmla="*/ 0 h 280"/>
                  <a:gd name="T96" fmla="*/ 80 w 181"/>
                  <a:gd name="T97" fmla="*/ 2 h 280"/>
                  <a:gd name="T98" fmla="*/ 80 w 181"/>
                  <a:gd name="T99" fmla="*/ 13 h 280"/>
                  <a:gd name="T100" fmla="*/ 81 w 181"/>
                  <a:gd name="T101" fmla="*/ 14 h 280"/>
                  <a:gd name="T102" fmla="*/ 78 w 181"/>
                  <a:gd name="T103" fmla="*/ 16 h 28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81" h="280">
                    <a:moveTo>
                      <a:pt x="175" y="36"/>
                    </a:moveTo>
                    <a:lnTo>
                      <a:pt x="170" y="61"/>
                    </a:lnTo>
                    <a:lnTo>
                      <a:pt x="156" y="84"/>
                    </a:lnTo>
                    <a:lnTo>
                      <a:pt x="147" y="109"/>
                    </a:lnTo>
                    <a:lnTo>
                      <a:pt x="133" y="136"/>
                    </a:lnTo>
                    <a:lnTo>
                      <a:pt x="120" y="159"/>
                    </a:lnTo>
                    <a:lnTo>
                      <a:pt x="110" y="170"/>
                    </a:lnTo>
                    <a:lnTo>
                      <a:pt x="99" y="182"/>
                    </a:lnTo>
                    <a:lnTo>
                      <a:pt x="88" y="192"/>
                    </a:lnTo>
                    <a:lnTo>
                      <a:pt x="77" y="203"/>
                    </a:lnTo>
                    <a:lnTo>
                      <a:pt x="65" y="215"/>
                    </a:lnTo>
                    <a:lnTo>
                      <a:pt x="52" y="228"/>
                    </a:lnTo>
                    <a:lnTo>
                      <a:pt x="41" y="242"/>
                    </a:lnTo>
                    <a:lnTo>
                      <a:pt x="28" y="253"/>
                    </a:lnTo>
                    <a:lnTo>
                      <a:pt x="18" y="266"/>
                    </a:lnTo>
                    <a:lnTo>
                      <a:pt x="11" y="280"/>
                    </a:lnTo>
                    <a:lnTo>
                      <a:pt x="1" y="263"/>
                    </a:lnTo>
                    <a:lnTo>
                      <a:pt x="1" y="243"/>
                    </a:lnTo>
                    <a:lnTo>
                      <a:pt x="1" y="225"/>
                    </a:lnTo>
                    <a:lnTo>
                      <a:pt x="1" y="207"/>
                    </a:lnTo>
                    <a:lnTo>
                      <a:pt x="0" y="187"/>
                    </a:lnTo>
                    <a:lnTo>
                      <a:pt x="7" y="174"/>
                    </a:lnTo>
                    <a:lnTo>
                      <a:pt x="15" y="164"/>
                    </a:lnTo>
                    <a:lnTo>
                      <a:pt x="24" y="159"/>
                    </a:lnTo>
                    <a:lnTo>
                      <a:pt x="41" y="147"/>
                    </a:lnTo>
                    <a:lnTo>
                      <a:pt x="57" y="145"/>
                    </a:lnTo>
                    <a:lnTo>
                      <a:pt x="71" y="144"/>
                    </a:lnTo>
                    <a:lnTo>
                      <a:pt x="83" y="127"/>
                    </a:lnTo>
                    <a:lnTo>
                      <a:pt x="97" y="112"/>
                    </a:lnTo>
                    <a:lnTo>
                      <a:pt x="110" y="96"/>
                    </a:lnTo>
                    <a:lnTo>
                      <a:pt x="123" y="81"/>
                    </a:lnTo>
                    <a:lnTo>
                      <a:pt x="106" y="81"/>
                    </a:lnTo>
                    <a:lnTo>
                      <a:pt x="93" y="76"/>
                    </a:lnTo>
                    <a:lnTo>
                      <a:pt x="79" y="69"/>
                    </a:lnTo>
                    <a:lnTo>
                      <a:pt x="65" y="64"/>
                    </a:lnTo>
                    <a:lnTo>
                      <a:pt x="52" y="61"/>
                    </a:lnTo>
                    <a:lnTo>
                      <a:pt x="41" y="44"/>
                    </a:lnTo>
                    <a:lnTo>
                      <a:pt x="29" y="29"/>
                    </a:lnTo>
                    <a:lnTo>
                      <a:pt x="32" y="19"/>
                    </a:lnTo>
                    <a:lnTo>
                      <a:pt x="37" y="10"/>
                    </a:lnTo>
                    <a:lnTo>
                      <a:pt x="48" y="19"/>
                    </a:lnTo>
                    <a:lnTo>
                      <a:pt x="58" y="29"/>
                    </a:lnTo>
                    <a:lnTo>
                      <a:pt x="82" y="21"/>
                    </a:lnTo>
                    <a:lnTo>
                      <a:pt x="97" y="24"/>
                    </a:lnTo>
                    <a:lnTo>
                      <a:pt x="116" y="16"/>
                    </a:lnTo>
                    <a:lnTo>
                      <a:pt x="139" y="10"/>
                    </a:lnTo>
                    <a:lnTo>
                      <a:pt x="165" y="5"/>
                    </a:lnTo>
                    <a:lnTo>
                      <a:pt x="175" y="0"/>
                    </a:lnTo>
                    <a:lnTo>
                      <a:pt x="179" y="5"/>
                    </a:lnTo>
                    <a:lnTo>
                      <a:pt x="179" y="29"/>
                    </a:lnTo>
                    <a:lnTo>
                      <a:pt x="181" y="31"/>
                    </a:lnTo>
                    <a:lnTo>
                      <a:pt x="175" y="3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30" name="Freeform 160">
                <a:extLst>
                  <a:ext uri="{FF2B5EF4-FFF2-40B4-BE49-F238E27FC236}">
                    <a16:creationId xmlns:a16="http://schemas.microsoft.com/office/drawing/2014/main" id="{30D3FAF0-3F08-01F9-8045-FB07C49B04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52" y="3436"/>
                <a:ext cx="129" cy="177"/>
              </a:xfrm>
              <a:custGeom>
                <a:avLst/>
                <a:gdLst>
                  <a:gd name="T0" fmla="*/ 16 w 294"/>
                  <a:gd name="T1" fmla="*/ 28 h 405"/>
                  <a:gd name="T2" fmla="*/ 23 w 294"/>
                  <a:gd name="T3" fmla="*/ 19 h 405"/>
                  <a:gd name="T4" fmla="*/ 29 w 294"/>
                  <a:gd name="T5" fmla="*/ 10 h 405"/>
                  <a:gd name="T6" fmla="*/ 41 w 294"/>
                  <a:gd name="T7" fmla="*/ 10 h 405"/>
                  <a:gd name="T8" fmla="*/ 53 w 294"/>
                  <a:gd name="T9" fmla="*/ 10 h 405"/>
                  <a:gd name="T10" fmla="*/ 65 w 294"/>
                  <a:gd name="T11" fmla="*/ 10 h 405"/>
                  <a:gd name="T12" fmla="*/ 73 w 294"/>
                  <a:gd name="T13" fmla="*/ 9 h 405"/>
                  <a:gd name="T14" fmla="*/ 82 w 294"/>
                  <a:gd name="T15" fmla="*/ 12 h 405"/>
                  <a:gd name="T16" fmla="*/ 93 w 294"/>
                  <a:gd name="T17" fmla="*/ 9 h 405"/>
                  <a:gd name="T18" fmla="*/ 99 w 294"/>
                  <a:gd name="T19" fmla="*/ 2 h 405"/>
                  <a:gd name="T20" fmla="*/ 104 w 294"/>
                  <a:gd name="T21" fmla="*/ 0 h 405"/>
                  <a:gd name="T22" fmla="*/ 115 w 294"/>
                  <a:gd name="T23" fmla="*/ 12 h 405"/>
                  <a:gd name="T24" fmla="*/ 119 w 294"/>
                  <a:gd name="T25" fmla="*/ 29 h 405"/>
                  <a:gd name="T26" fmla="*/ 129 w 294"/>
                  <a:gd name="T27" fmla="*/ 47 h 405"/>
                  <a:gd name="T28" fmla="*/ 119 w 294"/>
                  <a:gd name="T29" fmla="*/ 55 h 405"/>
                  <a:gd name="T30" fmla="*/ 115 w 294"/>
                  <a:gd name="T31" fmla="*/ 79 h 405"/>
                  <a:gd name="T32" fmla="*/ 107 w 294"/>
                  <a:gd name="T33" fmla="*/ 100 h 405"/>
                  <a:gd name="T34" fmla="*/ 100 w 294"/>
                  <a:gd name="T35" fmla="*/ 111 h 405"/>
                  <a:gd name="T36" fmla="*/ 98 w 294"/>
                  <a:gd name="T37" fmla="*/ 131 h 405"/>
                  <a:gd name="T38" fmla="*/ 90 w 294"/>
                  <a:gd name="T39" fmla="*/ 136 h 405"/>
                  <a:gd name="T40" fmla="*/ 100 w 294"/>
                  <a:gd name="T41" fmla="*/ 146 h 405"/>
                  <a:gd name="T42" fmla="*/ 107 w 294"/>
                  <a:gd name="T43" fmla="*/ 158 h 405"/>
                  <a:gd name="T44" fmla="*/ 113 w 294"/>
                  <a:gd name="T45" fmla="*/ 167 h 405"/>
                  <a:gd name="T46" fmla="*/ 100 w 294"/>
                  <a:gd name="T47" fmla="*/ 167 h 405"/>
                  <a:gd name="T48" fmla="*/ 94 w 294"/>
                  <a:gd name="T49" fmla="*/ 175 h 405"/>
                  <a:gd name="T50" fmla="*/ 82 w 294"/>
                  <a:gd name="T51" fmla="*/ 175 h 405"/>
                  <a:gd name="T52" fmla="*/ 73 w 294"/>
                  <a:gd name="T53" fmla="*/ 175 h 405"/>
                  <a:gd name="T54" fmla="*/ 68 w 294"/>
                  <a:gd name="T55" fmla="*/ 171 h 405"/>
                  <a:gd name="T56" fmla="*/ 58 w 294"/>
                  <a:gd name="T57" fmla="*/ 168 h 405"/>
                  <a:gd name="T58" fmla="*/ 47 w 294"/>
                  <a:gd name="T59" fmla="*/ 165 h 405"/>
                  <a:gd name="T60" fmla="*/ 45 w 294"/>
                  <a:gd name="T61" fmla="*/ 160 h 405"/>
                  <a:gd name="T62" fmla="*/ 37 w 294"/>
                  <a:gd name="T63" fmla="*/ 150 h 405"/>
                  <a:gd name="T64" fmla="*/ 29 w 294"/>
                  <a:gd name="T65" fmla="*/ 139 h 405"/>
                  <a:gd name="T66" fmla="*/ 20 w 294"/>
                  <a:gd name="T67" fmla="*/ 131 h 405"/>
                  <a:gd name="T68" fmla="*/ 16 w 294"/>
                  <a:gd name="T69" fmla="*/ 122 h 405"/>
                  <a:gd name="T70" fmla="*/ 10 w 294"/>
                  <a:gd name="T71" fmla="*/ 110 h 405"/>
                  <a:gd name="T72" fmla="*/ 7 w 294"/>
                  <a:gd name="T73" fmla="*/ 100 h 405"/>
                  <a:gd name="T74" fmla="*/ 0 w 294"/>
                  <a:gd name="T75" fmla="*/ 93 h 405"/>
                  <a:gd name="T76" fmla="*/ 4 w 294"/>
                  <a:gd name="T77" fmla="*/ 82 h 405"/>
                  <a:gd name="T78" fmla="*/ 5 w 294"/>
                  <a:gd name="T79" fmla="*/ 77 h 405"/>
                  <a:gd name="T80" fmla="*/ 11 w 294"/>
                  <a:gd name="T81" fmla="*/ 67 h 405"/>
                  <a:gd name="T82" fmla="*/ 16 w 294"/>
                  <a:gd name="T83" fmla="*/ 59 h 405"/>
                  <a:gd name="T84" fmla="*/ 16 w 294"/>
                  <a:gd name="T85" fmla="*/ 42 h 40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94" h="405">
                    <a:moveTo>
                      <a:pt x="36" y="75"/>
                    </a:moveTo>
                    <a:lnTo>
                      <a:pt x="36" y="65"/>
                    </a:lnTo>
                    <a:lnTo>
                      <a:pt x="53" y="65"/>
                    </a:lnTo>
                    <a:lnTo>
                      <a:pt x="53" y="43"/>
                    </a:lnTo>
                    <a:lnTo>
                      <a:pt x="51" y="23"/>
                    </a:lnTo>
                    <a:lnTo>
                      <a:pt x="65" y="23"/>
                    </a:lnTo>
                    <a:lnTo>
                      <a:pt x="79" y="23"/>
                    </a:lnTo>
                    <a:lnTo>
                      <a:pt x="93" y="23"/>
                    </a:lnTo>
                    <a:lnTo>
                      <a:pt x="107" y="23"/>
                    </a:lnTo>
                    <a:lnTo>
                      <a:pt x="121" y="23"/>
                    </a:lnTo>
                    <a:lnTo>
                      <a:pt x="135" y="23"/>
                    </a:lnTo>
                    <a:lnTo>
                      <a:pt x="149" y="23"/>
                    </a:lnTo>
                    <a:lnTo>
                      <a:pt x="162" y="23"/>
                    </a:lnTo>
                    <a:lnTo>
                      <a:pt x="166" y="20"/>
                    </a:lnTo>
                    <a:lnTo>
                      <a:pt x="166" y="23"/>
                    </a:lnTo>
                    <a:lnTo>
                      <a:pt x="187" y="27"/>
                    </a:lnTo>
                    <a:lnTo>
                      <a:pt x="210" y="28"/>
                    </a:lnTo>
                    <a:lnTo>
                      <a:pt x="212" y="20"/>
                    </a:lnTo>
                    <a:lnTo>
                      <a:pt x="223" y="18"/>
                    </a:lnTo>
                    <a:lnTo>
                      <a:pt x="226" y="5"/>
                    </a:lnTo>
                    <a:lnTo>
                      <a:pt x="231" y="7"/>
                    </a:lnTo>
                    <a:lnTo>
                      <a:pt x="238" y="0"/>
                    </a:lnTo>
                    <a:lnTo>
                      <a:pt x="249" y="13"/>
                    </a:lnTo>
                    <a:lnTo>
                      <a:pt x="262" y="27"/>
                    </a:lnTo>
                    <a:lnTo>
                      <a:pt x="268" y="42"/>
                    </a:lnTo>
                    <a:lnTo>
                      <a:pt x="272" y="66"/>
                    </a:lnTo>
                    <a:lnTo>
                      <a:pt x="277" y="90"/>
                    </a:lnTo>
                    <a:lnTo>
                      <a:pt x="294" y="108"/>
                    </a:lnTo>
                    <a:lnTo>
                      <a:pt x="282" y="118"/>
                    </a:lnTo>
                    <a:lnTo>
                      <a:pt x="272" y="126"/>
                    </a:lnTo>
                    <a:lnTo>
                      <a:pt x="266" y="153"/>
                    </a:lnTo>
                    <a:lnTo>
                      <a:pt x="263" y="181"/>
                    </a:lnTo>
                    <a:lnTo>
                      <a:pt x="262" y="196"/>
                    </a:lnTo>
                    <a:lnTo>
                      <a:pt x="243" y="229"/>
                    </a:lnTo>
                    <a:lnTo>
                      <a:pt x="238" y="252"/>
                    </a:lnTo>
                    <a:lnTo>
                      <a:pt x="229" y="254"/>
                    </a:lnTo>
                    <a:lnTo>
                      <a:pt x="226" y="279"/>
                    </a:lnTo>
                    <a:lnTo>
                      <a:pt x="224" y="299"/>
                    </a:lnTo>
                    <a:lnTo>
                      <a:pt x="212" y="302"/>
                    </a:lnTo>
                    <a:lnTo>
                      <a:pt x="206" y="312"/>
                    </a:lnTo>
                    <a:lnTo>
                      <a:pt x="212" y="317"/>
                    </a:lnTo>
                    <a:lnTo>
                      <a:pt x="229" y="333"/>
                    </a:lnTo>
                    <a:lnTo>
                      <a:pt x="235" y="347"/>
                    </a:lnTo>
                    <a:lnTo>
                      <a:pt x="243" y="362"/>
                    </a:lnTo>
                    <a:lnTo>
                      <a:pt x="252" y="367"/>
                    </a:lnTo>
                    <a:lnTo>
                      <a:pt x="258" y="381"/>
                    </a:lnTo>
                    <a:lnTo>
                      <a:pt x="244" y="381"/>
                    </a:lnTo>
                    <a:lnTo>
                      <a:pt x="229" y="381"/>
                    </a:lnTo>
                    <a:lnTo>
                      <a:pt x="223" y="390"/>
                    </a:lnTo>
                    <a:lnTo>
                      <a:pt x="215" y="400"/>
                    </a:lnTo>
                    <a:lnTo>
                      <a:pt x="193" y="400"/>
                    </a:lnTo>
                    <a:lnTo>
                      <a:pt x="186" y="401"/>
                    </a:lnTo>
                    <a:lnTo>
                      <a:pt x="181" y="400"/>
                    </a:lnTo>
                    <a:lnTo>
                      <a:pt x="167" y="400"/>
                    </a:lnTo>
                    <a:lnTo>
                      <a:pt x="166" y="405"/>
                    </a:lnTo>
                    <a:lnTo>
                      <a:pt x="155" y="391"/>
                    </a:lnTo>
                    <a:lnTo>
                      <a:pt x="142" y="380"/>
                    </a:lnTo>
                    <a:lnTo>
                      <a:pt x="133" y="385"/>
                    </a:lnTo>
                    <a:lnTo>
                      <a:pt x="124" y="386"/>
                    </a:lnTo>
                    <a:lnTo>
                      <a:pt x="108" y="378"/>
                    </a:lnTo>
                    <a:lnTo>
                      <a:pt x="105" y="373"/>
                    </a:lnTo>
                    <a:lnTo>
                      <a:pt x="102" y="367"/>
                    </a:lnTo>
                    <a:lnTo>
                      <a:pt x="91" y="353"/>
                    </a:lnTo>
                    <a:lnTo>
                      <a:pt x="84" y="343"/>
                    </a:lnTo>
                    <a:lnTo>
                      <a:pt x="68" y="327"/>
                    </a:lnTo>
                    <a:lnTo>
                      <a:pt x="65" y="317"/>
                    </a:lnTo>
                    <a:lnTo>
                      <a:pt x="48" y="307"/>
                    </a:lnTo>
                    <a:lnTo>
                      <a:pt x="45" y="299"/>
                    </a:lnTo>
                    <a:lnTo>
                      <a:pt x="33" y="297"/>
                    </a:lnTo>
                    <a:lnTo>
                      <a:pt x="36" y="279"/>
                    </a:lnTo>
                    <a:lnTo>
                      <a:pt x="28" y="264"/>
                    </a:lnTo>
                    <a:lnTo>
                      <a:pt x="22" y="252"/>
                    </a:lnTo>
                    <a:lnTo>
                      <a:pt x="19" y="241"/>
                    </a:lnTo>
                    <a:lnTo>
                      <a:pt x="15" y="229"/>
                    </a:lnTo>
                    <a:lnTo>
                      <a:pt x="8" y="214"/>
                    </a:lnTo>
                    <a:lnTo>
                      <a:pt x="0" y="212"/>
                    </a:lnTo>
                    <a:lnTo>
                      <a:pt x="8" y="197"/>
                    </a:lnTo>
                    <a:lnTo>
                      <a:pt x="8" y="188"/>
                    </a:lnTo>
                    <a:lnTo>
                      <a:pt x="12" y="183"/>
                    </a:lnTo>
                    <a:lnTo>
                      <a:pt x="12" y="176"/>
                    </a:lnTo>
                    <a:lnTo>
                      <a:pt x="22" y="159"/>
                    </a:lnTo>
                    <a:lnTo>
                      <a:pt x="26" y="153"/>
                    </a:lnTo>
                    <a:lnTo>
                      <a:pt x="39" y="153"/>
                    </a:lnTo>
                    <a:lnTo>
                      <a:pt x="37" y="134"/>
                    </a:lnTo>
                    <a:lnTo>
                      <a:pt x="37" y="113"/>
                    </a:lnTo>
                    <a:lnTo>
                      <a:pt x="36" y="95"/>
                    </a:lnTo>
                    <a:lnTo>
                      <a:pt x="36" y="7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31" name="Freeform 161">
                <a:extLst>
                  <a:ext uri="{FF2B5EF4-FFF2-40B4-BE49-F238E27FC236}">
                    <a16:creationId xmlns:a16="http://schemas.microsoft.com/office/drawing/2014/main" id="{539D3126-F0A9-DF96-53FB-9CFBFE3C7D5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11" y="3666"/>
                <a:ext cx="14" cy="19"/>
              </a:xfrm>
              <a:custGeom>
                <a:avLst/>
                <a:gdLst>
                  <a:gd name="T0" fmla="*/ 12 w 33"/>
                  <a:gd name="T1" fmla="*/ 5 h 41"/>
                  <a:gd name="T2" fmla="*/ 12 w 33"/>
                  <a:gd name="T3" fmla="*/ 0 h 41"/>
                  <a:gd name="T4" fmla="*/ 8 w 33"/>
                  <a:gd name="T5" fmla="*/ 0 h 41"/>
                  <a:gd name="T6" fmla="*/ 7 w 33"/>
                  <a:gd name="T7" fmla="*/ 3 h 41"/>
                  <a:gd name="T8" fmla="*/ 0 w 33"/>
                  <a:gd name="T9" fmla="*/ 3 h 41"/>
                  <a:gd name="T10" fmla="*/ 0 w 33"/>
                  <a:gd name="T11" fmla="*/ 4 h 41"/>
                  <a:gd name="T12" fmla="*/ 0 w 33"/>
                  <a:gd name="T13" fmla="*/ 5 h 41"/>
                  <a:gd name="T14" fmla="*/ 2 w 33"/>
                  <a:gd name="T15" fmla="*/ 12 h 41"/>
                  <a:gd name="T16" fmla="*/ 3 w 33"/>
                  <a:gd name="T17" fmla="*/ 19 h 41"/>
                  <a:gd name="T18" fmla="*/ 5 w 33"/>
                  <a:gd name="T19" fmla="*/ 19 h 41"/>
                  <a:gd name="T20" fmla="*/ 9 w 33"/>
                  <a:gd name="T21" fmla="*/ 13 h 41"/>
                  <a:gd name="T22" fmla="*/ 14 w 33"/>
                  <a:gd name="T23" fmla="*/ 8 h 41"/>
                  <a:gd name="T24" fmla="*/ 12 w 33"/>
                  <a:gd name="T25" fmla="*/ 5 h 4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" h="41">
                    <a:moveTo>
                      <a:pt x="28" y="10"/>
                    </a:moveTo>
                    <a:lnTo>
                      <a:pt x="28" y="1"/>
                    </a:lnTo>
                    <a:lnTo>
                      <a:pt x="19" y="0"/>
                    </a:lnTo>
                    <a:lnTo>
                      <a:pt x="17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5" y="26"/>
                    </a:lnTo>
                    <a:lnTo>
                      <a:pt x="8" y="41"/>
                    </a:lnTo>
                    <a:lnTo>
                      <a:pt x="11" y="41"/>
                    </a:lnTo>
                    <a:lnTo>
                      <a:pt x="22" y="28"/>
                    </a:lnTo>
                    <a:lnTo>
                      <a:pt x="33" y="18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32" name="Freeform 162">
                <a:extLst>
                  <a:ext uri="{FF2B5EF4-FFF2-40B4-BE49-F238E27FC236}">
                    <a16:creationId xmlns:a16="http://schemas.microsoft.com/office/drawing/2014/main" id="{567F2713-4A16-F8ED-3BED-4F1583C7FE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67" y="3613"/>
                <a:ext cx="60" cy="77"/>
              </a:xfrm>
              <a:custGeom>
                <a:avLst/>
                <a:gdLst>
                  <a:gd name="T0" fmla="*/ 11 w 134"/>
                  <a:gd name="T1" fmla="*/ 54 h 177"/>
                  <a:gd name="T2" fmla="*/ 3 w 134"/>
                  <a:gd name="T3" fmla="*/ 54 h 177"/>
                  <a:gd name="T4" fmla="*/ 3 w 134"/>
                  <a:gd name="T5" fmla="*/ 57 h 177"/>
                  <a:gd name="T6" fmla="*/ 5 w 134"/>
                  <a:gd name="T7" fmla="*/ 59 h 177"/>
                  <a:gd name="T8" fmla="*/ 6 w 134"/>
                  <a:gd name="T9" fmla="*/ 64 h 177"/>
                  <a:gd name="T10" fmla="*/ 5 w 134"/>
                  <a:gd name="T11" fmla="*/ 65 h 177"/>
                  <a:gd name="T12" fmla="*/ 2 w 134"/>
                  <a:gd name="T13" fmla="*/ 64 h 177"/>
                  <a:gd name="T14" fmla="*/ 0 w 134"/>
                  <a:gd name="T15" fmla="*/ 67 h 177"/>
                  <a:gd name="T16" fmla="*/ 7 w 134"/>
                  <a:gd name="T17" fmla="*/ 77 h 177"/>
                  <a:gd name="T18" fmla="*/ 13 w 134"/>
                  <a:gd name="T19" fmla="*/ 72 h 177"/>
                  <a:gd name="T20" fmla="*/ 16 w 134"/>
                  <a:gd name="T21" fmla="*/ 74 h 177"/>
                  <a:gd name="T22" fmla="*/ 20 w 134"/>
                  <a:gd name="T23" fmla="*/ 75 h 177"/>
                  <a:gd name="T24" fmla="*/ 22 w 134"/>
                  <a:gd name="T25" fmla="*/ 72 h 177"/>
                  <a:gd name="T26" fmla="*/ 27 w 134"/>
                  <a:gd name="T27" fmla="*/ 71 h 177"/>
                  <a:gd name="T28" fmla="*/ 28 w 134"/>
                  <a:gd name="T29" fmla="*/ 76 h 177"/>
                  <a:gd name="T30" fmla="*/ 34 w 134"/>
                  <a:gd name="T31" fmla="*/ 70 h 177"/>
                  <a:gd name="T32" fmla="*/ 40 w 134"/>
                  <a:gd name="T33" fmla="*/ 64 h 177"/>
                  <a:gd name="T34" fmla="*/ 42 w 134"/>
                  <a:gd name="T35" fmla="*/ 57 h 177"/>
                  <a:gd name="T36" fmla="*/ 42 w 134"/>
                  <a:gd name="T37" fmla="*/ 50 h 177"/>
                  <a:gd name="T38" fmla="*/ 47 w 134"/>
                  <a:gd name="T39" fmla="*/ 43 h 177"/>
                  <a:gd name="T40" fmla="*/ 53 w 134"/>
                  <a:gd name="T41" fmla="*/ 35 h 177"/>
                  <a:gd name="T42" fmla="*/ 55 w 134"/>
                  <a:gd name="T43" fmla="*/ 29 h 177"/>
                  <a:gd name="T44" fmla="*/ 56 w 134"/>
                  <a:gd name="T45" fmla="*/ 22 h 177"/>
                  <a:gd name="T46" fmla="*/ 57 w 134"/>
                  <a:gd name="T47" fmla="*/ 15 h 177"/>
                  <a:gd name="T48" fmla="*/ 58 w 134"/>
                  <a:gd name="T49" fmla="*/ 9 h 177"/>
                  <a:gd name="T50" fmla="*/ 60 w 134"/>
                  <a:gd name="T51" fmla="*/ 1 h 177"/>
                  <a:gd name="T52" fmla="*/ 54 w 134"/>
                  <a:gd name="T53" fmla="*/ 0 h 177"/>
                  <a:gd name="T54" fmla="*/ 47 w 134"/>
                  <a:gd name="T55" fmla="*/ 0 h 177"/>
                  <a:gd name="T56" fmla="*/ 43 w 134"/>
                  <a:gd name="T57" fmla="*/ 2 h 177"/>
                  <a:gd name="T58" fmla="*/ 41 w 134"/>
                  <a:gd name="T59" fmla="*/ 12 h 177"/>
                  <a:gd name="T60" fmla="*/ 39 w 134"/>
                  <a:gd name="T61" fmla="*/ 17 h 177"/>
                  <a:gd name="T62" fmla="*/ 32 w 134"/>
                  <a:gd name="T63" fmla="*/ 14 h 177"/>
                  <a:gd name="T64" fmla="*/ 25 w 134"/>
                  <a:gd name="T65" fmla="*/ 12 h 177"/>
                  <a:gd name="T66" fmla="*/ 17 w 134"/>
                  <a:gd name="T67" fmla="*/ 12 h 177"/>
                  <a:gd name="T68" fmla="*/ 17 w 134"/>
                  <a:gd name="T69" fmla="*/ 21 h 177"/>
                  <a:gd name="T70" fmla="*/ 25 w 134"/>
                  <a:gd name="T71" fmla="*/ 20 h 177"/>
                  <a:gd name="T72" fmla="*/ 26 w 134"/>
                  <a:gd name="T73" fmla="*/ 27 h 177"/>
                  <a:gd name="T74" fmla="*/ 22 w 134"/>
                  <a:gd name="T75" fmla="*/ 31 h 177"/>
                  <a:gd name="T76" fmla="*/ 27 w 134"/>
                  <a:gd name="T77" fmla="*/ 39 h 177"/>
                  <a:gd name="T78" fmla="*/ 25 w 134"/>
                  <a:gd name="T79" fmla="*/ 52 h 177"/>
                  <a:gd name="T80" fmla="*/ 22 w 134"/>
                  <a:gd name="T81" fmla="*/ 54 h 177"/>
                  <a:gd name="T82" fmla="*/ 21 w 134"/>
                  <a:gd name="T83" fmla="*/ 52 h 177"/>
                  <a:gd name="T84" fmla="*/ 16 w 134"/>
                  <a:gd name="T85" fmla="*/ 54 h 177"/>
                  <a:gd name="T86" fmla="*/ 12 w 134"/>
                  <a:gd name="T87" fmla="*/ 48 h 177"/>
                  <a:gd name="T88" fmla="*/ 11 w 134"/>
                  <a:gd name="T89" fmla="*/ 54 h 177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34" h="177">
                    <a:moveTo>
                      <a:pt x="24" y="123"/>
                    </a:moveTo>
                    <a:lnTo>
                      <a:pt x="7" y="124"/>
                    </a:lnTo>
                    <a:lnTo>
                      <a:pt x="7" y="131"/>
                    </a:lnTo>
                    <a:lnTo>
                      <a:pt x="12" y="136"/>
                    </a:lnTo>
                    <a:lnTo>
                      <a:pt x="14" y="146"/>
                    </a:lnTo>
                    <a:lnTo>
                      <a:pt x="12" y="149"/>
                    </a:lnTo>
                    <a:lnTo>
                      <a:pt x="4" y="146"/>
                    </a:lnTo>
                    <a:lnTo>
                      <a:pt x="0" y="154"/>
                    </a:lnTo>
                    <a:lnTo>
                      <a:pt x="15" y="177"/>
                    </a:lnTo>
                    <a:lnTo>
                      <a:pt x="28" y="166"/>
                    </a:lnTo>
                    <a:lnTo>
                      <a:pt x="35" y="169"/>
                    </a:lnTo>
                    <a:lnTo>
                      <a:pt x="45" y="172"/>
                    </a:lnTo>
                    <a:lnTo>
                      <a:pt x="49" y="166"/>
                    </a:lnTo>
                    <a:lnTo>
                      <a:pt x="60" y="164"/>
                    </a:lnTo>
                    <a:lnTo>
                      <a:pt x="62" y="174"/>
                    </a:lnTo>
                    <a:lnTo>
                      <a:pt x="76" y="161"/>
                    </a:lnTo>
                    <a:lnTo>
                      <a:pt x="89" y="146"/>
                    </a:lnTo>
                    <a:lnTo>
                      <a:pt x="93" y="131"/>
                    </a:lnTo>
                    <a:lnTo>
                      <a:pt x="93" y="114"/>
                    </a:lnTo>
                    <a:lnTo>
                      <a:pt x="106" y="98"/>
                    </a:lnTo>
                    <a:lnTo>
                      <a:pt x="119" y="81"/>
                    </a:lnTo>
                    <a:lnTo>
                      <a:pt x="122" y="66"/>
                    </a:lnTo>
                    <a:lnTo>
                      <a:pt x="125" y="50"/>
                    </a:lnTo>
                    <a:lnTo>
                      <a:pt x="128" y="35"/>
                    </a:lnTo>
                    <a:lnTo>
                      <a:pt x="130" y="20"/>
                    </a:lnTo>
                    <a:lnTo>
                      <a:pt x="134" y="2"/>
                    </a:lnTo>
                    <a:lnTo>
                      <a:pt x="120" y="0"/>
                    </a:lnTo>
                    <a:lnTo>
                      <a:pt x="106" y="0"/>
                    </a:lnTo>
                    <a:lnTo>
                      <a:pt x="97" y="5"/>
                    </a:lnTo>
                    <a:lnTo>
                      <a:pt x="91" y="28"/>
                    </a:lnTo>
                    <a:lnTo>
                      <a:pt x="88" y="38"/>
                    </a:lnTo>
                    <a:lnTo>
                      <a:pt x="72" y="33"/>
                    </a:lnTo>
                    <a:lnTo>
                      <a:pt x="55" y="28"/>
                    </a:lnTo>
                    <a:lnTo>
                      <a:pt x="38" y="28"/>
                    </a:lnTo>
                    <a:lnTo>
                      <a:pt x="37" y="48"/>
                    </a:lnTo>
                    <a:lnTo>
                      <a:pt x="55" y="46"/>
                    </a:lnTo>
                    <a:lnTo>
                      <a:pt x="59" y="61"/>
                    </a:lnTo>
                    <a:lnTo>
                      <a:pt x="49" y="71"/>
                    </a:lnTo>
                    <a:lnTo>
                      <a:pt x="60" y="90"/>
                    </a:lnTo>
                    <a:lnTo>
                      <a:pt x="55" y="119"/>
                    </a:lnTo>
                    <a:lnTo>
                      <a:pt x="49" y="124"/>
                    </a:lnTo>
                    <a:lnTo>
                      <a:pt x="46" y="119"/>
                    </a:lnTo>
                    <a:lnTo>
                      <a:pt x="35" y="123"/>
                    </a:lnTo>
                    <a:lnTo>
                      <a:pt x="26" y="111"/>
                    </a:lnTo>
                    <a:lnTo>
                      <a:pt x="24" y="12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33" name="Freeform 163">
                <a:extLst>
                  <a:ext uri="{FF2B5EF4-FFF2-40B4-BE49-F238E27FC236}">
                    <a16:creationId xmlns:a16="http://schemas.microsoft.com/office/drawing/2014/main" id="{4A6ECE91-34F4-72C1-F9FF-B088D24DD3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50" y="3603"/>
                <a:ext cx="63" cy="84"/>
              </a:xfrm>
              <a:custGeom>
                <a:avLst/>
                <a:gdLst>
                  <a:gd name="T0" fmla="*/ 29 w 142"/>
                  <a:gd name="T1" fmla="*/ 69 h 191"/>
                  <a:gd name="T2" fmla="*/ 22 w 142"/>
                  <a:gd name="T3" fmla="*/ 64 h 191"/>
                  <a:gd name="T4" fmla="*/ 15 w 142"/>
                  <a:gd name="T5" fmla="*/ 60 h 191"/>
                  <a:gd name="T6" fmla="*/ 8 w 142"/>
                  <a:gd name="T7" fmla="*/ 55 h 191"/>
                  <a:gd name="T8" fmla="*/ 0 w 142"/>
                  <a:gd name="T9" fmla="*/ 51 h 191"/>
                  <a:gd name="T10" fmla="*/ 0 w 142"/>
                  <a:gd name="T11" fmla="*/ 41 h 191"/>
                  <a:gd name="T12" fmla="*/ 5 w 142"/>
                  <a:gd name="T13" fmla="*/ 32 h 191"/>
                  <a:gd name="T14" fmla="*/ 9 w 142"/>
                  <a:gd name="T15" fmla="*/ 25 h 191"/>
                  <a:gd name="T16" fmla="*/ 6 w 142"/>
                  <a:gd name="T17" fmla="*/ 18 h 191"/>
                  <a:gd name="T18" fmla="*/ 4 w 142"/>
                  <a:gd name="T19" fmla="*/ 11 h 191"/>
                  <a:gd name="T20" fmla="*/ 0 w 142"/>
                  <a:gd name="T21" fmla="*/ 4 h 191"/>
                  <a:gd name="T22" fmla="*/ 4 w 142"/>
                  <a:gd name="T23" fmla="*/ 0 h 191"/>
                  <a:gd name="T24" fmla="*/ 9 w 142"/>
                  <a:gd name="T25" fmla="*/ 0 h 191"/>
                  <a:gd name="T26" fmla="*/ 16 w 142"/>
                  <a:gd name="T27" fmla="*/ 0 h 191"/>
                  <a:gd name="T28" fmla="*/ 23 w 142"/>
                  <a:gd name="T29" fmla="*/ 2 h 191"/>
                  <a:gd name="T30" fmla="*/ 32 w 142"/>
                  <a:gd name="T31" fmla="*/ 8 h 191"/>
                  <a:gd name="T32" fmla="*/ 43 w 142"/>
                  <a:gd name="T33" fmla="*/ 11 h 191"/>
                  <a:gd name="T34" fmla="*/ 48 w 142"/>
                  <a:gd name="T35" fmla="*/ 7 h 191"/>
                  <a:gd name="T36" fmla="*/ 55 w 142"/>
                  <a:gd name="T37" fmla="*/ 4 h 191"/>
                  <a:gd name="T38" fmla="*/ 63 w 142"/>
                  <a:gd name="T39" fmla="*/ 6 h 191"/>
                  <a:gd name="T40" fmla="*/ 59 w 142"/>
                  <a:gd name="T41" fmla="*/ 11 h 191"/>
                  <a:gd name="T42" fmla="*/ 56 w 142"/>
                  <a:gd name="T43" fmla="*/ 16 h 191"/>
                  <a:gd name="T44" fmla="*/ 56 w 142"/>
                  <a:gd name="T45" fmla="*/ 25 h 191"/>
                  <a:gd name="T46" fmla="*/ 56 w 142"/>
                  <a:gd name="T47" fmla="*/ 33 h 191"/>
                  <a:gd name="T48" fmla="*/ 56 w 142"/>
                  <a:gd name="T49" fmla="*/ 41 h 191"/>
                  <a:gd name="T50" fmla="*/ 56 w 142"/>
                  <a:gd name="T51" fmla="*/ 50 h 191"/>
                  <a:gd name="T52" fmla="*/ 61 w 142"/>
                  <a:gd name="T53" fmla="*/ 57 h 191"/>
                  <a:gd name="T54" fmla="*/ 56 w 142"/>
                  <a:gd name="T55" fmla="*/ 59 h 191"/>
                  <a:gd name="T56" fmla="*/ 53 w 142"/>
                  <a:gd name="T57" fmla="*/ 65 h 191"/>
                  <a:gd name="T58" fmla="*/ 49 w 142"/>
                  <a:gd name="T59" fmla="*/ 69 h 191"/>
                  <a:gd name="T60" fmla="*/ 46 w 142"/>
                  <a:gd name="T61" fmla="*/ 75 h 191"/>
                  <a:gd name="T62" fmla="*/ 43 w 142"/>
                  <a:gd name="T63" fmla="*/ 83 h 191"/>
                  <a:gd name="T64" fmla="*/ 42 w 142"/>
                  <a:gd name="T65" fmla="*/ 84 h 191"/>
                  <a:gd name="T66" fmla="*/ 35 w 142"/>
                  <a:gd name="T67" fmla="*/ 78 h 191"/>
                  <a:gd name="T68" fmla="*/ 30 w 142"/>
                  <a:gd name="T69" fmla="*/ 72 h 191"/>
                  <a:gd name="T70" fmla="*/ 29 w 142"/>
                  <a:gd name="T71" fmla="*/ 69 h 19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42" h="191">
                    <a:moveTo>
                      <a:pt x="66" y="158"/>
                    </a:moveTo>
                    <a:lnTo>
                      <a:pt x="49" y="146"/>
                    </a:lnTo>
                    <a:lnTo>
                      <a:pt x="34" y="136"/>
                    </a:lnTo>
                    <a:lnTo>
                      <a:pt x="17" y="125"/>
                    </a:lnTo>
                    <a:lnTo>
                      <a:pt x="0" y="116"/>
                    </a:lnTo>
                    <a:lnTo>
                      <a:pt x="0" y="93"/>
                    </a:lnTo>
                    <a:lnTo>
                      <a:pt x="11" y="73"/>
                    </a:lnTo>
                    <a:lnTo>
                      <a:pt x="20" y="57"/>
                    </a:lnTo>
                    <a:lnTo>
                      <a:pt x="14" y="40"/>
                    </a:lnTo>
                    <a:lnTo>
                      <a:pt x="8" y="25"/>
                    </a:lnTo>
                    <a:lnTo>
                      <a:pt x="0" y="9"/>
                    </a:lnTo>
                    <a:lnTo>
                      <a:pt x="8" y="0"/>
                    </a:lnTo>
                    <a:lnTo>
                      <a:pt x="21" y="0"/>
                    </a:lnTo>
                    <a:lnTo>
                      <a:pt x="35" y="0"/>
                    </a:lnTo>
                    <a:lnTo>
                      <a:pt x="51" y="4"/>
                    </a:lnTo>
                    <a:lnTo>
                      <a:pt x="73" y="19"/>
                    </a:lnTo>
                    <a:lnTo>
                      <a:pt x="97" y="24"/>
                    </a:lnTo>
                    <a:lnTo>
                      <a:pt x="108" y="15"/>
                    </a:lnTo>
                    <a:lnTo>
                      <a:pt x="124" y="10"/>
                    </a:lnTo>
                    <a:lnTo>
                      <a:pt x="142" y="14"/>
                    </a:lnTo>
                    <a:lnTo>
                      <a:pt x="134" y="25"/>
                    </a:lnTo>
                    <a:lnTo>
                      <a:pt x="127" y="37"/>
                    </a:lnTo>
                    <a:lnTo>
                      <a:pt x="127" y="57"/>
                    </a:lnTo>
                    <a:lnTo>
                      <a:pt x="127" y="75"/>
                    </a:lnTo>
                    <a:lnTo>
                      <a:pt x="127" y="93"/>
                    </a:lnTo>
                    <a:lnTo>
                      <a:pt x="127" y="113"/>
                    </a:lnTo>
                    <a:lnTo>
                      <a:pt x="138" y="130"/>
                    </a:lnTo>
                    <a:lnTo>
                      <a:pt x="127" y="135"/>
                    </a:lnTo>
                    <a:lnTo>
                      <a:pt x="119" y="148"/>
                    </a:lnTo>
                    <a:lnTo>
                      <a:pt x="111" y="156"/>
                    </a:lnTo>
                    <a:lnTo>
                      <a:pt x="103" y="171"/>
                    </a:lnTo>
                    <a:lnTo>
                      <a:pt x="96" y="189"/>
                    </a:lnTo>
                    <a:lnTo>
                      <a:pt x="94" y="191"/>
                    </a:lnTo>
                    <a:lnTo>
                      <a:pt x="80" y="178"/>
                    </a:lnTo>
                    <a:lnTo>
                      <a:pt x="68" y="163"/>
                    </a:lnTo>
                    <a:lnTo>
                      <a:pt x="66" y="15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34" name="Freeform 164">
                <a:extLst>
                  <a:ext uri="{FF2B5EF4-FFF2-40B4-BE49-F238E27FC236}">
                    <a16:creationId xmlns:a16="http://schemas.microsoft.com/office/drawing/2014/main" id="{FFAABACC-FACE-4C2D-9AE7-A56C072883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00" y="3521"/>
                <a:ext cx="94" cy="84"/>
              </a:xfrm>
              <a:custGeom>
                <a:avLst/>
                <a:gdLst>
                  <a:gd name="T0" fmla="*/ 62 w 215"/>
                  <a:gd name="T1" fmla="*/ 60 h 192"/>
                  <a:gd name="T2" fmla="*/ 56 w 215"/>
                  <a:gd name="T3" fmla="*/ 63 h 192"/>
                  <a:gd name="T4" fmla="*/ 52 w 215"/>
                  <a:gd name="T5" fmla="*/ 67 h 192"/>
                  <a:gd name="T6" fmla="*/ 49 w 215"/>
                  <a:gd name="T7" fmla="*/ 74 h 192"/>
                  <a:gd name="T8" fmla="*/ 46 w 215"/>
                  <a:gd name="T9" fmla="*/ 80 h 192"/>
                  <a:gd name="T10" fmla="*/ 44 w 215"/>
                  <a:gd name="T11" fmla="*/ 80 h 192"/>
                  <a:gd name="T12" fmla="*/ 44 w 215"/>
                  <a:gd name="T13" fmla="*/ 82 h 192"/>
                  <a:gd name="T14" fmla="*/ 36 w 215"/>
                  <a:gd name="T15" fmla="*/ 82 h 192"/>
                  <a:gd name="T16" fmla="*/ 34 w 215"/>
                  <a:gd name="T17" fmla="*/ 82 h 192"/>
                  <a:gd name="T18" fmla="*/ 34 w 215"/>
                  <a:gd name="T19" fmla="*/ 82 h 192"/>
                  <a:gd name="T20" fmla="*/ 32 w 215"/>
                  <a:gd name="T21" fmla="*/ 84 h 192"/>
                  <a:gd name="T22" fmla="*/ 31 w 215"/>
                  <a:gd name="T23" fmla="*/ 81 h 192"/>
                  <a:gd name="T24" fmla="*/ 31 w 215"/>
                  <a:gd name="T25" fmla="*/ 84 h 192"/>
                  <a:gd name="T26" fmla="*/ 31 w 215"/>
                  <a:gd name="T27" fmla="*/ 84 h 192"/>
                  <a:gd name="T28" fmla="*/ 30 w 215"/>
                  <a:gd name="T29" fmla="*/ 84 h 192"/>
                  <a:gd name="T30" fmla="*/ 28 w 215"/>
                  <a:gd name="T31" fmla="*/ 84 h 192"/>
                  <a:gd name="T32" fmla="*/ 24 w 215"/>
                  <a:gd name="T33" fmla="*/ 84 h 192"/>
                  <a:gd name="T34" fmla="*/ 21 w 215"/>
                  <a:gd name="T35" fmla="*/ 76 h 192"/>
                  <a:gd name="T36" fmla="*/ 21 w 215"/>
                  <a:gd name="T37" fmla="*/ 75 h 192"/>
                  <a:gd name="T38" fmla="*/ 20 w 215"/>
                  <a:gd name="T39" fmla="*/ 74 h 192"/>
                  <a:gd name="T40" fmla="*/ 21 w 215"/>
                  <a:gd name="T41" fmla="*/ 74 h 192"/>
                  <a:gd name="T42" fmla="*/ 19 w 215"/>
                  <a:gd name="T43" fmla="*/ 71 h 192"/>
                  <a:gd name="T44" fmla="*/ 10 w 215"/>
                  <a:gd name="T45" fmla="*/ 65 h 192"/>
                  <a:gd name="T46" fmla="*/ 6 w 215"/>
                  <a:gd name="T47" fmla="*/ 65 h 192"/>
                  <a:gd name="T48" fmla="*/ 8 w 215"/>
                  <a:gd name="T49" fmla="*/ 64 h 192"/>
                  <a:gd name="T50" fmla="*/ 0 w 215"/>
                  <a:gd name="T51" fmla="*/ 66 h 192"/>
                  <a:gd name="T52" fmla="*/ 0 w 215"/>
                  <a:gd name="T53" fmla="*/ 54 h 192"/>
                  <a:gd name="T54" fmla="*/ 1 w 215"/>
                  <a:gd name="T55" fmla="*/ 42 h 192"/>
                  <a:gd name="T56" fmla="*/ 7 w 215"/>
                  <a:gd name="T57" fmla="*/ 32 h 192"/>
                  <a:gd name="T58" fmla="*/ 8 w 215"/>
                  <a:gd name="T59" fmla="*/ 23 h 192"/>
                  <a:gd name="T60" fmla="*/ 7 w 215"/>
                  <a:gd name="T61" fmla="*/ 19 h 192"/>
                  <a:gd name="T62" fmla="*/ 7 w 215"/>
                  <a:gd name="T63" fmla="*/ 15 h 192"/>
                  <a:gd name="T64" fmla="*/ 9 w 215"/>
                  <a:gd name="T65" fmla="*/ 9 h 192"/>
                  <a:gd name="T66" fmla="*/ 10 w 215"/>
                  <a:gd name="T67" fmla="*/ 2 h 192"/>
                  <a:gd name="T68" fmla="*/ 18 w 215"/>
                  <a:gd name="T69" fmla="*/ 0 h 192"/>
                  <a:gd name="T70" fmla="*/ 26 w 215"/>
                  <a:gd name="T71" fmla="*/ 1 h 192"/>
                  <a:gd name="T72" fmla="*/ 31 w 215"/>
                  <a:gd name="T73" fmla="*/ 6 h 192"/>
                  <a:gd name="T74" fmla="*/ 40 w 215"/>
                  <a:gd name="T75" fmla="*/ 3 h 192"/>
                  <a:gd name="T76" fmla="*/ 46 w 215"/>
                  <a:gd name="T77" fmla="*/ 6 h 192"/>
                  <a:gd name="T78" fmla="*/ 52 w 215"/>
                  <a:gd name="T79" fmla="*/ 9 h 192"/>
                  <a:gd name="T80" fmla="*/ 61 w 215"/>
                  <a:gd name="T81" fmla="*/ 3 h 192"/>
                  <a:gd name="T82" fmla="*/ 68 w 215"/>
                  <a:gd name="T83" fmla="*/ 4 h 192"/>
                  <a:gd name="T84" fmla="*/ 76 w 215"/>
                  <a:gd name="T85" fmla="*/ 5 h 192"/>
                  <a:gd name="T86" fmla="*/ 85 w 215"/>
                  <a:gd name="T87" fmla="*/ 0 h 192"/>
                  <a:gd name="T88" fmla="*/ 88 w 215"/>
                  <a:gd name="T89" fmla="*/ 6 h 192"/>
                  <a:gd name="T90" fmla="*/ 91 w 215"/>
                  <a:gd name="T91" fmla="*/ 12 h 192"/>
                  <a:gd name="T92" fmla="*/ 94 w 215"/>
                  <a:gd name="T93" fmla="*/ 15 h 192"/>
                  <a:gd name="T94" fmla="*/ 92 w 215"/>
                  <a:gd name="T95" fmla="*/ 21 h 192"/>
                  <a:gd name="T96" fmla="*/ 86 w 215"/>
                  <a:gd name="T97" fmla="*/ 25 h 192"/>
                  <a:gd name="T98" fmla="*/ 84 w 215"/>
                  <a:gd name="T99" fmla="*/ 33 h 192"/>
                  <a:gd name="T100" fmla="*/ 80 w 215"/>
                  <a:gd name="T101" fmla="*/ 39 h 192"/>
                  <a:gd name="T102" fmla="*/ 77 w 215"/>
                  <a:gd name="T103" fmla="*/ 46 h 192"/>
                  <a:gd name="T104" fmla="*/ 74 w 215"/>
                  <a:gd name="T105" fmla="*/ 51 h 192"/>
                  <a:gd name="T106" fmla="*/ 72 w 215"/>
                  <a:gd name="T107" fmla="*/ 58 h 192"/>
                  <a:gd name="T108" fmla="*/ 67 w 215"/>
                  <a:gd name="T109" fmla="*/ 65 h 192"/>
                  <a:gd name="T110" fmla="*/ 62 w 215"/>
                  <a:gd name="T111" fmla="*/ 60 h 19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215" h="192">
                    <a:moveTo>
                      <a:pt x="142" y="138"/>
                    </a:moveTo>
                    <a:lnTo>
                      <a:pt x="128" y="143"/>
                    </a:lnTo>
                    <a:lnTo>
                      <a:pt x="119" y="154"/>
                    </a:lnTo>
                    <a:lnTo>
                      <a:pt x="111" y="168"/>
                    </a:lnTo>
                    <a:lnTo>
                      <a:pt x="105" y="182"/>
                    </a:lnTo>
                    <a:lnTo>
                      <a:pt x="100" y="182"/>
                    </a:lnTo>
                    <a:lnTo>
                      <a:pt x="100" y="187"/>
                    </a:lnTo>
                    <a:lnTo>
                      <a:pt x="82" y="187"/>
                    </a:lnTo>
                    <a:lnTo>
                      <a:pt x="78" y="187"/>
                    </a:lnTo>
                    <a:lnTo>
                      <a:pt x="77" y="187"/>
                    </a:lnTo>
                    <a:lnTo>
                      <a:pt x="74" y="191"/>
                    </a:lnTo>
                    <a:lnTo>
                      <a:pt x="72" y="184"/>
                    </a:lnTo>
                    <a:lnTo>
                      <a:pt x="72" y="192"/>
                    </a:lnTo>
                    <a:lnTo>
                      <a:pt x="72" y="191"/>
                    </a:lnTo>
                    <a:lnTo>
                      <a:pt x="69" y="191"/>
                    </a:lnTo>
                    <a:lnTo>
                      <a:pt x="63" y="191"/>
                    </a:lnTo>
                    <a:lnTo>
                      <a:pt x="55" y="191"/>
                    </a:lnTo>
                    <a:lnTo>
                      <a:pt x="47" y="173"/>
                    </a:lnTo>
                    <a:lnTo>
                      <a:pt x="49" y="171"/>
                    </a:lnTo>
                    <a:lnTo>
                      <a:pt x="46" y="168"/>
                    </a:lnTo>
                    <a:lnTo>
                      <a:pt x="47" y="168"/>
                    </a:lnTo>
                    <a:lnTo>
                      <a:pt x="44" y="163"/>
                    </a:lnTo>
                    <a:lnTo>
                      <a:pt x="24" y="149"/>
                    </a:lnTo>
                    <a:lnTo>
                      <a:pt x="13" y="149"/>
                    </a:lnTo>
                    <a:lnTo>
                      <a:pt x="18" y="146"/>
                    </a:lnTo>
                    <a:lnTo>
                      <a:pt x="0" y="151"/>
                    </a:lnTo>
                    <a:lnTo>
                      <a:pt x="1" y="123"/>
                    </a:lnTo>
                    <a:lnTo>
                      <a:pt x="3" y="96"/>
                    </a:lnTo>
                    <a:lnTo>
                      <a:pt x="17" y="73"/>
                    </a:lnTo>
                    <a:lnTo>
                      <a:pt x="18" y="53"/>
                    </a:lnTo>
                    <a:lnTo>
                      <a:pt x="15" y="43"/>
                    </a:lnTo>
                    <a:lnTo>
                      <a:pt x="17" y="35"/>
                    </a:lnTo>
                    <a:lnTo>
                      <a:pt x="21" y="20"/>
                    </a:lnTo>
                    <a:lnTo>
                      <a:pt x="24" y="5"/>
                    </a:lnTo>
                    <a:lnTo>
                      <a:pt x="41" y="0"/>
                    </a:lnTo>
                    <a:lnTo>
                      <a:pt x="60" y="2"/>
                    </a:lnTo>
                    <a:lnTo>
                      <a:pt x="72" y="13"/>
                    </a:lnTo>
                    <a:lnTo>
                      <a:pt x="91" y="7"/>
                    </a:lnTo>
                    <a:lnTo>
                      <a:pt x="105" y="13"/>
                    </a:lnTo>
                    <a:lnTo>
                      <a:pt x="119" y="20"/>
                    </a:lnTo>
                    <a:lnTo>
                      <a:pt x="139" y="7"/>
                    </a:lnTo>
                    <a:lnTo>
                      <a:pt x="156" y="10"/>
                    </a:lnTo>
                    <a:lnTo>
                      <a:pt x="174" y="12"/>
                    </a:lnTo>
                    <a:lnTo>
                      <a:pt x="194" y="0"/>
                    </a:lnTo>
                    <a:lnTo>
                      <a:pt x="202" y="13"/>
                    </a:lnTo>
                    <a:lnTo>
                      <a:pt x="207" y="28"/>
                    </a:lnTo>
                    <a:lnTo>
                      <a:pt x="215" y="35"/>
                    </a:lnTo>
                    <a:lnTo>
                      <a:pt x="210" y="48"/>
                    </a:lnTo>
                    <a:lnTo>
                      <a:pt x="196" y="58"/>
                    </a:lnTo>
                    <a:lnTo>
                      <a:pt x="191" y="75"/>
                    </a:lnTo>
                    <a:lnTo>
                      <a:pt x="184" y="90"/>
                    </a:lnTo>
                    <a:lnTo>
                      <a:pt x="177" y="105"/>
                    </a:lnTo>
                    <a:lnTo>
                      <a:pt x="170" y="116"/>
                    </a:lnTo>
                    <a:lnTo>
                      <a:pt x="164" y="133"/>
                    </a:lnTo>
                    <a:lnTo>
                      <a:pt x="153" y="149"/>
                    </a:lnTo>
                    <a:lnTo>
                      <a:pt x="142" y="13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35" name="Freeform 165">
                <a:extLst>
                  <a:ext uri="{FF2B5EF4-FFF2-40B4-BE49-F238E27FC236}">
                    <a16:creationId xmlns:a16="http://schemas.microsoft.com/office/drawing/2014/main" id="{8FDDD2B1-02B6-316F-D17A-09DDC1FE86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84" y="3533"/>
                <a:ext cx="24" cy="56"/>
              </a:xfrm>
              <a:custGeom>
                <a:avLst/>
                <a:gdLst>
                  <a:gd name="T0" fmla="*/ 2 w 54"/>
                  <a:gd name="T1" fmla="*/ 12 h 126"/>
                  <a:gd name="T2" fmla="*/ 1 w 54"/>
                  <a:gd name="T3" fmla="*/ 12 h 126"/>
                  <a:gd name="T4" fmla="*/ 0 w 54"/>
                  <a:gd name="T5" fmla="*/ 16 h 126"/>
                  <a:gd name="T6" fmla="*/ 5 w 54"/>
                  <a:gd name="T7" fmla="*/ 21 h 126"/>
                  <a:gd name="T8" fmla="*/ 6 w 54"/>
                  <a:gd name="T9" fmla="*/ 29 h 126"/>
                  <a:gd name="T10" fmla="*/ 6 w 54"/>
                  <a:gd name="T11" fmla="*/ 36 h 126"/>
                  <a:gd name="T12" fmla="*/ 7 w 54"/>
                  <a:gd name="T13" fmla="*/ 42 h 126"/>
                  <a:gd name="T14" fmla="*/ 7 w 54"/>
                  <a:gd name="T15" fmla="*/ 49 h 126"/>
                  <a:gd name="T16" fmla="*/ 7 w 54"/>
                  <a:gd name="T17" fmla="*/ 56 h 126"/>
                  <a:gd name="T18" fmla="*/ 16 w 54"/>
                  <a:gd name="T19" fmla="*/ 55 h 126"/>
                  <a:gd name="T20" fmla="*/ 16 w 54"/>
                  <a:gd name="T21" fmla="*/ 42 h 126"/>
                  <a:gd name="T22" fmla="*/ 17 w 54"/>
                  <a:gd name="T23" fmla="*/ 30 h 126"/>
                  <a:gd name="T24" fmla="*/ 24 w 54"/>
                  <a:gd name="T25" fmla="*/ 19 h 126"/>
                  <a:gd name="T26" fmla="*/ 24 w 54"/>
                  <a:gd name="T27" fmla="*/ 11 h 126"/>
                  <a:gd name="T28" fmla="*/ 23 w 54"/>
                  <a:gd name="T29" fmla="*/ 6 h 126"/>
                  <a:gd name="T30" fmla="*/ 16 w 54"/>
                  <a:gd name="T31" fmla="*/ 0 h 126"/>
                  <a:gd name="T32" fmla="*/ 14 w 54"/>
                  <a:gd name="T33" fmla="*/ 2 h 126"/>
                  <a:gd name="T34" fmla="*/ 13 w 54"/>
                  <a:gd name="T35" fmla="*/ 4 h 126"/>
                  <a:gd name="T36" fmla="*/ 13 w 54"/>
                  <a:gd name="T37" fmla="*/ 4 h 126"/>
                  <a:gd name="T38" fmla="*/ 7 w 54"/>
                  <a:gd name="T39" fmla="*/ 9 h 126"/>
                  <a:gd name="T40" fmla="*/ 2 w 54"/>
                  <a:gd name="T41" fmla="*/ 12 h 12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54" h="126">
                    <a:moveTo>
                      <a:pt x="5" y="28"/>
                    </a:moveTo>
                    <a:lnTo>
                      <a:pt x="3" y="28"/>
                    </a:lnTo>
                    <a:lnTo>
                      <a:pt x="0" y="37"/>
                    </a:lnTo>
                    <a:lnTo>
                      <a:pt x="12" y="48"/>
                    </a:lnTo>
                    <a:lnTo>
                      <a:pt x="14" y="65"/>
                    </a:lnTo>
                    <a:lnTo>
                      <a:pt x="14" y="80"/>
                    </a:lnTo>
                    <a:lnTo>
                      <a:pt x="15" y="95"/>
                    </a:lnTo>
                    <a:lnTo>
                      <a:pt x="15" y="111"/>
                    </a:lnTo>
                    <a:lnTo>
                      <a:pt x="15" y="126"/>
                    </a:lnTo>
                    <a:lnTo>
                      <a:pt x="36" y="123"/>
                    </a:lnTo>
                    <a:lnTo>
                      <a:pt x="37" y="95"/>
                    </a:lnTo>
                    <a:lnTo>
                      <a:pt x="39" y="68"/>
                    </a:lnTo>
                    <a:lnTo>
                      <a:pt x="53" y="43"/>
                    </a:lnTo>
                    <a:lnTo>
                      <a:pt x="54" y="25"/>
                    </a:lnTo>
                    <a:lnTo>
                      <a:pt x="51" y="14"/>
                    </a:lnTo>
                    <a:lnTo>
                      <a:pt x="36" y="0"/>
                    </a:lnTo>
                    <a:lnTo>
                      <a:pt x="31" y="5"/>
                    </a:lnTo>
                    <a:lnTo>
                      <a:pt x="29" y="10"/>
                    </a:lnTo>
                    <a:lnTo>
                      <a:pt x="15" y="20"/>
                    </a:lnTo>
                    <a:lnTo>
                      <a:pt x="5" y="2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36" name="Freeform 166">
                <a:extLst>
                  <a:ext uri="{FF2B5EF4-FFF2-40B4-BE49-F238E27FC236}">
                    <a16:creationId xmlns:a16="http://schemas.microsoft.com/office/drawing/2014/main" id="{96EA4502-6F42-26FC-5782-A25EF3F64A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34" y="3509"/>
                <a:ext cx="63" cy="51"/>
              </a:xfrm>
              <a:custGeom>
                <a:avLst/>
                <a:gdLst>
                  <a:gd name="T0" fmla="*/ 52 w 142"/>
                  <a:gd name="T1" fmla="*/ 37 h 116"/>
                  <a:gd name="T2" fmla="*/ 49 w 142"/>
                  <a:gd name="T3" fmla="*/ 37 h 116"/>
                  <a:gd name="T4" fmla="*/ 43 w 142"/>
                  <a:gd name="T5" fmla="*/ 36 h 116"/>
                  <a:gd name="T6" fmla="*/ 40 w 142"/>
                  <a:gd name="T7" fmla="*/ 36 h 116"/>
                  <a:gd name="T8" fmla="*/ 31 w 142"/>
                  <a:gd name="T9" fmla="*/ 36 h 116"/>
                  <a:gd name="T10" fmla="*/ 22 w 142"/>
                  <a:gd name="T11" fmla="*/ 37 h 116"/>
                  <a:gd name="T12" fmla="*/ 22 w 142"/>
                  <a:gd name="T13" fmla="*/ 44 h 116"/>
                  <a:gd name="T14" fmla="*/ 23 w 142"/>
                  <a:gd name="T15" fmla="*/ 51 h 116"/>
                  <a:gd name="T16" fmla="*/ 16 w 142"/>
                  <a:gd name="T17" fmla="*/ 47 h 116"/>
                  <a:gd name="T18" fmla="*/ 8 w 142"/>
                  <a:gd name="T19" fmla="*/ 48 h 116"/>
                  <a:gd name="T20" fmla="*/ 4 w 142"/>
                  <a:gd name="T21" fmla="*/ 44 h 116"/>
                  <a:gd name="T22" fmla="*/ 0 w 142"/>
                  <a:gd name="T23" fmla="*/ 41 h 116"/>
                  <a:gd name="T24" fmla="*/ 2 w 142"/>
                  <a:gd name="T25" fmla="*/ 30 h 116"/>
                  <a:gd name="T26" fmla="*/ 4 w 142"/>
                  <a:gd name="T27" fmla="*/ 28 h 116"/>
                  <a:gd name="T28" fmla="*/ 8 w 142"/>
                  <a:gd name="T29" fmla="*/ 24 h 116"/>
                  <a:gd name="T30" fmla="*/ 10 w 142"/>
                  <a:gd name="T31" fmla="*/ 20 h 116"/>
                  <a:gd name="T32" fmla="*/ 12 w 142"/>
                  <a:gd name="T33" fmla="*/ 15 h 116"/>
                  <a:gd name="T34" fmla="*/ 16 w 142"/>
                  <a:gd name="T35" fmla="*/ 17 h 116"/>
                  <a:gd name="T36" fmla="*/ 18 w 142"/>
                  <a:gd name="T37" fmla="*/ 14 h 116"/>
                  <a:gd name="T38" fmla="*/ 20 w 142"/>
                  <a:gd name="T39" fmla="*/ 12 h 116"/>
                  <a:gd name="T40" fmla="*/ 23 w 142"/>
                  <a:gd name="T41" fmla="*/ 9 h 116"/>
                  <a:gd name="T42" fmla="*/ 28 w 142"/>
                  <a:gd name="T43" fmla="*/ 9 h 116"/>
                  <a:gd name="T44" fmla="*/ 28 w 142"/>
                  <a:gd name="T45" fmla="*/ 4 h 116"/>
                  <a:gd name="T46" fmla="*/ 39 w 142"/>
                  <a:gd name="T47" fmla="*/ 0 h 116"/>
                  <a:gd name="T48" fmla="*/ 46 w 142"/>
                  <a:gd name="T49" fmla="*/ 1 h 116"/>
                  <a:gd name="T50" fmla="*/ 47 w 142"/>
                  <a:gd name="T51" fmla="*/ 9 h 116"/>
                  <a:gd name="T52" fmla="*/ 54 w 142"/>
                  <a:gd name="T53" fmla="*/ 15 h 116"/>
                  <a:gd name="T54" fmla="*/ 52 w 142"/>
                  <a:gd name="T55" fmla="*/ 15 h 116"/>
                  <a:gd name="T56" fmla="*/ 52 w 142"/>
                  <a:gd name="T57" fmla="*/ 18 h 116"/>
                  <a:gd name="T58" fmla="*/ 57 w 142"/>
                  <a:gd name="T59" fmla="*/ 22 h 116"/>
                  <a:gd name="T60" fmla="*/ 60 w 142"/>
                  <a:gd name="T61" fmla="*/ 22 h 116"/>
                  <a:gd name="T62" fmla="*/ 61 w 142"/>
                  <a:gd name="T63" fmla="*/ 24 h 116"/>
                  <a:gd name="T64" fmla="*/ 63 w 142"/>
                  <a:gd name="T65" fmla="*/ 29 h 116"/>
                  <a:gd name="T66" fmla="*/ 63 w 142"/>
                  <a:gd name="T67" fmla="*/ 29 h 116"/>
                  <a:gd name="T68" fmla="*/ 63 w 142"/>
                  <a:gd name="T69" fmla="*/ 29 h 116"/>
                  <a:gd name="T70" fmla="*/ 57 w 142"/>
                  <a:gd name="T71" fmla="*/ 33 h 116"/>
                  <a:gd name="T72" fmla="*/ 52 w 142"/>
                  <a:gd name="T73" fmla="*/ 37 h 11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42" h="116">
                    <a:moveTo>
                      <a:pt x="118" y="84"/>
                    </a:moveTo>
                    <a:lnTo>
                      <a:pt x="111" y="84"/>
                    </a:lnTo>
                    <a:lnTo>
                      <a:pt x="96" y="81"/>
                    </a:lnTo>
                    <a:lnTo>
                      <a:pt x="91" y="81"/>
                    </a:lnTo>
                    <a:lnTo>
                      <a:pt x="70" y="81"/>
                    </a:lnTo>
                    <a:lnTo>
                      <a:pt x="50" y="84"/>
                    </a:lnTo>
                    <a:lnTo>
                      <a:pt x="50" y="99"/>
                    </a:lnTo>
                    <a:lnTo>
                      <a:pt x="51" y="116"/>
                    </a:lnTo>
                    <a:lnTo>
                      <a:pt x="36" y="106"/>
                    </a:lnTo>
                    <a:lnTo>
                      <a:pt x="19" y="109"/>
                    </a:lnTo>
                    <a:lnTo>
                      <a:pt x="8" y="99"/>
                    </a:lnTo>
                    <a:lnTo>
                      <a:pt x="0" y="94"/>
                    </a:lnTo>
                    <a:lnTo>
                      <a:pt x="5" y="68"/>
                    </a:lnTo>
                    <a:lnTo>
                      <a:pt x="9" y="63"/>
                    </a:lnTo>
                    <a:lnTo>
                      <a:pt x="19" y="55"/>
                    </a:lnTo>
                    <a:lnTo>
                      <a:pt x="23" y="45"/>
                    </a:lnTo>
                    <a:lnTo>
                      <a:pt x="26" y="35"/>
                    </a:lnTo>
                    <a:lnTo>
                      <a:pt x="37" y="38"/>
                    </a:lnTo>
                    <a:lnTo>
                      <a:pt x="40" y="31"/>
                    </a:lnTo>
                    <a:lnTo>
                      <a:pt x="45" y="28"/>
                    </a:lnTo>
                    <a:lnTo>
                      <a:pt x="51" y="20"/>
                    </a:lnTo>
                    <a:lnTo>
                      <a:pt x="62" y="20"/>
                    </a:lnTo>
                    <a:lnTo>
                      <a:pt x="63" y="10"/>
                    </a:lnTo>
                    <a:lnTo>
                      <a:pt x="87" y="0"/>
                    </a:lnTo>
                    <a:lnTo>
                      <a:pt x="104" y="2"/>
                    </a:lnTo>
                    <a:lnTo>
                      <a:pt x="107" y="20"/>
                    </a:lnTo>
                    <a:lnTo>
                      <a:pt x="121" y="35"/>
                    </a:lnTo>
                    <a:lnTo>
                      <a:pt x="118" y="35"/>
                    </a:lnTo>
                    <a:lnTo>
                      <a:pt x="118" y="41"/>
                    </a:lnTo>
                    <a:lnTo>
                      <a:pt x="128" y="51"/>
                    </a:lnTo>
                    <a:lnTo>
                      <a:pt x="135" y="50"/>
                    </a:lnTo>
                    <a:lnTo>
                      <a:pt x="138" y="55"/>
                    </a:lnTo>
                    <a:lnTo>
                      <a:pt x="142" y="65"/>
                    </a:lnTo>
                    <a:lnTo>
                      <a:pt x="142" y="66"/>
                    </a:lnTo>
                    <a:lnTo>
                      <a:pt x="128" y="76"/>
                    </a:lnTo>
                    <a:lnTo>
                      <a:pt x="118" y="8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37" name="Freeform 167">
                <a:extLst>
                  <a:ext uri="{FF2B5EF4-FFF2-40B4-BE49-F238E27FC236}">
                    <a16:creationId xmlns:a16="http://schemas.microsoft.com/office/drawing/2014/main" id="{3D33202E-957C-3BCC-7D9B-46EDE3AC17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46" y="3527"/>
                <a:ext cx="62" cy="103"/>
              </a:xfrm>
              <a:custGeom>
                <a:avLst/>
                <a:gdLst>
                  <a:gd name="T0" fmla="*/ 58 w 139"/>
                  <a:gd name="T1" fmla="*/ 28 h 234"/>
                  <a:gd name="T2" fmla="*/ 48 w 139"/>
                  <a:gd name="T3" fmla="*/ 28 h 234"/>
                  <a:gd name="T4" fmla="*/ 44 w 139"/>
                  <a:gd name="T5" fmla="*/ 30 h 234"/>
                  <a:gd name="T6" fmla="*/ 51 w 139"/>
                  <a:gd name="T7" fmla="*/ 38 h 234"/>
                  <a:gd name="T8" fmla="*/ 57 w 139"/>
                  <a:gd name="T9" fmla="*/ 51 h 234"/>
                  <a:gd name="T10" fmla="*/ 52 w 139"/>
                  <a:gd name="T11" fmla="*/ 58 h 234"/>
                  <a:gd name="T12" fmla="*/ 48 w 139"/>
                  <a:gd name="T13" fmla="*/ 65 h 234"/>
                  <a:gd name="T14" fmla="*/ 51 w 139"/>
                  <a:gd name="T15" fmla="*/ 77 h 234"/>
                  <a:gd name="T16" fmla="*/ 55 w 139"/>
                  <a:gd name="T17" fmla="*/ 84 h 234"/>
                  <a:gd name="T18" fmla="*/ 60 w 139"/>
                  <a:gd name="T19" fmla="*/ 91 h 234"/>
                  <a:gd name="T20" fmla="*/ 62 w 139"/>
                  <a:gd name="T21" fmla="*/ 99 h 234"/>
                  <a:gd name="T22" fmla="*/ 61 w 139"/>
                  <a:gd name="T23" fmla="*/ 103 h 234"/>
                  <a:gd name="T24" fmla="*/ 54 w 139"/>
                  <a:gd name="T25" fmla="*/ 101 h 234"/>
                  <a:gd name="T26" fmla="*/ 46 w 139"/>
                  <a:gd name="T27" fmla="*/ 99 h 234"/>
                  <a:gd name="T28" fmla="*/ 38 w 139"/>
                  <a:gd name="T29" fmla="*/ 99 h 234"/>
                  <a:gd name="T30" fmla="*/ 31 w 139"/>
                  <a:gd name="T31" fmla="*/ 99 h 234"/>
                  <a:gd name="T32" fmla="*/ 23 w 139"/>
                  <a:gd name="T33" fmla="*/ 99 h 234"/>
                  <a:gd name="T34" fmla="*/ 17 w 139"/>
                  <a:gd name="T35" fmla="*/ 98 h 234"/>
                  <a:gd name="T36" fmla="*/ 10 w 139"/>
                  <a:gd name="T37" fmla="*/ 97 h 234"/>
                  <a:gd name="T38" fmla="*/ 10 w 139"/>
                  <a:gd name="T39" fmla="*/ 88 h 234"/>
                  <a:gd name="T40" fmla="*/ 9 w 139"/>
                  <a:gd name="T41" fmla="*/ 84 h 234"/>
                  <a:gd name="T42" fmla="*/ 9 w 139"/>
                  <a:gd name="T43" fmla="*/ 83 h 234"/>
                  <a:gd name="T44" fmla="*/ 3 w 139"/>
                  <a:gd name="T45" fmla="*/ 81 h 234"/>
                  <a:gd name="T46" fmla="*/ 0 w 139"/>
                  <a:gd name="T47" fmla="*/ 76 h 234"/>
                  <a:gd name="T48" fmla="*/ 0 w 139"/>
                  <a:gd name="T49" fmla="*/ 77 h 234"/>
                  <a:gd name="T50" fmla="*/ 0 w 139"/>
                  <a:gd name="T51" fmla="*/ 74 h 234"/>
                  <a:gd name="T52" fmla="*/ 3 w 139"/>
                  <a:gd name="T53" fmla="*/ 68 h 234"/>
                  <a:gd name="T54" fmla="*/ 7 w 139"/>
                  <a:gd name="T55" fmla="*/ 62 h 234"/>
                  <a:gd name="T56" fmla="*/ 10 w 139"/>
                  <a:gd name="T57" fmla="*/ 57 h 234"/>
                  <a:gd name="T58" fmla="*/ 17 w 139"/>
                  <a:gd name="T59" fmla="*/ 55 h 234"/>
                  <a:gd name="T60" fmla="*/ 21 w 139"/>
                  <a:gd name="T61" fmla="*/ 60 h 234"/>
                  <a:gd name="T62" fmla="*/ 26 w 139"/>
                  <a:gd name="T63" fmla="*/ 53 h 234"/>
                  <a:gd name="T64" fmla="*/ 29 w 139"/>
                  <a:gd name="T65" fmla="*/ 45 h 234"/>
                  <a:gd name="T66" fmla="*/ 32 w 139"/>
                  <a:gd name="T67" fmla="*/ 40 h 234"/>
                  <a:gd name="T68" fmla="*/ 36 w 139"/>
                  <a:gd name="T69" fmla="*/ 34 h 234"/>
                  <a:gd name="T70" fmla="*/ 38 w 139"/>
                  <a:gd name="T71" fmla="*/ 27 h 234"/>
                  <a:gd name="T72" fmla="*/ 41 w 139"/>
                  <a:gd name="T73" fmla="*/ 20 h 234"/>
                  <a:gd name="T74" fmla="*/ 48 w 139"/>
                  <a:gd name="T75" fmla="*/ 15 h 234"/>
                  <a:gd name="T76" fmla="*/ 49 w 139"/>
                  <a:gd name="T77" fmla="*/ 10 h 234"/>
                  <a:gd name="T78" fmla="*/ 45 w 139"/>
                  <a:gd name="T79" fmla="*/ 7 h 234"/>
                  <a:gd name="T80" fmla="*/ 44 w 139"/>
                  <a:gd name="T81" fmla="*/ 0 h 234"/>
                  <a:gd name="T82" fmla="*/ 48 w 139"/>
                  <a:gd name="T83" fmla="*/ 0 h 234"/>
                  <a:gd name="T84" fmla="*/ 52 w 139"/>
                  <a:gd name="T85" fmla="*/ 9 h 234"/>
                  <a:gd name="T86" fmla="*/ 52 w 139"/>
                  <a:gd name="T87" fmla="*/ 19 h 234"/>
                  <a:gd name="T88" fmla="*/ 58 w 139"/>
                  <a:gd name="T89" fmla="*/ 28 h 234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39" h="234">
                    <a:moveTo>
                      <a:pt x="130" y="63"/>
                    </a:moveTo>
                    <a:lnTo>
                      <a:pt x="108" y="63"/>
                    </a:lnTo>
                    <a:lnTo>
                      <a:pt x="99" y="68"/>
                    </a:lnTo>
                    <a:lnTo>
                      <a:pt x="114" y="87"/>
                    </a:lnTo>
                    <a:lnTo>
                      <a:pt x="127" y="115"/>
                    </a:lnTo>
                    <a:lnTo>
                      <a:pt x="117" y="131"/>
                    </a:lnTo>
                    <a:lnTo>
                      <a:pt x="107" y="148"/>
                    </a:lnTo>
                    <a:lnTo>
                      <a:pt x="114" y="176"/>
                    </a:lnTo>
                    <a:lnTo>
                      <a:pt x="124" y="191"/>
                    </a:lnTo>
                    <a:lnTo>
                      <a:pt x="134" y="206"/>
                    </a:lnTo>
                    <a:lnTo>
                      <a:pt x="139" y="224"/>
                    </a:lnTo>
                    <a:lnTo>
                      <a:pt x="136" y="234"/>
                    </a:lnTo>
                    <a:lnTo>
                      <a:pt x="120" y="229"/>
                    </a:lnTo>
                    <a:lnTo>
                      <a:pt x="103" y="226"/>
                    </a:lnTo>
                    <a:lnTo>
                      <a:pt x="86" y="226"/>
                    </a:lnTo>
                    <a:lnTo>
                      <a:pt x="69" y="226"/>
                    </a:lnTo>
                    <a:lnTo>
                      <a:pt x="51" y="226"/>
                    </a:lnTo>
                    <a:lnTo>
                      <a:pt x="37" y="223"/>
                    </a:lnTo>
                    <a:lnTo>
                      <a:pt x="23" y="221"/>
                    </a:lnTo>
                    <a:lnTo>
                      <a:pt x="23" y="199"/>
                    </a:lnTo>
                    <a:lnTo>
                      <a:pt x="21" y="191"/>
                    </a:lnTo>
                    <a:lnTo>
                      <a:pt x="20" y="188"/>
                    </a:lnTo>
                    <a:lnTo>
                      <a:pt x="7" y="184"/>
                    </a:lnTo>
                    <a:lnTo>
                      <a:pt x="1" y="173"/>
                    </a:lnTo>
                    <a:lnTo>
                      <a:pt x="0" y="174"/>
                    </a:lnTo>
                    <a:lnTo>
                      <a:pt x="1" y="169"/>
                    </a:lnTo>
                    <a:lnTo>
                      <a:pt x="6" y="155"/>
                    </a:lnTo>
                    <a:lnTo>
                      <a:pt x="15" y="141"/>
                    </a:lnTo>
                    <a:lnTo>
                      <a:pt x="23" y="130"/>
                    </a:lnTo>
                    <a:lnTo>
                      <a:pt x="37" y="125"/>
                    </a:lnTo>
                    <a:lnTo>
                      <a:pt x="48" y="136"/>
                    </a:lnTo>
                    <a:lnTo>
                      <a:pt x="59" y="120"/>
                    </a:lnTo>
                    <a:lnTo>
                      <a:pt x="66" y="103"/>
                    </a:lnTo>
                    <a:lnTo>
                      <a:pt x="72" y="92"/>
                    </a:lnTo>
                    <a:lnTo>
                      <a:pt x="80" y="77"/>
                    </a:lnTo>
                    <a:lnTo>
                      <a:pt x="86" y="62"/>
                    </a:lnTo>
                    <a:lnTo>
                      <a:pt x="93" y="45"/>
                    </a:lnTo>
                    <a:lnTo>
                      <a:pt x="107" y="35"/>
                    </a:lnTo>
                    <a:lnTo>
                      <a:pt x="110" y="22"/>
                    </a:lnTo>
                    <a:lnTo>
                      <a:pt x="102" y="15"/>
                    </a:lnTo>
                    <a:lnTo>
                      <a:pt x="99" y="0"/>
                    </a:lnTo>
                    <a:lnTo>
                      <a:pt x="107" y="0"/>
                    </a:lnTo>
                    <a:lnTo>
                      <a:pt x="116" y="20"/>
                    </a:lnTo>
                    <a:lnTo>
                      <a:pt x="117" y="43"/>
                    </a:lnTo>
                    <a:lnTo>
                      <a:pt x="130" y="6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38" name="Freeform 168">
                <a:extLst>
                  <a:ext uri="{FF2B5EF4-FFF2-40B4-BE49-F238E27FC236}">
                    <a16:creationId xmlns:a16="http://schemas.microsoft.com/office/drawing/2014/main" id="{652450D9-9D3B-269F-5E32-3440650856F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3" y="3546"/>
                <a:ext cx="105" cy="79"/>
              </a:xfrm>
              <a:custGeom>
                <a:avLst/>
                <a:gdLst>
                  <a:gd name="T0" fmla="*/ 37 w 236"/>
                  <a:gd name="T1" fmla="*/ 22 h 181"/>
                  <a:gd name="T2" fmla="*/ 36 w 236"/>
                  <a:gd name="T3" fmla="*/ 19 h 181"/>
                  <a:gd name="T4" fmla="*/ 47 w 236"/>
                  <a:gd name="T5" fmla="*/ 17 h 181"/>
                  <a:gd name="T6" fmla="*/ 53 w 236"/>
                  <a:gd name="T7" fmla="*/ 10 h 181"/>
                  <a:gd name="T8" fmla="*/ 60 w 236"/>
                  <a:gd name="T9" fmla="*/ 2 h 181"/>
                  <a:gd name="T10" fmla="*/ 68 w 236"/>
                  <a:gd name="T11" fmla="*/ 0 h 181"/>
                  <a:gd name="T12" fmla="*/ 71 w 236"/>
                  <a:gd name="T13" fmla="*/ 6 h 181"/>
                  <a:gd name="T14" fmla="*/ 74 w 236"/>
                  <a:gd name="T15" fmla="*/ 12 h 181"/>
                  <a:gd name="T16" fmla="*/ 73 w 236"/>
                  <a:gd name="T17" fmla="*/ 21 h 181"/>
                  <a:gd name="T18" fmla="*/ 78 w 236"/>
                  <a:gd name="T19" fmla="*/ 21 h 181"/>
                  <a:gd name="T20" fmla="*/ 80 w 236"/>
                  <a:gd name="T21" fmla="*/ 25 h 181"/>
                  <a:gd name="T22" fmla="*/ 87 w 236"/>
                  <a:gd name="T23" fmla="*/ 29 h 181"/>
                  <a:gd name="T24" fmla="*/ 89 w 236"/>
                  <a:gd name="T25" fmla="*/ 34 h 181"/>
                  <a:gd name="T26" fmla="*/ 96 w 236"/>
                  <a:gd name="T27" fmla="*/ 40 h 181"/>
                  <a:gd name="T28" fmla="*/ 100 w 236"/>
                  <a:gd name="T29" fmla="*/ 45 h 181"/>
                  <a:gd name="T30" fmla="*/ 104 w 236"/>
                  <a:gd name="T31" fmla="*/ 51 h 181"/>
                  <a:gd name="T32" fmla="*/ 105 w 236"/>
                  <a:gd name="T33" fmla="*/ 54 h 181"/>
                  <a:gd name="T34" fmla="*/ 101 w 236"/>
                  <a:gd name="T35" fmla="*/ 52 h 181"/>
                  <a:gd name="T36" fmla="*/ 95 w 236"/>
                  <a:gd name="T37" fmla="*/ 52 h 181"/>
                  <a:gd name="T38" fmla="*/ 87 w 236"/>
                  <a:gd name="T39" fmla="*/ 51 h 181"/>
                  <a:gd name="T40" fmla="*/ 85 w 236"/>
                  <a:gd name="T41" fmla="*/ 55 h 181"/>
                  <a:gd name="T42" fmla="*/ 79 w 236"/>
                  <a:gd name="T43" fmla="*/ 55 h 181"/>
                  <a:gd name="T44" fmla="*/ 71 w 236"/>
                  <a:gd name="T45" fmla="*/ 57 h 181"/>
                  <a:gd name="T46" fmla="*/ 68 w 236"/>
                  <a:gd name="T47" fmla="*/ 57 h 181"/>
                  <a:gd name="T48" fmla="*/ 64 w 236"/>
                  <a:gd name="T49" fmla="*/ 61 h 181"/>
                  <a:gd name="T50" fmla="*/ 56 w 236"/>
                  <a:gd name="T51" fmla="*/ 59 h 181"/>
                  <a:gd name="T52" fmla="*/ 48 w 236"/>
                  <a:gd name="T53" fmla="*/ 57 h 181"/>
                  <a:gd name="T54" fmla="*/ 40 w 236"/>
                  <a:gd name="T55" fmla="*/ 52 h 181"/>
                  <a:gd name="T56" fmla="*/ 33 w 236"/>
                  <a:gd name="T57" fmla="*/ 61 h 181"/>
                  <a:gd name="T58" fmla="*/ 33 w 236"/>
                  <a:gd name="T59" fmla="*/ 68 h 181"/>
                  <a:gd name="T60" fmla="*/ 27 w 236"/>
                  <a:gd name="T61" fmla="*/ 67 h 181"/>
                  <a:gd name="T62" fmla="*/ 21 w 236"/>
                  <a:gd name="T63" fmla="*/ 67 h 181"/>
                  <a:gd name="T64" fmla="*/ 17 w 236"/>
                  <a:gd name="T65" fmla="*/ 69 h 181"/>
                  <a:gd name="T66" fmla="*/ 14 w 236"/>
                  <a:gd name="T67" fmla="*/ 79 h 181"/>
                  <a:gd name="T68" fmla="*/ 12 w 236"/>
                  <a:gd name="T69" fmla="*/ 71 h 181"/>
                  <a:gd name="T70" fmla="*/ 8 w 236"/>
                  <a:gd name="T71" fmla="*/ 65 h 181"/>
                  <a:gd name="T72" fmla="*/ 3 w 236"/>
                  <a:gd name="T73" fmla="*/ 57 h 181"/>
                  <a:gd name="T74" fmla="*/ 0 w 236"/>
                  <a:gd name="T75" fmla="*/ 46 h 181"/>
                  <a:gd name="T76" fmla="*/ 4 w 236"/>
                  <a:gd name="T77" fmla="*/ 38 h 181"/>
                  <a:gd name="T78" fmla="*/ 8 w 236"/>
                  <a:gd name="T79" fmla="*/ 31 h 181"/>
                  <a:gd name="T80" fmla="*/ 16 w 236"/>
                  <a:gd name="T81" fmla="*/ 28 h 181"/>
                  <a:gd name="T82" fmla="*/ 17 w 236"/>
                  <a:gd name="T83" fmla="*/ 29 h 181"/>
                  <a:gd name="T84" fmla="*/ 22 w 236"/>
                  <a:gd name="T85" fmla="*/ 28 h 181"/>
                  <a:gd name="T86" fmla="*/ 33 w 236"/>
                  <a:gd name="T87" fmla="*/ 26 h 181"/>
                  <a:gd name="T88" fmla="*/ 37 w 236"/>
                  <a:gd name="T89" fmla="*/ 22 h 18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236" h="181">
                    <a:moveTo>
                      <a:pt x="83" y="50"/>
                    </a:moveTo>
                    <a:lnTo>
                      <a:pt x="80" y="44"/>
                    </a:lnTo>
                    <a:lnTo>
                      <a:pt x="106" y="39"/>
                    </a:lnTo>
                    <a:lnTo>
                      <a:pt x="120" y="22"/>
                    </a:lnTo>
                    <a:lnTo>
                      <a:pt x="134" y="5"/>
                    </a:lnTo>
                    <a:lnTo>
                      <a:pt x="153" y="0"/>
                    </a:lnTo>
                    <a:lnTo>
                      <a:pt x="159" y="14"/>
                    </a:lnTo>
                    <a:lnTo>
                      <a:pt x="167" y="27"/>
                    </a:lnTo>
                    <a:lnTo>
                      <a:pt x="164" y="47"/>
                    </a:lnTo>
                    <a:lnTo>
                      <a:pt x="176" y="49"/>
                    </a:lnTo>
                    <a:lnTo>
                      <a:pt x="179" y="57"/>
                    </a:lnTo>
                    <a:lnTo>
                      <a:pt x="196" y="67"/>
                    </a:lnTo>
                    <a:lnTo>
                      <a:pt x="201" y="77"/>
                    </a:lnTo>
                    <a:lnTo>
                      <a:pt x="215" y="92"/>
                    </a:lnTo>
                    <a:lnTo>
                      <a:pt x="224" y="102"/>
                    </a:lnTo>
                    <a:lnTo>
                      <a:pt x="233" y="117"/>
                    </a:lnTo>
                    <a:lnTo>
                      <a:pt x="236" y="123"/>
                    </a:lnTo>
                    <a:lnTo>
                      <a:pt x="227" y="120"/>
                    </a:lnTo>
                    <a:lnTo>
                      <a:pt x="213" y="118"/>
                    </a:lnTo>
                    <a:lnTo>
                      <a:pt x="196" y="117"/>
                    </a:lnTo>
                    <a:lnTo>
                      <a:pt x="191" y="125"/>
                    </a:lnTo>
                    <a:lnTo>
                      <a:pt x="177" y="125"/>
                    </a:lnTo>
                    <a:lnTo>
                      <a:pt x="159" y="130"/>
                    </a:lnTo>
                    <a:lnTo>
                      <a:pt x="153" y="130"/>
                    </a:lnTo>
                    <a:lnTo>
                      <a:pt x="143" y="140"/>
                    </a:lnTo>
                    <a:lnTo>
                      <a:pt x="125" y="136"/>
                    </a:lnTo>
                    <a:lnTo>
                      <a:pt x="108" y="131"/>
                    </a:lnTo>
                    <a:lnTo>
                      <a:pt x="89" y="120"/>
                    </a:lnTo>
                    <a:lnTo>
                      <a:pt x="74" y="140"/>
                    </a:lnTo>
                    <a:lnTo>
                      <a:pt x="75" y="155"/>
                    </a:lnTo>
                    <a:lnTo>
                      <a:pt x="61" y="153"/>
                    </a:lnTo>
                    <a:lnTo>
                      <a:pt x="47" y="153"/>
                    </a:lnTo>
                    <a:lnTo>
                      <a:pt x="38" y="158"/>
                    </a:lnTo>
                    <a:lnTo>
                      <a:pt x="32" y="181"/>
                    </a:lnTo>
                    <a:lnTo>
                      <a:pt x="26" y="163"/>
                    </a:lnTo>
                    <a:lnTo>
                      <a:pt x="17" y="148"/>
                    </a:lnTo>
                    <a:lnTo>
                      <a:pt x="6" y="131"/>
                    </a:lnTo>
                    <a:lnTo>
                      <a:pt x="0" y="105"/>
                    </a:lnTo>
                    <a:lnTo>
                      <a:pt x="9" y="88"/>
                    </a:lnTo>
                    <a:lnTo>
                      <a:pt x="18" y="72"/>
                    </a:lnTo>
                    <a:lnTo>
                      <a:pt x="35" y="65"/>
                    </a:lnTo>
                    <a:lnTo>
                      <a:pt x="38" y="67"/>
                    </a:lnTo>
                    <a:lnTo>
                      <a:pt x="49" y="65"/>
                    </a:lnTo>
                    <a:lnTo>
                      <a:pt x="74" y="60"/>
                    </a:lnTo>
                    <a:lnTo>
                      <a:pt x="83" y="5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39" name="Freeform 169">
                <a:extLst>
                  <a:ext uri="{FF2B5EF4-FFF2-40B4-BE49-F238E27FC236}">
                    <a16:creationId xmlns:a16="http://schemas.microsoft.com/office/drawing/2014/main" id="{B0DD8F58-4115-EE97-EC01-2898BCAE37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44" y="3519"/>
                <a:ext cx="23" cy="8"/>
              </a:xfrm>
              <a:custGeom>
                <a:avLst/>
                <a:gdLst>
                  <a:gd name="T0" fmla="*/ 1 w 53"/>
                  <a:gd name="T1" fmla="*/ 4 h 16"/>
                  <a:gd name="T2" fmla="*/ 0 w 53"/>
                  <a:gd name="T3" fmla="*/ 8 h 16"/>
                  <a:gd name="T4" fmla="*/ 6 w 53"/>
                  <a:gd name="T5" fmla="*/ 6 h 16"/>
                  <a:gd name="T6" fmla="*/ 12 w 53"/>
                  <a:gd name="T7" fmla="*/ 3 h 16"/>
                  <a:gd name="T8" fmla="*/ 23 w 53"/>
                  <a:gd name="T9" fmla="*/ 5 h 16"/>
                  <a:gd name="T10" fmla="*/ 21 w 53"/>
                  <a:gd name="T11" fmla="*/ 3 h 16"/>
                  <a:gd name="T12" fmla="*/ 11 w 53"/>
                  <a:gd name="T13" fmla="*/ 0 h 16"/>
                  <a:gd name="T14" fmla="*/ 10 w 53"/>
                  <a:gd name="T15" fmla="*/ 3 h 16"/>
                  <a:gd name="T16" fmla="*/ 2 w 53"/>
                  <a:gd name="T17" fmla="*/ 3 h 16"/>
                  <a:gd name="T18" fmla="*/ 2 w 53"/>
                  <a:gd name="T19" fmla="*/ 4 h 16"/>
                  <a:gd name="T20" fmla="*/ 10 w 53"/>
                  <a:gd name="T21" fmla="*/ 4 h 16"/>
                  <a:gd name="T22" fmla="*/ 5 w 53"/>
                  <a:gd name="T23" fmla="*/ 6 h 16"/>
                  <a:gd name="T24" fmla="*/ 1 w 53"/>
                  <a:gd name="T25" fmla="*/ 4 h 1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16">
                    <a:moveTo>
                      <a:pt x="3" y="8"/>
                    </a:moveTo>
                    <a:lnTo>
                      <a:pt x="0" y="16"/>
                    </a:lnTo>
                    <a:lnTo>
                      <a:pt x="14" y="11"/>
                    </a:lnTo>
                    <a:lnTo>
                      <a:pt x="28" y="5"/>
                    </a:lnTo>
                    <a:lnTo>
                      <a:pt x="53" y="10"/>
                    </a:lnTo>
                    <a:lnTo>
                      <a:pt x="48" y="5"/>
                    </a:lnTo>
                    <a:lnTo>
                      <a:pt x="25" y="0"/>
                    </a:lnTo>
                    <a:lnTo>
                      <a:pt x="24" y="5"/>
                    </a:lnTo>
                    <a:lnTo>
                      <a:pt x="5" y="5"/>
                    </a:lnTo>
                    <a:lnTo>
                      <a:pt x="5" y="8"/>
                    </a:lnTo>
                    <a:lnTo>
                      <a:pt x="22" y="8"/>
                    </a:lnTo>
                    <a:lnTo>
                      <a:pt x="11" y="11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40" name="Freeform 170">
                <a:extLst>
                  <a:ext uri="{FF2B5EF4-FFF2-40B4-BE49-F238E27FC236}">
                    <a16:creationId xmlns:a16="http://schemas.microsoft.com/office/drawing/2014/main" id="{7FF69643-6E21-48F6-29B5-175B052B31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52" y="3544"/>
                <a:ext cx="35" cy="57"/>
              </a:xfrm>
              <a:custGeom>
                <a:avLst/>
                <a:gdLst>
                  <a:gd name="T0" fmla="*/ 31 w 79"/>
                  <a:gd name="T1" fmla="*/ 49 h 130"/>
                  <a:gd name="T2" fmla="*/ 24 w 79"/>
                  <a:gd name="T3" fmla="*/ 51 h 130"/>
                  <a:gd name="T4" fmla="*/ 20 w 79"/>
                  <a:gd name="T5" fmla="*/ 53 h 130"/>
                  <a:gd name="T6" fmla="*/ 14 w 79"/>
                  <a:gd name="T7" fmla="*/ 55 h 130"/>
                  <a:gd name="T8" fmla="*/ 8 w 79"/>
                  <a:gd name="T9" fmla="*/ 57 h 130"/>
                  <a:gd name="T10" fmla="*/ 0 w 79"/>
                  <a:gd name="T11" fmla="*/ 55 h 130"/>
                  <a:gd name="T12" fmla="*/ 4 w 79"/>
                  <a:gd name="T13" fmla="*/ 53 h 130"/>
                  <a:gd name="T14" fmla="*/ 2 w 79"/>
                  <a:gd name="T15" fmla="*/ 46 h 130"/>
                  <a:gd name="T16" fmla="*/ 0 w 79"/>
                  <a:gd name="T17" fmla="*/ 39 h 130"/>
                  <a:gd name="T18" fmla="*/ 4 w 79"/>
                  <a:gd name="T19" fmla="*/ 32 h 130"/>
                  <a:gd name="T20" fmla="*/ 5 w 79"/>
                  <a:gd name="T21" fmla="*/ 27 h 130"/>
                  <a:gd name="T22" fmla="*/ 4 w 79"/>
                  <a:gd name="T23" fmla="*/ 15 h 130"/>
                  <a:gd name="T24" fmla="*/ 4 w 79"/>
                  <a:gd name="T25" fmla="*/ 8 h 130"/>
                  <a:gd name="T26" fmla="*/ 4 w 79"/>
                  <a:gd name="T27" fmla="*/ 1 h 130"/>
                  <a:gd name="T28" fmla="*/ 12 w 79"/>
                  <a:gd name="T29" fmla="*/ 0 h 130"/>
                  <a:gd name="T30" fmla="*/ 22 w 79"/>
                  <a:gd name="T31" fmla="*/ 0 h 130"/>
                  <a:gd name="T32" fmla="*/ 24 w 79"/>
                  <a:gd name="T33" fmla="*/ 0 h 130"/>
                  <a:gd name="T34" fmla="*/ 25 w 79"/>
                  <a:gd name="T35" fmla="*/ 4 h 130"/>
                  <a:gd name="T36" fmla="*/ 28 w 79"/>
                  <a:gd name="T37" fmla="*/ 11 h 130"/>
                  <a:gd name="T38" fmla="*/ 28 w 79"/>
                  <a:gd name="T39" fmla="*/ 15 h 130"/>
                  <a:gd name="T40" fmla="*/ 29 w 79"/>
                  <a:gd name="T41" fmla="*/ 21 h 130"/>
                  <a:gd name="T42" fmla="*/ 30 w 79"/>
                  <a:gd name="T43" fmla="*/ 27 h 130"/>
                  <a:gd name="T44" fmla="*/ 30 w 79"/>
                  <a:gd name="T45" fmla="*/ 34 h 130"/>
                  <a:gd name="T46" fmla="*/ 31 w 79"/>
                  <a:gd name="T47" fmla="*/ 41 h 130"/>
                  <a:gd name="T48" fmla="*/ 35 w 79"/>
                  <a:gd name="T49" fmla="*/ 46 h 130"/>
                  <a:gd name="T50" fmla="*/ 31 w 79"/>
                  <a:gd name="T51" fmla="*/ 49 h 130"/>
                  <a:gd name="T52" fmla="*/ 28 w 79"/>
                  <a:gd name="T53" fmla="*/ 46 h 130"/>
                  <a:gd name="T54" fmla="*/ 31 w 79"/>
                  <a:gd name="T55" fmla="*/ 49 h 13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79" h="130">
                    <a:moveTo>
                      <a:pt x="69" y="111"/>
                    </a:moveTo>
                    <a:lnTo>
                      <a:pt x="55" y="117"/>
                    </a:lnTo>
                    <a:lnTo>
                      <a:pt x="45" y="121"/>
                    </a:lnTo>
                    <a:lnTo>
                      <a:pt x="31" y="126"/>
                    </a:lnTo>
                    <a:lnTo>
                      <a:pt x="18" y="130"/>
                    </a:lnTo>
                    <a:lnTo>
                      <a:pt x="1" y="126"/>
                    </a:lnTo>
                    <a:lnTo>
                      <a:pt x="8" y="121"/>
                    </a:lnTo>
                    <a:lnTo>
                      <a:pt x="4" y="106"/>
                    </a:lnTo>
                    <a:lnTo>
                      <a:pt x="0" y="89"/>
                    </a:lnTo>
                    <a:lnTo>
                      <a:pt x="8" y="74"/>
                    </a:lnTo>
                    <a:lnTo>
                      <a:pt x="12" y="61"/>
                    </a:lnTo>
                    <a:lnTo>
                      <a:pt x="9" y="34"/>
                    </a:lnTo>
                    <a:lnTo>
                      <a:pt x="8" y="18"/>
                    </a:lnTo>
                    <a:lnTo>
                      <a:pt x="8" y="3"/>
                    </a:lnTo>
                    <a:lnTo>
                      <a:pt x="28" y="1"/>
                    </a:lnTo>
                    <a:lnTo>
                      <a:pt x="49" y="1"/>
                    </a:lnTo>
                    <a:lnTo>
                      <a:pt x="54" y="0"/>
                    </a:lnTo>
                    <a:lnTo>
                      <a:pt x="57" y="8"/>
                    </a:lnTo>
                    <a:lnTo>
                      <a:pt x="63" y="26"/>
                    </a:lnTo>
                    <a:lnTo>
                      <a:pt x="63" y="34"/>
                    </a:lnTo>
                    <a:lnTo>
                      <a:pt x="65" y="49"/>
                    </a:lnTo>
                    <a:lnTo>
                      <a:pt x="68" y="61"/>
                    </a:lnTo>
                    <a:lnTo>
                      <a:pt x="68" y="77"/>
                    </a:lnTo>
                    <a:lnTo>
                      <a:pt x="69" y="94"/>
                    </a:lnTo>
                    <a:lnTo>
                      <a:pt x="79" y="104"/>
                    </a:lnTo>
                    <a:lnTo>
                      <a:pt x="69" y="111"/>
                    </a:lnTo>
                    <a:lnTo>
                      <a:pt x="63" y="106"/>
                    </a:lnTo>
                    <a:lnTo>
                      <a:pt x="69" y="11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41" name="Freeform 171">
                <a:extLst>
                  <a:ext uri="{FF2B5EF4-FFF2-40B4-BE49-F238E27FC236}">
                    <a16:creationId xmlns:a16="http://schemas.microsoft.com/office/drawing/2014/main" id="{09855A07-BA92-988A-257C-CBCA902605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58" y="3531"/>
                <a:ext cx="58" cy="48"/>
              </a:xfrm>
              <a:custGeom>
                <a:avLst/>
                <a:gdLst>
                  <a:gd name="T0" fmla="*/ 52 w 132"/>
                  <a:gd name="T1" fmla="*/ 11 h 109"/>
                  <a:gd name="T2" fmla="*/ 51 w 132"/>
                  <a:gd name="T3" fmla="*/ 15 h 109"/>
                  <a:gd name="T4" fmla="*/ 52 w 132"/>
                  <a:gd name="T5" fmla="*/ 15 h 109"/>
                  <a:gd name="T6" fmla="*/ 57 w 132"/>
                  <a:gd name="T7" fmla="*/ 22 h 109"/>
                  <a:gd name="T8" fmla="*/ 55 w 132"/>
                  <a:gd name="T9" fmla="*/ 30 h 109"/>
                  <a:gd name="T10" fmla="*/ 57 w 132"/>
                  <a:gd name="T11" fmla="*/ 30 h 109"/>
                  <a:gd name="T12" fmla="*/ 57 w 132"/>
                  <a:gd name="T13" fmla="*/ 32 h 109"/>
                  <a:gd name="T14" fmla="*/ 58 w 132"/>
                  <a:gd name="T15" fmla="*/ 36 h 109"/>
                  <a:gd name="T16" fmla="*/ 57 w 132"/>
                  <a:gd name="T17" fmla="*/ 38 h 109"/>
                  <a:gd name="T18" fmla="*/ 54 w 132"/>
                  <a:gd name="T19" fmla="*/ 39 h 109"/>
                  <a:gd name="T20" fmla="*/ 55 w 132"/>
                  <a:gd name="T21" fmla="*/ 42 h 109"/>
                  <a:gd name="T22" fmla="*/ 52 w 132"/>
                  <a:gd name="T23" fmla="*/ 46 h 109"/>
                  <a:gd name="T24" fmla="*/ 52 w 132"/>
                  <a:gd name="T25" fmla="*/ 46 h 109"/>
                  <a:gd name="T26" fmla="*/ 51 w 132"/>
                  <a:gd name="T27" fmla="*/ 46 h 109"/>
                  <a:gd name="T28" fmla="*/ 47 w 132"/>
                  <a:gd name="T29" fmla="*/ 48 h 109"/>
                  <a:gd name="T30" fmla="*/ 44 w 132"/>
                  <a:gd name="T31" fmla="*/ 46 h 109"/>
                  <a:gd name="T32" fmla="*/ 42 w 132"/>
                  <a:gd name="T33" fmla="*/ 37 h 109"/>
                  <a:gd name="T34" fmla="*/ 37 w 132"/>
                  <a:gd name="T35" fmla="*/ 37 h 109"/>
                  <a:gd name="T36" fmla="*/ 35 w 132"/>
                  <a:gd name="T37" fmla="*/ 39 h 109"/>
                  <a:gd name="T38" fmla="*/ 35 w 132"/>
                  <a:gd name="T39" fmla="*/ 32 h 109"/>
                  <a:gd name="T40" fmla="*/ 31 w 132"/>
                  <a:gd name="T41" fmla="*/ 24 h 109"/>
                  <a:gd name="T42" fmla="*/ 19 w 132"/>
                  <a:gd name="T43" fmla="*/ 26 h 109"/>
                  <a:gd name="T44" fmla="*/ 13 w 132"/>
                  <a:gd name="T45" fmla="*/ 32 h 109"/>
                  <a:gd name="T46" fmla="*/ 13 w 132"/>
                  <a:gd name="T47" fmla="*/ 30 h 109"/>
                  <a:gd name="T48" fmla="*/ 11 w 132"/>
                  <a:gd name="T49" fmla="*/ 27 h 109"/>
                  <a:gd name="T50" fmla="*/ 10 w 132"/>
                  <a:gd name="T51" fmla="*/ 26 h 109"/>
                  <a:gd name="T52" fmla="*/ 7 w 132"/>
                  <a:gd name="T53" fmla="*/ 23 h 109"/>
                  <a:gd name="T54" fmla="*/ 3 w 132"/>
                  <a:gd name="T55" fmla="*/ 19 h 109"/>
                  <a:gd name="T56" fmla="*/ 4 w 132"/>
                  <a:gd name="T57" fmla="*/ 17 h 109"/>
                  <a:gd name="T58" fmla="*/ 2 w 132"/>
                  <a:gd name="T59" fmla="*/ 17 h 109"/>
                  <a:gd name="T60" fmla="*/ 2 w 132"/>
                  <a:gd name="T61" fmla="*/ 15 h 109"/>
                  <a:gd name="T62" fmla="*/ 0 w 132"/>
                  <a:gd name="T63" fmla="*/ 16 h 109"/>
                  <a:gd name="T64" fmla="*/ 2 w 132"/>
                  <a:gd name="T65" fmla="*/ 11 h 109"/>
                  <a:gd name="T66" fmla="*/ 9 w 132"/>
                  <a:gd name="T67" fmla="*/ 9 h 109"/>
                  <a:gd name="T68" fmla="*/ 10 w 132"/>
                  <a:gd name="T69" fmla="*/ 4 h 109"/>
                  <a:gd name="T70" fmla="*/ 11 w 132"/>
                  <a:gd name="T71" fmla="*/ 0 h 109"/>
                  <a:gd name="T72" fmla="*/ 18 w 132"/>
                  <a:gd name="T73" fmla="*/ 2 h 109"/>
                  <a:gd name="T74" fmla="*/ 29 w 132"/>
                  <a:gd name="T75" fmla="*/ 3 h 109"/>
                  <a:gd name="T76" fmla="*/ 29 w 132"/>
                  <a:gd name="T77" fmla="*/ 5 h 109"/>
                  <a:gd name="T78" fmla="*/ 33 w 132"/>
                  <a:gd name="T79" fmla="*/ 5 h 109"/>
                  <a:gd name="T80" fmla="*/ 36 w 132"/>
                  <a:gd name="T81" fmla="*/ 6 h 109"/>
                  <a:gd name="T82" fmla="*/ 41 w 132"/>
                  <a:gd name="T83" fmla="*/ 6 h 109"/>
                  <a:gd name="T84" fmla="*/ 45 w 132"/>
                  <a:gd name="T85" fmla="*/ 3 h 109"/>
                  <a:gd name="T86" fmla="*/ 47 w 132"/>
                  <a:gd name="T87" fmla="*/ 2 h 109"/>
                  <a:gd name="T88" fmla="*/ 49 w 132"/>
                  <a:gd name="T89" fmla="*/ 9 h 109"/>
                  <a:gd name="T90" fmla="*/ 52 w 132"/>
                  <a:gd name="T91" fmla="*/ 11 h 10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32" h="109">
                    <a:moveTo>
                      <a:pt x="119" y="26"/>
                    </a:moveTo>
                    <a:lnTo>
                      <a:pt x="116" y="33"/>
                    </a:lnTo>
                    <a:lnTo>
                      <a:pt x="119" y="33"/>
                    </a:lnTo>
                    <a:lnTo>
                      <a:pt x="129" y="49"/>
                    </a:lnTo>
                    <a:lnTo>
                      <a:pt x="126" y="68"/>
                    </a:lnTo>
                    <a:lnTo>
                      <a:pt x="129" y="69"/>
                    </a:lnTo>
                    <a:lnTo>
                      <a:pt x="130" y="73"/>
                    </a:lnTo>
                    <a:lnTo>
                      <a:pt x="132" y="81"/>
                    </a:lnTo>
                    <a:lnTo>
                      <a:pt x="130" y="86"/>
                    </a:lnTo>
                    <a:lnTo>
                      <a:pt x="122" y="88"/>
                    </a:lnTo>
                    <a:lnTo>
                      <a:pt x="126" y="96"/>
                    </a:lnTo>
                    <a:lnTo>
                      <a:pt x="119" y="104"/>
                    </a:lnTo>
                    <a:lnTo>
                      <a:pt x="115" y="104"/>
                    </a:lnTo>
                    <a:lnTo>
                      <a:pt x="107" y="109"/>
                    </a:lnTo>
                    <a:lnTo>
                      <a:pt x="101" y="104"/>
                    </a:lnTo>
                    <a:lnTo>
                      <a:pt x="96" y="84"/>
                    </a:lnTo>
                    <a:lnTo>
                      <a:pt x="85" y="84"/>
                    </a:lnTo>
                    <a:lnTo>
                      <a:pt x="79" y="88"/>
                    </a:lnTo>
                    <a:lnTo>
                      <a:pt x="79" y="73"/>
                    </a:lnTo>
                    <a:lnTo>
                      <a:pt x="70" y="54"/>
                    </a:lnTo>
                    <a:lnTo>
                      <a:pt x="44" y="59"/>
                    </a:lnTo>
                    <a:lnTo>
                      <a:pt x="30" y="73"/>
                    </a:lnTo>
                    <a:lnTo>
                      <a:pt x="30" y="68"/>
                    </a:lnTo>
                    <a:lnTo>
                      <a:pt x="25" y="61"/>
                    </a:lnTo>
                    <a:lnTo>
                      <a:pt x="22" y="58"/>
                    </a:lnTo>
                    <a:lnTo>
                      <a:pt x="17" y="53"/>
                    </a:lnTo>
                    <a:lnTo>
                      <a:pt x="6" y="43"/>
                    </a:lnTo>
                    <a:lnTo>
                      <a:pt x="8" y="38"/>
                    </a:lnTo>
                    <a:lnTo>
                      <a:pt x="5" y="39"/>
                    </a:lnTo>
                    <a:lnTo>
                      <a:pt x="5" y="34"/>
                    </a:lnTo>
                    <a:lnTo>
                      <a:pt x="0" y="36"/>
                    </a:lnTo>
                    <a:lnTo>
                      <a:pt x="5" y="26"/>
                    </a:lnTo>
                    <a:lnTo>
                      <a:pt x="20" y="21"/>
                    </a:lnTo>
                    <a:lnTo>
                      <a:pt x="22" y="8"/>
                    </a:lnTo>
                    <a:lnTo>
                      <a:pt x="25" y="0"/>
                    </a:lnTo>
                    <a:lnTo>
                      <a:pt x="40" y="5"/>
                    </a:lnTo>
                    <a:lnTo>
                      <a:pt x="65" y="6"/>
                    </a:lnTo>
                    <a:lnTo>
                      <a:pt x="65" y="11"/>
                    </a:lnTo>
                    <a:lnTo>
                      <a:pt x="76" y="11"/>
                    </a:lnTo>
                    <a:lnTo>
                      <a:pt x="81" y="13"/>
                    </a:lnTo>
                    <a:lnTo>
                      <a:pt x="93" y="13"/>
                    </a:lnTo>
                    <a:lnTo>
                      <a:pt x="102" y="6"/>
                    </a:lnTo>
                    <a:lnTo>
                      <a:pt x="107" y="5"/>
                    </a:lnTo>
                    <a:lnTo>
                      <a:pt x="112" y="21"/>
                    </a:lnTo>
                    <a:lnTo>
                      <a:pt x="119" y="2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42" name="Freeform 172">
                <a:extLst>
                  <a:ext uri="{FF2B5EF4-FFF2-40B4-BE49-F238E27FC236}">
                    <a16:creationId xmlns:a16="http://schemas.microsoft.com/office/drawing/2014/main" id="{8946918E-B60A-D088-2EC5-2A15CFF06F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44" y="3531"/>
                <a:ext cx="25" cy="15"/>
              </a:xfrm>
              <a:custGeom>
                <a:avLst/>
                <a:gdLst>
                  <a:gd name="T0" fmla="*/ 13 w 56"/>
                  <a:gd name="T1" fmla="*/ 9 h 34"/>
                  <a:gd name="T2" fmla="*/ 12 w 56"/>
                  <a:gd name="T3" fmla="*/ 11 h 34"/>
                  <a:gd name="T4" fmla="*/ 13 w 56"/>
                  <a:gd name="T5" fmla="*/ 14 h 34"/>
                  <a:gd name="T6" fmla="*/ 14 w 56"/>
                  <a:gd name="T7" fmla="*/ 15 h 34"/>
                  <a:gd name="T8" fmla="*/ 16 w 56"/>
                  <a:gd name="T9" fmla="*/ 11 h 34"/>
                  <a:gd name="T10" fmla="*/ 23 w 56"/>
                  <a:gd name="T11" fmla="*/ 9 h 34"/>
                  <a:gd name="T12" fmla="*/ 24 w 56"/>
                  <a:gd name="T13" fmla="*/ 4 h 34"/>
                  <a:gd name="T14" fmla="*/ 25 w 56"/>
                  <a:gd name="T15" fmla="*/ 0 h 34"/>
                  <a:gd name="T16" fmla="*/ 18 w 56"/>
                  <a:gd name="T17" fmla="*/ 0 h 34"/>
                  <a:gd name="T18" fmla="*/ 12 w 56"/>
                  <a:gd name="T19" fmla="*/ 1 h 34"/>
                  <a:gd name="T20" fmla="*/ 0 w 56"/>
                  <a:gd name="T21" fmla="*/ 3 h 34"/>
                  <a:gd name="T22" fmla="*/ 4 w 56"/>
                  <a:gd name="T23" fmla="*/ 4 h 34"/>
                  <a:gd name="T24" fmla="*/ 4 w 56"/>
                  <a:gd name="T25" fmla="*/ 5 h 34"/>
                  <a:gd name="T26" fmla="*/ 7 w 56"/>
                  <a:gd name="T27" fmla="*/ 6 h 34"/>
                  <a:gd name="T28" fmla="*/ 7 w 56"/>
                  <a:gd name="T29" fmla="*/ 7 h 34"/>
                  <a:gd name="T30" fmla="*/ 13 w 56"/>
                  <a:gd name="T31" fmla="*/ 7 h 34"/>
                  <a:gd name="T32" fmla="*/ 14 w 56"/>
                  <a:gd name="T33" fmla="*/ 7 h 34"/>
                  <a:gd name="T34" fmla="*/ 10 w 56"/>
                  <a:gd name="T35" fmla="*/ 8 h 34"/>
                  <a:gd name="T36" fmla="*/ 13 w 56"/>
                  <a:gd name="T37" fmla="*/ 9 h 3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56" h="34">
                    <a:moveTo>
                      <a:pt x="28" y="20"/>
                    </a:moveTo>
                    <a:lnTo>
                      <a:pt x="27" y="25"/>
                    </a:lnTo>
                    <a:lnTo>
                      <a:pt x="30" y="31"/>
                    </a:lnTo>
                    <a:lnTo>
                      <a:pt x="31" y="34"/>
                    </a:lnTo>
                    <a:lnTo>
                      <a:pt x="36" y="26"/>
                    </a:lnTo>
                    <a:lnTo>
                      <a:pt x="51" y="20"/>
                    </a:lnTo>
                    <a:lnTo>
                      <a:pt x="54" y="8"/>
                    </a:lnTo>
                    <a:lnTo>
                      <a:pt x="56" y="0"/>
                    </a:lnTo>
                    <a:lnTo>
                      <a:pt x="41" y="1"/>
                    </a:lnTo>
                    <a:lnTo>
                      <a:pt x="27" y="3"/>
                    </a:lnTo>
                    <a:lnTo>
                      <a:pt x="0" y="6"/>
                    </a:lnTo>
                    <a:lnTo>
                      <a:pt x="10" y="8"/>
                    </a:lnTo>
                    <a:lnTo>
                      <a:pt x="8" y="11"/>
                    </a:lnTo>
                    <a:lnTo>
                      <a:pt x="16" y="13"/>
                    </a:lnTo>
                    <a:lnTo>
                      <a:pt x="16" y="16"/>
                    </a:lnTo>
                    <a:lnTo>
                      <a:pt x="28" y="15"/>
                    </a:lnTo>
                    <a:lnTo>
                      <a:pt x="31" y="16"/>
                    </a:lnTo>
                    <a:lnTo>
                      <a:pt x="22" y="18"/>
                    </a:lnTo>
                    <a:lnTo>
                      <a:pt x="28" y="2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43" name="Freeform 173">
                <a:extLst>
                  <a:ext uri="{FF2B5EF4-FFF2-40B4-BE49-F238E27FC236}">
                    <a16:creationId xmlns:a16="http://schemas.microsoft.com/office/drawing/2014/main" id="{3F897F5C-F8AC-DB38-50E0-AACCBBE745D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11" y="3548"/>
                <a:ext cx="47" cy="57"/>
              </a:xfrm>
              <a:custGeom>
                <a:avLst/>
                <a:gdLst>
                  <a:gd name="T0" fmla="*/ 27 w 107"/>
                  <a:gd name="T1" fmla="*/ 4 h 131"/>
                  <a:gd name="T2" fmla="*/ 23 w 107"/>
                  <a:gd name="T3" fmla="*/ 2 h 131"/>
                  <a:gd name="T4" fmla="*/ 18 w 107"/>
                  <a:gd name="T5" fmla="*/ 4 h 131"/>
                  <a:gd name="T6" fmla="*/ 17 w 107"/>
                  <a:gd name="T7" fmla="*/ 0 h 131"/>
                  <a:gd name="T8" fmla="*/ 14 w 107"/>
                  <a:gd name="T9" fmla="*/ 2 h 131"/>
                  <a:gd name="T10" fmla="*/ 11 w 107"/>
                  <a:gd name="T11" fmla="*/ 4 h 131"/>
                  <a:gd name="T12" fmla="*/ 6 w 107"/>
                  <a:gd name="T13" fmla="*/ 4 h 131"/>
                  <a:gd name="T14" fmla="*/ 4 w 107"/>
                  <a:gd name="T15" fmla="*/ 4 h 131"/>
                  <a:gd name="T16" fmla="*/ 3 w 107"/>
                  <a:gd name="T17" fmla="*/ 13 h 131"/>
                  <a:gd name="T18" fmla="*/ 4 w 107"/>
                  <a:gd name="T19" fmla="*/ 13 h 131"/>
                  <a:gd name="T20" fmla="*/ 5 w 107"/>
                  <a:gd name="T21" fmla="*/ 15 h 131"/>
                  <a:gd name="T22" fmla="*/ 6 w 107"/>
                  <a:gd name="T23" fmla="*/ 19 h 131"/>
                  <a:gd name="T24" fmla="*/ 6 w 107"/>
                  <a:gd name="T25" fmla="*/ 20 h 131"/>
                  <a:gd name="T26" fmla="*/ 1 w 107"/>
                  <a:gd name="T27" fmla="*/ 21 h 131"/>
                  <a:gd name="T28" fmla="*/ 3 w 107"/>
                  <a:gd name="T29" fmla="*/ 25 h 131"/>
                  <a:gd name="T30" fmla="*/ 1 w 107"/>
                  <a:gd name="T31" fmla="*/ 28 h 131"/>
                  <a:gd name="T32" fmla="*/ 0 w 107"/>
                  <a:gd name="T33" fmla="*/ 28 h 131"/>
                  <a:gd name="T34" fmla="*/ 0 w 107"/>
                  <a:gd name="T35" fmla="*/ 37 h 131"/>
                  <a:gd name="T36" fmla="*/ 0 w 107"/>
                  <a:gd name="T37" fmla="*/ 38 h 131"/>
                  <a:gd name="T38" fmla="*/ 6 w 107"/>
                  <a:gd name="T39" fmla="*/ 43 h 131"/>
                  <a:gd name="T40" fmla="*/ 8 w 107"/>
                  <a:gd name="T41" fmla="*/ 47 h 131"/>
                  <a:gd name="T42" fmla="*/ 7 w 107"/>
                  <a:gd name="T43" fmla="*/ 57 h 131"/>
                  <a:gd name="T44" fmla="*/ 17 w 107"/>
                  <a:gd name="T45" fmla="*/ 54 h 131"/>
                  <a:gd name="T46" fmla="*/ 27 w 107"/>
                  <a:gd name="T47" fmla="*/ 50 h 131"/>
                  <a:gd name="T48" fmla="*/ 25 w 107"/>
                  <a:gd name="T49" fmla="*/ 50 h 131"/>
                  <a:gd name="T50" fmla="*/ 35 w 107"/>
                  <a:gd name="T51" fmla="*/ 49 h 131"/>
                  <a:gd name="T52" fmla="*/ 30 w 107"/>
                  <a:gd name="T53" fmla="*/ 49 h 131"/>
                  <a:gd name="T54" fmla="*/ 36 w 107"/>
                  <a:gd name="T55" fmla="*/ 49 h 131"/>
                  <a:gd name="T56" fmla="*/ 41 w 107"/>
                  <a:gd name="T57" fmla="*/ 49 h 131"/>
                  <a:gd name="T58" fmla="*/ 42 w 107"/>
                  <a:gd name="T59" fmla="*/ 51 h 131"/>
                  <a:gd name="T60" fmla="*/ 45 w 107"/>
                  <a:gd name="T61" fmla="*/ 49 h 131"/>
                  <a:gd name="T62" fmla="*/ 43 w 107"/>
                  <a:gd name="T63" fmla="*/ 42 h 131"/>
                  <a:gd name="T64" fmla="*/ 42 w 107"/>
                  <a:gd name="T65" fmla="*/ 35 h 131"/>
                  <a:gd name="T66" fmla="*/ 45 w 107"/>
                  <a:gd name="T67" fmla="*/ 29 h 131"/>
                  <a:gd name="T68" fmla="*/ 47 w 107"/>
                  <a:gd name="T69" fmla="*/ 23 h 131"/>
                  <a:gd name="T70" fmla="*/ 46 w 107"/>
                  <a:gd name="T71" fmla="*/ 12 h 131"/>
                  <a:gd name="T72" fmla="*/ 39 w 107"/>
                  <a:gd name="T73" fmla="*/ 7 h 131"/>
                  <a:gd name="T74" fmla="*/ 32 w 107"/>
                  <a:gd name="T75" fmla="*/ 9 h 131"/>
                  <a:gd name="T76" fmla="*/ 27 w 107"/>
                  <a:gd name="T77" fmla="*/ 4 h 13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07" h="131">
                    <a:moveTo>
                      <a:pt x="61" y="10"/>
                    </a:moveTo>
                    <a:lnTo>
                      <a:pt x="53" y="5"/>
                    </a:lnTo>
                    <a:lnTo>
                      <a:pt x="41" y="9"/>
                    </a:lnTo>
                    <a:lnTo>
                      <a:pt x="39" y="0"/>
                    </a:lnTo>
                    <a:lnTo>
                      <a:pt x="33" y="5"/>
                    </a:lnTo>
                    <a:lnTo>
                      <a:pt x="24" y="10"/>
                    </a:lnTo>
                    <a:lnTo>
                      <a:pt x="13" y="9"/>
                    </a:lnTo>
                    <a:lnTo>
                      <a:pt x="10" y="10"/>
                    </a:lnTo>
                    <a:lnTo>
                      <a:pt x="7" y="29"/>
                    </a:lnTo>
                    <a:lnTo>
                      <a:pt x="10" y="30"/>
                    </a:lnTo>
                    <a:lnTo>
                      <a:pt x="11" y="35"/>
                    </a:lnTo>
                    <a:lnTo>
                      <a:pt x="13" y="44"/>
                    </a:lnTo>
                    <a:lnTo>
                      <a:pt x="13" y="47"/>
                    </a:lnTo>
                    <a:lnTo>
                      <a:pt x="3" y="49"/>
                    </a:lnTo>
                    <a:lnTo>
                      <a:pt x="7" y="57"/>
                    </a:lnTo>
                    <a:lnTo>
                      <a:pt x="2" y="65"/>
                    </a:lnTo>
                    <a:lnTo>
                      <a:pt x="0" y="65"/>
                    </a:lnTo>
                    <a:lnTo>
                      <a:pt x="0" y="85"/>
                    </a:lnTo>
                    <a:lnTo>
                      <a:pt x="0" y="88"/>
                    </a:lnTo>
                    <a:lnTo>
                      <a:pt x="13" y="98"/>
                    </a:lnTo>
                    <a:lnTo>
                      <a:pt x="19" y="107"/>
                    </a:lnTo>
                    <a:lnTo>
                      <a:pt x="16" y="131"/>
                    </a:lnTo>
                    <a:lnTo>
                      <a:pt x="39" y="123"/>
                    </a:lnTo>
                    <a:lnTo>
                      <a:pt x="62" y="115"/>
                    </a:lnTo>
                    <a:lnTo>
                      <a:pt x="58" y="115"/>
                    </a:lnTo>
                    <a:lnTo>
                      <a:pt x="79" y="113"/>
                    </a:lnTo>
                    <a:lnTo>
                      <a:pt x="68" y="113"/>
                    </a:lnTo>
                    <a:lnTo>
                      <a:pt x="82" y="112"/>
                    </a:lnTo>
                    <a:lnTo>
                      <a:pt x="93" y="113"/>
                    </a:lnTo>
                    <a:lnTo>
                      <a:pt x="95" y="117"/>
                    </a:lnTo>
                    <a:lnTo>
                      <a:pt x="103" y="112"/>
                    </a:lnTo>
                    <a:lnTo>
                      <a:pt x="99" y="97"/>
                    </a:lnTo>
                    <a:lnTo>
                      <a:pt x="95" y="80"/>
                    </a:lnTo>
                    <a:lnTo>
                      <a:pt x="103" y="67"/>
                    </a:lnTo>
                    <a:lnTo>
                      <a:pt x="107" y="52"/>
                    </a:lnTo>
                    <a:lnTo>
                      <a:pt x="104" y="27"/>
                    </a:lnTo>
                    <a:lnTo>
                      <a:pt x="89" y="17"/>
                    </a:lnTo>
                    <a:lnTo>
                      <a:pt x="72" y="20"/>
                    </a:lnTo>
                    <a:lnTo>
                      <a:pt x="61" y="1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44" name="Freeform 174">
                <a:extLst>
                  <a:ext uri="{FF2B5EF4-FFF2-40B4-BE49-F238E27FC236}">
                    <a16:creationId xmlns:a16="http://schemas.microsoft.com/office/drawing/2014/main" id="{95718975-AEA3-C10B-8060-87DBAAD441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71" y="3554"/>
                <a:ext cx="24" cy="29"/>
              </a:xfrm>
              <a:custGeom>
                <a:avLst/>
                <a:gdLst>
                  <a:gd name="T0" fmla="*/ 24 w 55"/>
                  <a:gd name="T1" fmla="*/ 14 h 65"/>
                  <a:gd name="T2" fmla="*/ 21 w 55"/>
                  <a:gd name="T3" fmla="*/ 20 h 65"/>
                  <a:gd name="T4" fmla="*/ 17 w 55"/>
                  <a:gd name="T5" fmla="*/ 25 h 65"/>
                  <a:gd name="T6" fmla="*/ 15 w 55"/>
                  <a:gd name="T7" fmla="*/ 29 h 65"/>
                  <a:gd name="T8" fmla="*/ 7 w 55"/>
                  <a:gd name="T9" fmla="*/ 25 h 65"/>
                  <a:gd name="T10" fmla="*/ 8 w 55"/>
                  <a:gd name="T11" fmla="*/ 23 h 65"/>
                  <a:gd name="T12" fmla="*/ 6 w 55"/>
                  <a:gd name="T13" fmla="*/ 21 h 65"/>
                  <a:gd name="T14" fmla="*/ 1 w 55"/>
                  <a:gd name="T15" fmla="*/ 15 h 65"/>
                  <a:gd name="T16" fmla="*/ 4 w 55"/>
                  <a:gd name="T17" fmla="*/ 13 h 65"/>
                  <a:gd name="T18" fmla="*/ 0 w 55"/>
                  <a:gd name="T19" fmla="*/ 13 h 65"/>
                  <a:gd name="T20" fmla="*/ 3 w 55"/>
                  <a:gd name="T21" fmla="*/ 11 h 65"/>
                  <a:gd name="T22" fmla="*/ 0 w 55"/>
                  <a:gd name="T23" fmla="*/ 9 h 65"/>
                  <a:gd name="T24" fmla="*/ 6 w 55"/>
                  <a:gd name="T25" fmla="*/ 2 h 65"/>
                  <a:gd name="T26" fmla="*/ 17 w 55"/>
                  <a:gd name="T27" fmla="*/ 0 h 65"/>
                  <a:gd name="T28" fmla="*/ 22 w 55"/>
                  <a:gd name="T29" fmla="*/ 9 h 65"/>
                  <a:gd name="T30" fmla="*/ 21 w 55"/>
                  <a:gd name="T31" fmla="*/ 15 h 65"/>
                  <a:gd name="T32" fmla="*/ 24 w 55"/>
                  <a:gd name="T33" fmla="*/ 14 h 6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5" h="65">
                    <a:moveTo>
                      <a:pt x="55" y="32"/>
                    </a:moveTo>
                    <a:lnTo>
                      <a:pt x="48" y="45"/>
                    </a:lnTo>
                    <a:lnTo>
                      <a:pt x="40" y="57"/>
                    </a:lnTo>
                    <a:lnTo>
                      <a:pt x="34" y="65"/>
                    </a:lnTo>
                    <a:lnTo>
                      <a:pt x="15" y="55"/>
                    </a:lnTo>
                    <a:lnTo>
                      <a:pt x="18" y="52"/>
                    </a:lnTo>
                    <a:lnTo>
                      <a:pt x="14" y="48"/>
                    </a:lnTo>
                    <a:lnTo>
                      <a:pt x="3" y="34"/>
                    </a:lnTo>
                    <a:lnTo>
                      <a:pt x="9" y="30"/>
                    </a:lnTo>
                    <a:lnTo>
                      <a:pt x="1" y="29"/>
                    </a:lnTo>
                    <a:lnTo>
                      <a:pt x="7" y="24"/>
                    </a:lnTo>
                    <a:lnTo>
                      <a:pt x="0" y="20"/>
                    </a:lnTo>
                    <a:lnTo>
                      <a:pt x="14" y="5"/>
                    </a:lnTo>
                    <a:lnTo>
                      <a:pt x="40" y="0"/>
                    </a:lnTo>
                    <a:lnTo>
                      <a:pt x="51" y="20"/>
                    </a:lnTo>
                    <a:lnTo>
                      <a:pt x="49" y="34"/>
                    </a:lnTo>
                    <a:lnTo>
                      <a:pt x="55" y="3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45" name="Freeform 175">
                <a:extLst>
                  <a:ext uri="{FF2B5EF4-FFF2-40B4-BE49-F238E27FC236}">
                    <a16:creationId xmlns:a16="http://schemas.microsoft.com/office/drawing/2014/main" id="{4C06E8F0-713F-781F-80EC-B7D33D8036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77" y="3544"/>
                <a:ext cx="14" cy="45"/>
              </a:xfrm>
              <a:custGeom>
                <a:avLst/>
                <a:gdLst>
                  <a:gd name="T0" fmla="*/ 6 w 31"/>
                  <a:gd name="T1" fmla="*/ 1 h 104"/>
                  <a:gd name="T2" fmla="*/ 0 w 31"/>
                  <a:gd name="T3" fmla="*/ 0 h 104"/>
                  <a:gd name="T4" fmla="*/ 2 w 31"/>
                  <a:gd name="T5" fmla="*/ 3 h 104"/>
                  <a:gd name="T6" fmla="*/ 5 w 31"/>
                  <a:gd name="T7" fmla="*/ 11 h 104"/>
                  <a:gd name="T8" fmla="*/ 5 w 31"/>
                  <a:gd name="T9" fmla="*/ 15 h 104"/>
                  <a:gd name="T10" fmla="*/ 5 w 31"/>
                  <a:gd name="T11" fmla="*/ 21 h 104"/>
                  <a:gd name="T12" fmla="*/ 6 w 31"/>
                  <a:gd name="T13" fmla="*/ 26 h 104"/>
                  <a:gd name="T14" fmla="*/ 6 w 31"/>
                  <a:gd name="T15" fmla="*/ 33 h 104"/>
                  <a:gd name="T16" fmla="*/ 6 w 31"/>
                  <a:gd name="T17" fmla="*/ 41 h 104"/>
                  <a:gd name="T18" fmla="*/ 11 w 31"/>
                  <a:gd name="T19" fmla="*/ 45 h 104"/>
                  <a:gd name="T20" fmla="*/ 14 w 31"/>
                  <a:gd name="T21" fmla="*/ 44 h 104"/>
                  <a:gd name="T22" fmla="*/ 14 w 31"/>
                  <a:gd name="T23" fmla="*/ 38 h 104"/>
                  <a:gd name="T24" fmla="*/ 14 w 31"/>
                  <a:gd name="T25" fmla="*/ 31 h 104"/>
                  <a:gd name="T26" fmla="*/ 14 w 31"/>
                  <a:gd name="T27" fmla="*/ 24 h 104"/>
                  <a:gd name="T28" fmla="*/ 14 w 31"/>
                  <a:gd name="T29" fmla="*/ 18 h 104"/>
                  <a:gd name="T30" fmla="*/ 12 w 31"/>
                  <a:gd name="T31" fmla="*/ 10 h 104"/>
                  <a:gd name="T32" fmla="*/ 7 w 31"/>
                  <a:gd name="T33" fmla="*/ 5 h 104"/>
                  <a:gd name="T34" fmla="*/ 9 w 31"/>
                  <a:gd name="T35" fmla="*/ 1 h 104"/>
                  <a:gd name="T36" fmla="*/ 6 w 31"/>
                  <a:gd name="T37" fmla="*/ 1 h 10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1" h="104">
                    <a:moveTo>
                      <a:pt x="14" y="3"/>
                    </a:moveTo>
                    <a:lnTo>
                      <a:pt x="0" y="0"/>
                    </a:lnTo>
                    <a:lnTo>
                      <a:pt x="4" y="8"/>
                    </a:lnTo>
                    <a:lnTo>
                      <a:pt x="10" y="26"/>
                    </a:lnTo>
                    <a:lnTo>
                      <a:pt x="10" y="34"/>
                    </a:lnTo>
                    <a:lnTo>
                      <a:pt x="11" y="49"/>
                    </a:lnTo>
                    <a:lnTo>
                      <a:pt x="14" y="61"/>
                    </a:lnTo>
                    <a:lnTo>
                      <a:pt x="14" y="77"/>
                    </a:lnTo>
                    <a:lnTo>
                      <a:pt x="14" y="94"/>
                    </a:lnTo>
                    <a:lnTo>
                      <a:pt x="24" y="104"/>
                    </a:lnTo>
                    <a:lnTo>
                      <a:pt x="31" y="102"/>
                    </a:lnTo>
                    <a:lnTo>
                      <a:pt x="31" y="87"/>
                    </a:lnTo>
                    <a:lnTo>
                      <a:pt x="31" y="71"/>
                    </a:lnTo>
                    <a:lnTo>
                      <a:pt x="30" y="56"/>
                    </a:lnTo>
                    <a:lnTo>
                      <a:pt x="30" y="41"/>
                    </a:lnTo>
                    <a:lnTo>
                      <a:pt x="27" y="23"/>
                    </a:lnTo>
                    <a:lnTo>
                      <a:pt x="16" y="11"/>
                    </a:lnTo>
                    <a:lnTo>
                      <a:pt x="19" y="3"/>
                    </a:lnTo>
                    <a:lnTo>
                      <a:pt x="14" y="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46" name="Freeform 176">
                <a:extLst>
                  <a:ext uri="{FF2B5EF4-FFF2-40B4-BE49-F238E27FC236}">
                    <a16:creationId xmlns:a16="http://schemas.microsoft.com/office/drawing/2014/main" id="{E6719E48-6104-4A03-F597-3E9BBE6865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11" y="3312"/>
                <a:ext cx="161" cy="160"/>
              </a:xfrm>
              <a:custGeom>
                <a:avLst/>
                <a:gdLst>
                  <a:gd name="T0" fmla="*/ 0 w 362"/>
                  <a:gd name="T1" fmla="*/ 83 h 366"/>
                  <a:gd name="T2" fmla="*/ 7 w 362"/>
                  <a:gd name="T3" fmla="*/ 93 h 366"/>
                  <a:gd name="T4" fmla="*/ 22 w 362"/>
                  <a:gd name="T5" fmla="*/ 103 h 366"/>
                  <a:gd name="T6" fmla="*/ 35 w 362"/>
                  <a:gd name="T7" fmla="*/ 112 h 366"/>
                  <a:gd name="T8" fmla="*/ 47 w 362"/>
                  <a:gd name="T9" fmla="*/ 121 h 366"/>
                  <a:gd name="T10" fmla="*/ 58 w 362"/>
                  <a:gd name="T11" fmla="*/ 129 h 366"/>
                  <a:gd name="T12" fmla="*/ 70 w 362"/>
                  <a:gd name="T13" fmla="*/ 139 h 366"/>
                  <a:gd name="T14" fmla="*/ 76 w 362"/>
                  <a:gd name="T15" fmla="*/ 146 h 366"/>
                  <a:gd name="T16" fmla="*/ 92 w 362"/>
                  <a:gd name="T17" fmla="*/ 153 h 366"/>
                  <a:gd name="T18" fmla="*/ 101 w 362"/>
                  <a:gd name="T19" fmla="*/ 160 h 366"/>
                  <a:gd name="T20" fmla="*/ 113 w 362"/>
                  <a:gd name="T21" fmla="*/ 158 h 366"/>
                  <a:gd name="T22" fmla="*/ 126 w 362"/>
                  <a:gd name="T23" fmla="*/ 145 h 366"/>
                  <a:gd name="T24" fmla="*/ 144 w 362"/>
                  <a:gd name="T25" fmla="*/ 133 h 366"/>
                  <a:gd name="T26" fmla="*/ 161 w 362"/>
                  <a:gd name="T27" fmla="*/ 121 h 366"/>
                  <a:gd name="T28" fmla="*/ 149 w 362"/>
                  <a:gd name="T29" fmla="*/ 112 h 366"/>
                  <a:gd name="T30" fmla="*/ 141 w 362"/>
                  <a:gd name="T31" fmla="*/ 98 h 366"/>
                  <a:gd name="T32" fmla="*/ 144 w 362"/>
                  <a:gd name="T33" fmla="*/ 83 h 366"/>
                  <a:gd name="T34" fmla="*/ 141 w 362"/>
                  <a:gd name="T35" fmla="*/ 63 h 366"/>
                  <a:gd name="T36" fmla="*/ 138 w 362"/>
                  <a:gd name="T37" fmla="*/ 52 h 366"/>
                  <a:gd name="T38" fmla="*/ 131 w 362"/>
                  <a:gd name="T39" fmla="*/ 37 h 366"/>
                  <a:gd name="T40" fmla="*/ 127 w 362"/>
                  <a:gd name="T41" fmla="*/ 22 h 366"/>
                  <a:gd name="T42" fmla="*/ 130 w 362"/>
                  <a:gd name="T43" fmla="*/ 3 h 366"/>
                  <a:gd name="T44" fmla="*/ 120 w 362"/>
                  <a:gd name="T45" fmla="*/ 0 h 366"/>
                  <a:gd name="T46" fmla="*/ 105 w 362"/>
                  <a:gd name="T47" fmla="*/ 2 h 366"/>
                  <a:gd name="T48" fmla="*/ 89 w 362"/>
                  <a:gd name="T49" fmla="*/ 2 h 366"/>
                  <a:gd name="T50" fmla="*/ 69 w 362"/>
                  <a:gd name="T51" fmla="*/ 7 h 366"/>
                  <a:gd name="T52" fmla="*/ 57 w 362"/>
                  <a:gd name="T53" fmla="*/ 13 h 366"/>
                  <a:gd name="T54" fmla="*/ 52 w 362"/>
                  <a:gd name="T55" fmla="*/ 19 h 366"/>
                  <a:gd name="T56" fmla="*/ 54 w 362"/>
                  <a:gd name="T57" fmla="*/ 32 h 366"/>
                  <a:gd name="T58" fmla="*/ 57 w 362"/>
                  <a:gd name="T59" fmla="*/ 43 h 366"/>
                  <a:gd name="T60" fmla="*/ 39 w 362"/>
                  <a:gd name="T61" fmla="*/ 47 h 366"/>
                  <a:gd name="T62" fmla="*/ 34 w 362"/>
                  <a:gd name="T63" fmla="*/ 56 h 366"/>
                  <a:gd name="T64" fmla="*/ 21 w 362"/>
                  <a:gd name="T65" fmla="*/ 63 h 366"/>
                  <a:gd name="T66" fmla="*/ 8 w 362"/>
                  <a:gd name="T67" fmla="*/ 70 h 3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62" h="366">
                    <a:moveTo>
                      <a:pt x="5" y="167"/>
                    </a:moveTo>
                    <a:lnTo>
                      <a:pt x="0" y="191"/>
                    </a:lnTo>
                    <a:lnTo>
                      <a:pt x="0" y="199"/>
                    </a:lnTo>
                    <a:lnTo>
                      <a:pt x="15" y="212"/>
                    </a:lnTo>
                    <a:lnTo>
                      <a:pt x="32" y="224"/>
                    </a:lnTo>
                    <a:lnTo>
                      <a:pt x="49" y="235"/>
                    </a:lnTo>
                    <a:lnTo>
                      <a:pt x="65" y="247"/>
                    </a:lnTo>
                    <a:lnTo>
                      <a:pt x="79" y="257"/>
                    </a:lnTo>
                    <a:lnTo>
                      <a:pt x="93" y="267"/>
                    </a:lnTo>
                    <a:lnTo>
                      <a:pt x="105" y="277"/>
                    </a:lnTo>
                    <a:lnTo>
                      <a:pt x="119" y="287"/>
                    </a:lnTo>
                    <a:lnTo>
                      <a:pt x="131" y="295"/>
                    </a:lnTo>
                    <a:lnTo>
                      <a:pt x="145" y="308"/>
                    </a:lnTo>
                    <a:lnTo>
                      <a:pt x="158" y="317"/>
                    </a:lnTo>
                    <a:lnTo>
                      <a:pt x="172" y="327"/>
                    </a:lnTo>
                    <a:lnTo>
                      <a:pt x="172" y="333"/>
                    </a:lnTo>
                    <a:lnTo>
                      <a:pt x="181" y="342"/>
                    </a:lnTo>
                    <a:lnTo>
                      <a:pt x="206" y="351"/>
                    </a:lnTo>
                    <a:lnTo>
                      <a:pt x="206" y="366"/>
                    </a:lnTo>
                    <a:lnTo>
                      <a:pt x="226" y="366"/>
                    </a:lnTo>
                    <a:lnTo>
                      <a:pt x="240" y="365"/>
                    </a:lnTo>
                    <a:lnTo>
                      <a:pt x="254" y="361"/>
                    </a:lnTo>
                    <a:lnTo>
                      <a:pt x="269" y="347"/>
                    </a:lnTo>
                    <a:lnTo>
                      <a:pt x="283" y="332"/>
                    </a:lnTo>
                    <a:lnTo>
                      <a:pt x="303" y="318"/>
                    </a:lnTo>
                    <a:lnTo>
                      <a:pt x="323" y="305"/>
                    </a:lnTo>
                    <a:lnTo>
                      <a:pt x="343" y="290"/>
                    </a:lnTo>
                    <a:lnTo>
                      <a:pt x="362" y="277"/>
                    </a:lnTo>
                    <a:lnTo>
                      <a:pt x="354" y="262"/>
                    </a:lnTo>
                    <a:lnTo>
                      <a:pt x="334" y="257"/>
                    </a:lnTo>
                    <a:lnTo>
                      <a:pt x="326" y="239"/>
                    </a:lnTo>
                    <a:lnTo>
                      <a:pt x="316" y="224"/>
                    </a:lnTo>
                    <a:lnTo>
                      <a:pt x="323" y="216"/>
                    </a:lnTo>
                    <a:lnTo>
                      <a:pt x="323" y="191"/>
                    </a:lnTo>
                    <a:lnTo>
                      <a:pt x="323" y="167"/>
                    </a:lnTo>
                    <a:lnTo>
                      <a:pt x="316" y="144"/>
                    </a:lnTo>
                    <a:lnTo>
                      <a:pt x="316" y="138"/>
                    </a:lnTo>
                    <a:lnTo>
                      <a:pt x="311" y="119"/>
                    </a:lnTo>
                    <a:lnTo>
                      <a:pt x="306" y="100"/>
                    </a:lnTo>
                    <a:lnTo>
                      <a:pt x="294" y="85"/>
                    </a:lnTo>
                    <a:lnTo>
                      <a:pt x="280" y="65"/>
                    </a:lnTo>
                    <a:lnTo>
                      <a:pt x="286" y="50"/>
                    </a:lnTo>
                    <a:lnTo>
                      <a:pt x="295" y="35"/>
                    </a:lnTo>
                    <a:lnTo>
                      <a:pt x="292" y="7"/>
                    </a:lnTo>
                    <a:lnTo>
                      <a:pt x="297" y="2"/>
                    </a:lnTo>
                    <a:lnTo>
                      <a:pt x="269" y="0"/>
                    </a:lnTo>
                    <a:lnTo>
                      <a:pt x="257" y="0"/>
                    </a:lnTo>
                    <a:lnTo>
                      <a:pt x="237" y="5"/>
                    </a:lnTo>
                    <a:lnTo>
                      <a:pt x="218" y="5"/>
                    </a:lnTo>
                    <a:lnTo>
                      <a:pt x="200" y="5"/>
                    </a:lnTo>
                    <a:lnTo>
                      <a:pt x="176" y="10"/>
                    </a:lnTo>
                    <a:lnTo>
                      <a:pt x="155" y="17"/>
                    </a:lnTo>
                    <a:lnTo>
                      <a:pt x="145" y="22"/>
                    </a:lnTo>
                    <a:lnTo>
                      <a:pt x="128" y="30"/>
                    </a:lnTo>
                    <a:lnTo>
                      <a:pt x="113" y="38"/>
                    </a:lnTo>
                    <a:lnTo>
                      <a:pt x="118" y="43"/>
                    </a:lnTo>
                    <a:lnTo>
                      <a:pt x="119" y="58"/>
                    </a:lnTo>
                    <a:lnTo>
                      <a:pt x="122" y="73"/>
                    </a:lnTo>
                    <a:lnTo>
                      <a:pt x="133" y="91"/>
                    </a:lnTo>
                    <a:lnTo>
                      <a:pt x="128" y="98"/>
                    </a:lnTo>
                    <a:lnTo>
                      <a:pt x="111" y="98"/>
                    </a:lnTo>
                    <a:lnTo>
                      <a:pt x="88" y="108"/>
                    </a:lnTo>
                    <a:lnTo>
                      <a:pt x="88" y="121"/>
                    </a:lnTo>
                    <a:lnTo>
                      <a:pt x="76" y="128"/>
                    </a:lnTo>
                    <a:lnTo>
                      <a:pt x="62" y="138"/>
                    </a:lnTo>
                    <a:lnTo>
                      <a:pt x="48" y="144"/>
                    </a:lnTo>
                    <a:lnTo>
                      <a:pt x="32" y="151"/>
                    </a:lnTo>
                    <a:lnTo>
                      <a:pt x="19" y="159"/>
                    </a:lnTo>
                    <a:lnTo>
                      <a:pt x="5" y="16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47" name="Freeform 177">
                <a:extLst>
                  <a:ext uri="{FF2B5EF4-FFF2-40B4-BE49-F238E27FC236}">
                    <a16:creationId xmlns:a16="http://schemas.microsoft.com/office/drawing/2014/main" id="{C8B5B287-AAB6-3461-C01E-EEABC87E72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51" y="3345"/>
                <a:ext cx="124" cy="124"/>
              </a:xfrm>
              <a:custGeom>
                <a:avLst/>
                <a:gdLst>
                  <a:gd name="T0" fmla="*/ 116 w 280"/>
                  <a:gd name="T1" fmla="*/ 124 h 282"/>
                  <a:gd name="T2" fmla="*/ 116 w 280"/>
                  <a:gd name="T3" fmla="*/ 120 h 282"/>
                  <a:gd name="T4" fmla="*/ 124 w 280"/>
                  <a:gd name="T5" fmla="*/ 120 h 282"/>
                  <a:gd name="T6" fmla="*/ 124 w 280"/>
                  <a:gd name="T7" fmla="*/ 110 h 282"/>
                  <a:gd name="T8" fmla="*/ 123 w 280"/>
                  <a:gd name="T9" fmla="*/ 101 h 282"/>
                  <a:gd name="T10" fmla="*/ 123 w 280"/>
                  <a:gd name="T11" fmla="*/ 93 h 282"/>
                  <a:gd name="T12" fmla="*/ 123 w 280"/>
                  <a:gd name="T13" fmla="*/ 84 h 282"/>
                  <a:gd name="T14" fmla="*/ 122 w 280"/>
                  <a:gd name="T15" fmla="*/ 77 h 282"/>
                  <a:gd name="T16" fmla="*/ 121 w 280"/>
                  <a:gd name="T17" fmla="*/ 67 h 282"/>
                  <a:gd name="T18" fmla="*/ 120 w 280"/>
                  <a:gd name="T19" fmla="*/ 59 h 282"/>
                  <a:gd name="T20" fmla="*/ 120 w 280"/>
                  <a:gd name="T21" fmla="*/ 50 h 282"/>
                  <a:gd name="T22" fmla="*/ 119 w 280"/>
                  <a:gd name="T23" fmla="*/ 42 h 282"/>
                  <a:gd name="T24" fmla="*/ 118 w 280"/>
                  <a:gd name="T25" fmla="*/ 33 h 282"/>
                  <a:gd name="T26" fmla="*/ 118 w 280"/>
                  <a:gd name="T27" fmla="*/ 27 h 282"/>
                  <a:gd name="T28" fmla="*/ 118 w 280"/>
                  <a:gd name="T29" fmla="*/ 20 h 282"/>
                  <a:gd name="T30" fmla="*/ 119 w 280"/>
                  <a:gd name="T31" fmla="*/ 14 h 282"/>
                  <a:gd name="T32" fmla="*/ 115 w 280"/>
                  <a:gd name="T33" fmla="*/ 11 h 282"/>
                  <a:gd name="T34" fmla="*/ 103 w 280"/>
                  <a:gd name="T35" fmla="*/ 8 h 282"/>
                  <a:gd name="T36" fmla="*/ 102 w 280"/>
                  <a:gd name="T37" fmla="*/ 4 h 282"/>
                  <a:gd name="T38" fmla="*/ 92 w 280"/>
                  <a:gd name="T39" fmla="*/ 3 h 282"/>
                  <a:gd name="T40" fmla="*/ 85 w 280"/>
                  <a:gd name="T41" fmla="*/ 6 h 282"/>
                  <a:gd name="T42" fmla="*/ 80 w 280"/>
                  <a:gd name="T43" fmla="*/ 10 h 282"/>
                  <a:gd name="T44" fmla="*/ 81 w 280"/>
                  <a:gd name="T45" fmla="*/ 22 h 282"/>
                  <a:gd name="T46" fmla="*/ 73 w 280"/>
                  <a:gd name="T47" fmla="*/ 27 h 282"/>
                  <a:gd name="T48" fmla="*/ 63 w 280"/>
                  <a:gd name="T49" fmla="*/ 22 h 282"/>
                  <a:gd name="T50" fmla="*/ 55 w 280"/>
                  <a:gd name="T51" fmla="*/ 18 h 282"/>
                  <a:gd name="T52" fmla="*/ 47 w 280"/>
                  <a:gd name="T53" fmla="*/ 15 h 282"/>
                  <a:gd name="T54" fmla="*/ 43 w 280"/>
                  <a:gd name="T55" fmla="*/ 7 h 282"/>
                  <a:gd name="T56" fmla="*/ 35 w 280"/>
                  <a:gd name="T57" fmla="*/ 5 h 282"/>
                  <a:gd name="T58" fmla="*/ 26 w 280"/>
                  <a:gd name="T59" fmla="*/ 3 h 282"/>
                  <a:gd name="T60" fmla="*/ 14 w 280"/>
                  <a:gd name="T61" fmla="*/ 0 h 282"/>
                  <a:gd name="T62" fmla="*/ 14 w 280"/>
                  <a:gd name="T63" fmla="*/ 7 h 282"/>
                  <a:gd name="T64" fmla="*/ 9 w 280"/>
                  <a:gd name="T65" fmla="*/ 12 h 282"/>
                  <a:gd name="T66" fmla="*/ 4 w 280"/>
                  <a:gd name="T67" fmla="*/ 16 h 282"/>
                  <a:gd name="T68" fmla="*/ 4 w 280"/>
                  <a:gd name="T69" fmla="*/ 24 h 282"/>
                  <a:gd name="T70" fmla="*/ 0 w 280"/>
                  <a:gd name="T71" fmla="*/ 27 h 282"/>
                  <a:gd name="T72" fmla="*/ 0 w 280"/>
                  <a:gd name="T73" fmla="*/ 29 h 282"/>
                  <a:gd name="T74" fmla="*/ 3 w 280"/>
                  <a:gd name="T75" fmla="*/ 40 h 282"/>
                  <a:gd name="T76" fmla="*/ 3 w 280"/>
                  <a:gd name="T77" fmla="*/ 50 h 282"/>
                  <a:gd name="T78" fmla="*/ 3 w 280"/>
                  <a:gd name="T79" fmla="*/ 61 h 282"/>
                  <a:gd name="T80" fmla="*/ 0 w 280"/>
                  <a:gd name="T81" fmla="*/ 64 h 282"/>
                  <a:gd name="T82" fmla="*/ 5 w 280"/>
                  <a:gd name="T83" fmla="*/ 71 h 282"/>
                  <a:gd name="T84" fmla="*/ 8 w 280"/>
                  <a:gd name="T85" fmla="*/ 79 h 282"/>
                  <a:gd name="T86" fmla="*/ 17 w 280"/>
                  <a:gd name="T87" fmla="*/ 81 h 282"/>
                  <a:gd name="T88" fmla="*/ 20 w 280"/>
                  <a:gd name="T89" fmla="*/ 88 h 282"/>
                  <a:gd name="T90" fmla="*/ 32 w 280"/>
                  <a:gd name="T91" fmla="*/ 91 h 282"/>
                  <a:gd name="T92" fmla="*/ 38 w 280"/>
                  <a:gd name="T93" fmla="*/ 96 h 282"/>
                  <a:gd name="T94" fmla="*/ 44 w 280"/>
                  <a:gd name="T95" fmla="*/ 93 h 282"/>
                  <a:gd name="T96" fmla="*/ 53 w 280"/>
                  <a:gd name="T97" fmla="*/ 88 h 282"/>
                  <a:gd name="T98" fmla="*/ 60 w 280"/>
                  <a:gd name="T99" fmla="*/ 93 h 282"/>
                  <a:gd name="T100" fmla="*/ 68 w 280"/>
                  <a:gd name="T101" fmla="*/ 97 h 282"/>
                  <a:gd name="T102" fmla="*/ 76 w 280"/>
                  <a:gd name="T103" fmla="*/ 101 h 282"/>
                  <a:gd name="T104" fmla="*/ 84 w 280"/>
                  <a:gd name="T105" fmla="*/ 106 h 282"/>
                  <a:gd name="T106" fmla="*/ 92 w 280"/>
                  <a:gd name="T107" fmla="*/ 110 h 282"/>
                  <a:gd name="T108" fmla="*/ 100 w 280"/>
                  <a:gd name="T109" fmla="*/ 115 h 282"/>
                  <a:gd name="T110" fmla="*/ 108 w 280"/>
                  <a:gd name="T111" fmla="*/ 120 h 282"/>
                  <a:gd name="T112" fmla="*/ 116 w 280"/>
                  <a:gd name="T113" fmla="*/ 124 h 28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80" h="282">
                    <a:moveTo>
                      <a:pt x="263" y="282"/>
                    </a:moveTo>
                    <a:lnTo>
                      <a:pt x="263" y="272"/>
                    </a:lnTo>
                    <a:lnTo>
                      <a:pt x="280" y="272"/>
                    </a:lnTo>
                    <a:lnTo>
                      <a:pt x="280" y="250"/>
                    </a:lnTo>
                    <a:lnTo>
                      <a:pt x="278" y="230"/>
                    </a:lnTo>
                    <a:lnTo>
                      <a:pt x="277" y="212"/>
                    </a:lnTo>
                    <a:lnTo>
                      <a:pt x="277" y="192"/>
                    </a:lnTo>
                    <a:lnTo>
                      <a:pt x="275" y="174"/>
                    </a:lnTo>
                    <a:lnTo>
                      <a:pt x="273" y="152"/>
                    </a:lnTo>
                    <a:lnTo>
                      <a:pt x="272" y="134"/>
                    </a:lnTo>
                    <a:lnTo>
                      <a:pt x="272" y="114"/>
                    </a:lnTo>
                    <a:lnTo>
                      <a:pt x="269" y="96"/>
                    </a:lnTo>
                    <a:lnTo>
                      <a:pt x="267" y="76"/>
                    </a:lnTo>
                    <a:lnTo>
                      <a:pt x="267" y="61"/>
                    </a:lnTo>
                    <a:lnTo>
                      <a:pt x="267" y="45"/>
                    </a:lnTo>
                    <a:lnTo>
                      <a:pt x="269" y="31"/>
                    </a:lnTo>
                    <a:lnTo>
                      <a:pt x="260" y="25"/>
                    </a:lnTo>
                    <a:lnTo>
                      <a:pt x="232" y="18"/>
                    </a:lnTo>
                    <a:lnTo>
                      <a:pt x="230" y="10"/>
                    </a:lnTo>
                    <a:lnTo>
                      <a:pt x="207" y="7"/>
                    </a:lnTo>
                    <a:lnTo>
                      <a:pt x="193" y="13"/>
                    </a:lnTo>
                    <a:lnTo>
                      <a:pt x="181" y="22"/>
                    </a:lnTo>
                    <a:lnTo>
                      <a:pt x="184" y="50"/>
                    </a:lnTo>
                    <a:lnTo>
                      <a:pt x="165" y="61"/>
                    </a:lnTo>
                    <a:lnTo>
                      <a:pt x="143" y="50"/>
                    </a:lnTo>
                    <a:lnTo>
                      <a:pt x="125" y="40"/>
                    </a:lnTo>
                    <a:lnTo>
                      <a:pt x="105" y="35"/>
                    </a:lnTo>
                    <a:lnTo>
                      <a:pt x="96" y="17"/>
                    </a:lnTo>
                    <a:lnTo>
                      <a:pt x="78" y="12"/>
                    </a:lnTo>
                    <a:lnTo>
                      <a:pt x="58" y="7"/>
                    </a:lnTo>
                    <a:lnTo>
                      <a:pt x="32" y="0"/>
                    </a:lnTo>
                    <a:lnTo>
                      <a:pt x="32" y="17"/>
                    </a:lnTo>
                    <a:lnTo>
                      <a:pt x="21" y="27"/>
                    </a:lnTo>
                    <a:lnTo>
                      <a:pt x="9" y="36"/>
                    </a:lnTo>
                    <a:lnTo>
                      <a:pt x="9" y="55"/>
                    </a:lnTo>
                    <a:lnTo>
                      <a:pt x="0" y="61"/>
                    </a:lnTo>
                    <a:lnTo>
                      <a:pt x="0" y="66"/>
                    </a:lnTo>
                    <a:lnTo>
                      <a:pt x="7" y="91"/>
                    </a:lnTo>
                    <a:lnTo>
                      <a:pt x="7" y="114"/>
                    </a:lnTo>
                    <a:lnTo>
                      <a:pt x="7" y="138"/>
                    </a:lnTo>
                    <a:lnTo>
                      <a:pt x="0" y="146"/>
                    </a:lnTo>
                    <a:lnTo>
                      <a:pt x="12" y="162"/>
                    </a:lnTo>
                    <a:lnTo>
                      <a:pt x="18" y="179"/>
                    </a:lnTo>
                    <a:lnTo>
                      <a:pt x="38" y="184"/>
                    </a:lnTo>
                    <a:lnTo>
                      <a:pt x="46" y="199"/>
                    </a:lnTo>
                    <a:lnTo>
                      <a:pt x="72" y="206"/>
                    </a:lnTo>
                    <a:lnTo>
                      <a:pt x="86" y="219"/>
                    </a:lnTo>
                    <a:lnTo>
                      <a:pt x="100" y="211"/>
                    </a:lnTo>
                    <a:lnTo>
                      <a:pt x="119" y="199"/>
                    </a:lnTo>
                    <a:lnTo>
                      <a:pt x="136" y="211"/>
                    </a:lnTo>
                    <a:lnTo>
                      <a:pt x="153" y="220"/>
                    </a:lnTo>
                    <a:lnTo>
                      <a:pt x="171" y="230"/>
                    </a:lnTo>
                    <a:lnTo>
                      <a:pt x="190" y="240"/>
                    </a:lnTo>
                    <a:lnTo>
                      <a:pt x="207" y="250"/>
                    </a:lnTo>
                    <a:lnTo>
                      <a:pt x="225" y="262"/>
                    </a:lnTo>
                    <a:lnTo>
                      <a:pt x="244" y="272"/>
                    </a:lnTo>
                    <a:lnTo>
                      <a:pt x="263" y="28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48" name="Freeform 178">
                <a:extLst>
                  <a:ext uri="{FF2B5EF4-FFF2-40B4-BE49-F238E27FC236}">
                    <a16:creationId xmlns:a16="http://schemas.microsoft.com/office/drawing/2014/main" id="{37C27279-2848-A5EF-5442-5075614ABFA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80" y="3419"/>
                <a:ext cx="132" cy="133"/>
              </a:xfrm>
              <a:custGeom>
                <a:avLst/>
                <a:gdLst>
                  <a:gd name="T0" fmla="*/ 29 w 297"/>
                  <a:gd name="T1" fmla="*/ 125 h 303"/>
                  <a:gd name="T2" fmla="*/ 35 w 297"/>
                  <a:gd name="T3" fmla="*/ 133 h 303"/>
                  <a:gd name="T4" fmla="*/ 41 w 297"/>
                  <a:gd name="T5" fmla="*/ 133 h 303"/>
                  <a:gd name="T6" fmla="*/ 48 w 297"/>
                  <a:gd name="T7" fmla="*/ 129 h 303"/>
                  <a:gd name="T8" fmla="*/ 54 w 297"/>
                  <a:gd name="T9" fmla="*/ 131 h 303"/>
                  <a:gd name="T10" fmla="*/ 59 w 297"/>
                  <a:gd name="T11" fmla="*/ 117 h 303"/>
                  <a:gd name="T12" fmla="*/ 65 w 297"/>
                  <a:gd name="T13" fmla="*/ 109 h 303"/>
                  <a:gd name="T14" fmla="*/ 71 w 297"/>
                  <a:gd name="T15" fmla="*/ 106 h 303"/>
                  <a:gd name="T16" fmla="*/ 74 w 297"/>
                  <a:gd name="T17" fmla="*/ 102 h 303"/>
                  <a:gd name="T18" fmla="*/ 81 w 297"/>
                  <a:gd name="T19" fmla="*/ 97 h 303"/>
                  <a:gd name="T20" fmla="*/ 93 w 297"/>
                  <a:gd name="T21" fmla="*/ 90 h 303"/>
                  <a:gd name="T22" fmla="*/ 101 w 297"/>
                  <a:gd name="T23" fmla="*/ 90 h 303"/>
                  <a:gd name="T24" fmla="*/ 118 w 297"/>
                  <a:gd name="T25" fmla="*/ 87 h 303"/>
                  <a:gd name="T26" fmla="*/ 131 w 297"/>
                  <a:gd name="T27" fmla="*/ 79 h 303"/>
                  <a:gd name="T28" fmla="*/ 132 w 297"/>
                  <a:gd name="T29" fmla="*/ 65 h 303"/>
                  <a:gd name="T30" fmla="*/ 132 w 297"/>
                  <a:gd name="T31" fmla="*/ 52 h 303"/>
                  <a:gd name="T32" fmla="*/ 123 w 297"/>
                  <a:gd name="T33" fmla="*/ 46 h 303"/>
                  <a:gd name="T34" fmla="*/ 108 w 297"/>
                  <a:gd name="T35" fmla="*/ 38 h 303"/>
                  <a:gd name="T36" fmla="*/ 101 w 297"/>
                  <a:gd name="T37" fmla="*/ 31 h 303"/>
                  <a:gd name="T38" fmla="*/ 89 w 297"/>
                  <a:gd name="T39" fmla="*/ 21 h 303"/>
                  <a:gd name="T40" fmla="*/ 79 w 297"/>
                  <a:gd name="T41" fmla="*/ 13 h 303"/>
                  <a:gd name="T42" fmla="*/ 66 w 297"/>
                  <a:gd name="T43" fmla="*/ 4 h 303"/>
                  <a:gd name="T44" fmla="*/ 54 w 297"/>
                  <a:gd name="T45" fmla="*/ 0 h 303"/>
                  <a:gd name="T46" fmla="*/ 48 w 297"/>
                  <a:gd name="T47" fmla="*/ 10 h 303"/>
                  <a:gd name="T48" fmla="*/ 50 w 297"/>
                  <a:gd name="T49" fmla="*/ 29 h 303"/>
                  <a:gd name="T50" fmla="*/ 51 w 297"/>
                  <a:gd name="T51" fmla="*/ 47 h 303"/>
                  <a:gd name="T52" fmla="*/ 53 w 297"/>
                  <a:gd name="T53" fmla="*/ 67 h 303"/>
                  <a:gd name="T54" fmla="*/ 56 w 297"/>
                  <a:gd name="T55" fmla="*/ 78 h 303"/>
                  <a:gd name="T56" fmla="*/ 47 w 297"/>
                  <a:gd name="T57" fmla="*/ 86 h 303"/>
                  <a:gd name="T58" fmla="*/ 31 w 297"/>
                  <a:gd name="T59" fmla="*/ 86 h 303"/>
                  <a:gd name="T60" fmla="*/ 23 w 297"/>
                  <a:gd name="T61" fmla="*/ 84 h 303"/>
                  <a:gd name="T62" fmla="*/ 11 w 297"/>
                  <a:gd name="T63" fmla="*/ 88 h 303"/>
                  <a:gd name="T64" fmla="*/ 2 w 297"/>
                  <a:gd name="T65" fmla="*/ 93 h 303"/>
                  <a:gd name="T66" fmla="*/ 2 w 297"/>
                  <a:gd name="T67" fmla="*/ 101 h 303"/>
                  <a:gd name="T68" fmla="*/ 7 w 297"/>
                  <a:gd name="T69" fmla="*/ 114 h 303"/>
                  <a:gd name="T70" fmla="*/ 11 w 297"/>
                  <a:gd name="T71" fmla="*/ 116 h 303"/>
                  <a:gd name="T72" fmla="*/ 19 w 297"/>
                  <a:gd name="T73" fmla="*/ 116 h 303"/>
                  <a:gd name="T74" fmla="*/ 25 w 297"/>
                  <a:gd name="T75" fmla="*/ 113 h 303"/>
                  <a:gd name="T76" fmla="*/ 30 w 297"/>
                  <a:gd name="T77" fmla="*/ 122 h 30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297" h="303">
                    <a:moveTo>
                      <a:pt x="68" y="279"/>
                    </a:moveTo>
                    <a:lnTo>
                      <a:pt x="65" y="285"/>
                    </a:lnTo>
                    <a:lnTo>
                      <a:pt x="68" y="285"/>
                    </a:lnTo>
                    <a:lnTo>
                      <a:pt x="78" y="303"/>
                    </a:lnTo>
                    <a:lnTo>
                      <a:pt x="81" y="302"/>
                    </a:lnTo>
                    <a:lnTo>
                      <a:pt x="92" y="303"/>
                    </a:lnTo>
                    <a:lnTo>
                      <a:pt x="101" y="298"/>
                    </a:lnTo>
                    <a:lnTo>
                      <a:pt x="107" y="293"/>
                    </a:lnTo>
                    <a:lnTo>
                      <a:pt x="109" y="302"/>
                    </a:lnTo>
                    <a:lnTo>
                      <a:pt x="121" y="298"/>
                    </a:lnTo>
                    <a:lnTo>
                      <a:pt x="126" y="272"/>
                    </a:lnTo>
                    <a:lnTo>
                      <a:pt x="132" y="267"/>
                    </a:lnTo>
                    <a:lnTo>
                      <a:pt x="141" y="259"/>
                    </a:lnTo>
                    <a:lnTo>
                      <a:pt x="146" y="249"/>
                    </a:lnTo>
                    <a:lnTo>
                      <a:pt x="149" y="237"/>
                    </a:lnTo>
                    <a:lnTo>
                      <a:pt x="160" y="242"/>
                    </a:lnTo>
                    <a:lnTo>
                      <a:pt x="163" y="234"/>
                    </a:lnTo>
                    <a:lnTo>
                      <a:pt x="166" y="232"/>
                    </a:lnTo>
                    <a:lnTo>
                      <a:pt x="172" y="222"/>
                    </a:lnTo>
                    <a:lnTo>
                      <a:pt x="183" y="222"/>
                    </a:lnTo>
                    <a:lnTo>
                      <a:pt x="186" y="214"/>
                    </a:lnTo>
                    <a:lnTo>
                      <a:pt x="209" y="204"/>
                    </a:lnTo>
                    <a:lnTo>
                      <a:pt x="225" y="204"/>
                    </a:lnTo>
                    <a:lnTo>
                      <a:pt x="228" y="206"/>
                    </a:lnTo>
                    <a:lnTo>
                      <a:pt x="245" y="199"/>
                    </a:lnTo>
                    <a:lnTo>
                      <a:pt x="265" y="199"/>
                    </a:lnTo>
                    <a:lnTo>
                      <a:pt x="285" y="197"/>
                    </a:lnTo>
                    <a:lnTo>
                      <a:pt x="294" y="181"/>
                    </a:lnTo>
                    <a:lnTo>
                      <a:pt x="294" y="164"/>
                    </a:lnTo>
                    <a:lnTo>
                      <a:pt x="296" y="149"/>
                    </a:lnTo>
                    <a:lnTo>
                      <a:pt x="296" y="134"/>
                    </a:lnTo>
                    <a:lnTo>
                      <a:pt x="297" y="119"/>
                    </a:lnTo>
                    <a:lnTo>
                      <a:pt x="276" y="119"/>
                    </a:lnTo>
                    <a:lnTo>
                      <a:pt x="276" y="104"/>
                    </a:lnTo>
                    <a:lnTo>
                      <a:pt x="251" y="93"/>
                    </a:lnTo>
                    <a:lnTo>
                      <a:pt x="242" y="86"/>
                    </a:lnTo>
                    <a:lnTo>
                      <a:pt x="242" y="80"/>
                    </a:lnTo>
                    <a:lnTo>
                      <a:pt x="228" y="70"/>
                    </a:lnTo>
                    <a:lnTo>
                      <a:pt x="215" y="60"/>
                    </a:lnTo>
                    <a:lnTo>
                      <a:pt x="201" y="48"/>
                    </a:lnTo>
                    <a:lnTo>
                      <a:pt x="189" y="40"/>
                    </a:lnTo>
                    <a:lnTo>
                      <a:pt x="177" y="30"/>
                    </a:lnTo>
                    <a:lnTo>
                      <a:pt x="163" y="20"/>
                    </a:lnTo>
                    <a:lnTo>
                      <a:pt x="149" y="10"/>
                    </a:lnTo>
                    <a:lnTo>
                      <a:pt x="135" y="0"/>
                    </a:lnTo>
                    <a:lnTo>
                      <a:pt x="121" y="0"/>
                    </a:lnTo>
                    <a:lnTo>
                      <a:pt x="106" y="0"/>
                    </a:lnTo>
                    <a:lnTo>
                      <a:pt x="107" y="22"/>
                    </a:lnTo>
                    <a:lnTo>
                      <a:pt x="109" y="43"/>
                    </a:lnTo>
                    <a:lnTo>
                      <a:pt x="112" y="66"/>
                    </a:lnTo>
                    <a:lnTo>
                      <a:pt x="112" y="86"/>
                    </a:lnTo>
                    <a:lnTo>
                      <a:pt x="115" y="108"/>
                    </a:lnTo>
                    <a:lnTo>
                      <a:pt x="116" y="131"/>
                    </a:lnTo>
                    <a:lnTo>
                      <a:pt x="119" y="153"/>
                    </a:lnTo>
                    <a:lnTo>
                      <a:pt x="121" y="174"/>
                    </a:lnTo>
                    <a:lnTo>
                      <a:pt x="126" y="177"/>
                    </a:lnTo>
                    <a:lnTo>
                      <a:pt x="121" y="196"/>
                    </a:lnTo>
                    <a:lnTo>
                      <a:pt x="106" y="196"/>
                    </a:lnTo>
                    <a:lnTo>
                      <a:pt x="87" y="196"/>
                    </a:lnTo>
                    <a:lnTo>
                      <a:pt x="70" y="196"/>
                    </a:lnTo>
                    <a:lnTo>
                      <a:pt x="53" y="196"/>
                    </a:lnTo>
                    <a:lnTo>
                      <a:pt x="51" y="192"/>
                    </a:lnTo>
                    <a:lnTo>
                      <a:pt x="27" y="199"/>
                    </a:lnTo>
                    <a:lnTo>
                      <a:pt x="24" y="201"/>
                    </a:lnTo>
                    <a:lnTo>
                      <a:pt x="13" y="194"/>
                    </a:lnTo>
                    <a:lnTo>
                      <a:pt x="5" y="211"/>
                    </a:lnTo>
                    <a:lnTo>
                      <a:pt x="0" y="211"/>
                    </a:lnTo>
                    <a:lnTo>
                      <a:pt x="5" y="230"/>
                    </a:lnTo>
                    <a:lnTo>
                      <a:pt x="10" y="237"/>
                    </a:lnTo>
                    <a:lnTo>
                      <a:pt x="16" y="259"/>
                    </a:lnTo>
                    <a:lnTo>
                      <a:pt x="14" y="264"/>
                    </a:lnTo>
                    <a:lnTo>
                      <a:pt x="25" y="264"/>
                    </a:lnTo>
                    <a:lnTo>
                      <a:pt x="30" y="265"/>
                    </a:lnTo>
                    <a:lnTo>
                      <a:pt x="42" y="265"/>
                    </a:lnTo>
                    <a:lnTo>
                      <a:pt x="53" y="260"/>
                    </a:lnTo>
                    <a:lnTo>
                      <a:pt x="56" y="257"/>
                    </a:lnTo>
                    <a:lnTo>
                      <a:pt x="61" y="274"/>
                    </a:lnTo>
                    <a:lnTo>
                      <a:pt x="68" y="27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49" name="Freeform 179">
                <a:extLst>
                  <a:ext uri="{FF2B5EF4-FFF2-40B4-BE49-F238E27FC236}">
                    <a16:creationId xmlns:a16="http://schemas.microsoft.com/office/drawing/2014/main" id="{E2E04E03-BD3A-007E-BE54-3A59FAF1E8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44" y="3400"/>
                <a:ext cx="96" cy="112"/>
              </a:xfrm>
              <a:custGeom>
                <a:avLst/>
                <a:gdLst>
                  <a:gd name="T0" fmla="*/ 5 w 217"/>
                  <a:gd name="T1" fmla="*/ 97 h 257"/>
                  <a:gd name="T2" fmla="*/ 4 w 217"/>
                  <a:gd name="T3" fmla="*/ 100 h 257"/>
                  <a:gd name="T4" fmla="*/ 5 w 217"/>
                  <a:gd name="T5" fmla="*/ 89 h 257"/>
                  <a:gd name="T6" fmla="*/ 8 w 217"/>
                  <a:gd name="T7" fmla="*/ 79 h 257"/>
                  <a:gd name="T8" fmla="*/ 5 w 217"/>
                  <a:gd name="T9" fmla="*/ 71 h 257"/>
                  <a:gd name="T10" fmla="*/ 6 w 217"/>
                  <a:gd name="T11" fmla="*/ 61 h 257"/>
                  <a:gd name="T12" fmla="*/ 0 w 217"/>
                  <a:gd name="T13" fmla="*/ 55 h 257"/>
                  <a:gd name="T14" fmla="*/ 0 w 217"/>
                  <a:gd name="T15" fmla="*/ 58 h 257"/>
                  <a:gd name="T16" fmla="*/ 1 w 217"/>
                  <a:gd name="T17" fmla="*/ 53 h 257"/>
                  <a:gd name="T18" fmla="*/ 8 w 217"/>
                  <a:gd name="T19" fmla="*/ 53 h 257"/>
                  <a:gd name="T20" fmla="*/ 16 w 217"/>
                  <a:gd name="T21" fmla="*/ 53 h 257"/>
                  <a:gd name="T22" fmla="*/ 24 w 217"/>
                  <a:gd name="T23" fmla="*/ 53 h 257"/>
                  <a:gd name="T24" fmla="*/ 31 w 217"/>
                  <a:gd name="T25" fmla="*/ 53 h 257"/>
                  <a:gd name="T26" fmla="*/ 31 w 217"/>
                  <a:gd name="T27" fmla="*/ 45 h 257"/>
                  <a:gd name="T28" fmla="*/ 32 w 217"/>
                  <a:gd name="T29" fmla="*/ 38 h 257"/>
                  <a:gd name="T30" fmla="*/ 41 w 217"/>
                  <a:gd name="T31" fmla="*/ 34 h 257"/>
                  <a:gd name="T32" fmla="*/ 41 w 217"/>
                  <a:gd name="T33" fmla="*/ 22 h 257"/>
                  <a:gd name="T34" fmla="*/ 41 w 217"/>
                  <a:gd name="T35" fmla="*/ 11 h 257"/>
                  <a:gd name="T36" fmla="*/ 47 w 217"/>
                  <a:gd name="T37" fmla="*/ 11 h 257"/>
                  <a:gd name="T38" fmla="*/ 54 w 217"/>
                  <a:gd name="T39" fmla="*/ 11 h 257"/>
                  <a:gd name="T40" fmla="*/ 60 w 217"/>
                  <a:gd name="T41" fmla="*/ 11 h 257"/>
                  <a:gd name="T42" fmla="*/ 66 w 217"/>
                  <a:gd name="T43" fmla="*/ 11 h 257"/>
                  <a:gd name="T44" fmla="*/ 67 w 217"/>
                  <a:gd name="T45" fmla="*/ 0 h 257"/>
                  <a:gd name="T46" fmla="*/ 74 w 217"/>
                  <a:gd name="T47" fmla="*/ 5 h 257"/>
                  <a:gd name="T48" fmla="*/ 81 w 217"/>
                  <a:gd name="T49" fmla="*/ 10 h 257"/>
                  <a:gd name="T50" fmla="*/ 89 w 217"/>
                  <a:gd name="T51" fmla="*/ 15 h 257"/>
                  <a:gd name="T52" fmla="*/ 96 w 217"/>
                  <a:gd name="T53" fmla="*/ 20 h 257"/>
                  <a:gd name="T54" fmla="*/ 89 w 217"/>
                  <a:gd name="T55" fmla="*/ 20 h 257"/>
                  <a:gd name="T56" fmla="*/ 83 w 217"/>
                  <a:gd name="T57" fmla="*/ 20 h 257"/>
                  <a:gd name="T58" fmla="*/ 84 w 217"/>
                  <a:gd name="T59" fmla="*/ 30 h 257"/>
                  <a:gd name="T60" fmla="*/ 84 w 217"/>
                  <a:gd name="T61" fmla="*/ 39 h 257"/>
                  <a:gd name="T62" fmla="*/ 85 w 217"/>
                  <a:gd name="T63" fmla="*/ 49 h 257"/>
                  <a:gd name="T64" fmla="*/ 86 w 217"/>
                  <a:gd name="T65" fmla="*/ 58 h 257"/>
                  <a:gd name="T66" fmla="*/ 87 w 217"/>
                  <a:gd name="T67" fmla="*/ 68 h 257"/>
                  <a:gd name="T68" fmla="*/ 88 w 217"/>
                  <a:gd name="T69" fmla="*/ 77 h 257"/>
                  <a:gd name="T70" fmla="*/ 89 w 217"/>
                  <a:gd name="T71" fmla="*/ 87 h 257"/>
                  <a:gd name="T72" fmla="*/ 89 w 217"/>
                  <a:gd name="T73" fmla="*/ 96 h 257"/>
                  <a:gd name="T74" fmla="*/ 92 w 217"/>
                  <a:gd name="T75" fmla="*/ 97 h 257"/>
                  <a:gd name="T76" fmla="*/ 90 w 217"/>
                  <a:gd name="T77" fmla="*/ 105 h 257"/>
                  <a:gd name="T78" fmla="*/ 83 w 217"/>
                  <a:gd name="T79" fmla="*/ 105 h 257"/>
                  <a:gd name="T80" fmla="*/ 75 w 217"/>
                  <a:gd name="T81" fmla="*/ 105 h 257"/>
                  <a:gd name="T82" fmla="*/ 67 w 217"/>
                  <a:gd name="T83" fmla="*/ 105 h 257"/>
                  <a:gd name="T84" fmla="*/ 60 w 217"/>
                  <a:gd name="T85" fmla="*/ 105 h 257"/>
                  <a:gd name="T86" fmla="*/ 59 w 217"/>
                  <a:gd name="T87" fmla="*/ 104 h 257"/>
                  <a:gd name="T88" fmla="*/ 48 w 217"/>
                  <a:gd name="T89" fmla="*/ 108 h 257"/>
                  <a:gd name="T90" fmla="*/ 47 w 217"/>
                  <a:gd name="T91" fmla="*/ 108 h 257"/>
                  <a:gd name="T92" fmla="*/ 42 w 217"/>
                  <a:gd name="T93" fmla="*/ 105 h 257"/>
                  <a:gd name="T94" fmla="*/ 38 w 217"/>
                  <a:gd name="T95" fmla="*/ 112 h 257"/>
                  <a:gd name="T96" fmla="*/ 36 w 217"/>
                  <a:gd name="T97" fmla="*/ 112 h 257"/>
                  <a:gd name="T98" fmla="*/ 31 w 217"/>
                  <a:gd name="T99" fmla="*/ 105 h 257"/>
                  <a:gd name="T100" fmla="*/ 25 w 217"/>
                  <a:gd name="T101" fmla="*/ 99 h 257"/>
                  <a:gd name="T102" fmla="*/ 18 w 217"/>
                  <a:gd name="T103" fmla="*/ 95 h 257"/>
                  <a:gd name="T104" fmla="*/ 11 w 217"/>
                  <a:gd name="T105" fmla="*/ 96 h 257"/>
                  <a:gd name="T106" fmla="*/ 5 w 217"/>
                  <a:gd name="T107" fmla="*/ 97 h 25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17" h="257">
                    <a:moveTo>
                      <a:pt x="11" y="223"/>
                    </a:moveTo>
                    <a:lnTo>
                      <a:pt x="8" y="230"/>
                    </a:lnTo>
                    <a:lnTo>
                      <a:pt x="11" y="205"/>
                    </a:lnTo>
                    <a:lnTo>
                      <a:pt x="17" y="182"/>
                    </a:lnTo>
                    <a:lnTo>
                      <a:pt x="11" y="162"/>
                    </a:lnTo>
                    <a:lnTo>
                      <a:pt x="13" y="141"/>
                    </a:lnTo>
                    <a:lnTo>
                      <a:pt x="0" y="127"/>
                    </a:lnTo>
                    <a:lnTo>
                      <a:pt x="0" y="132"/>
                    </a:lnTo>
                    <a:lnTo>
                      <a:pt x="2" y="122"/>
                    </a:lnTo>
                    <a:lnTo>
                      <a:pt x="19" y="122"/>
                    </a:lnTo>
                    <a:lnTo>
                      <a:pt x="37" y="122"/>
                    </a:lnTo>
                    <a:lnTo>
                      <a:pt x="54" y="122"/>
                    </a:lnTo>
                    <a:lnTo>
                      <a:pt x="71" y="122"/>
                    </a:lnTo>
                    <a:lnTo>
                      <a:pt x="71" y="104"/>
                    </a:lnTo>
                    <a:lnTo>
                      <a:pt x="73" y="88"/>
                    </a:lnTo>
                    <a:lnTo>
                      <a:pt x="92" y="78"/>
                    </a:lnTo>
                    <a:lnTo>
                      <a:pt x="92" y="51"/>
                    </a:lnTo>
                    <a:lnTo>
                      <a:pt x="92" y="25"/>
                    </a:lnTo>
                    <a:lnTo>
                      <a:pt x="106" y="25"/>
                    </a:lnTo>
                    <a:lnTo>
                      <a:pt x="121" y="25"/>
                    </a:lnTo>
                    <a:lnTo>
                      <a:pt x="136" y="25"/>
                    </a:lnTo>
                    <a:lnTo>
                      <a:pt x="150" y="25"/>
                    </a:lnTo>
                    <a:lnTo>
                      <a:pt x="152" y="0"/>
                    </a:lnTo>
                    <a:lnTo>
                      <a:pt x="167" y="11"/>
                    </a:lnTo>
                    <a:lnTo>
                      <a:pt x="184" y="23"/>
                    </a:lnTo>
                    <a:lnTo>
                      <a:pt x="201" y="34"/>
                    </a:lnTo>
                    <a:lnTo>
                      <a:pt x="217" y="46"/>
                    </a:lnTo>
                    <a:lnTo>
                      <a:pt x="201" y="46"/>
                    </a:lnTo>
                    <a:lnTo>
                      <a:pt x="188" y="46"/>
                    </a:lnTo>
                    <a:lnTo>
                      <a:pt x="189" y="68"/>
                    </a:lnTo>
                    <a:lnTo>
                      <a:pt x="189" y="89"/>
                    </a:lnTo>
                    <a:lnTo>
                      <a:pt x="192" y="112"/>
                    </a:lnTo>
                    <a:lnTo>
                      <a:pt x="194" y="132"/>
                    </a:lnTo>
                    <a:lnTo>
                      <a:pt x="197" y="155"/>
                    </a:lnTo>
                    <a:lnTo>
                      <a:pt x="198" y="177"/>
                    </a:lnTo>
                    <a:lnTo>
                      <a:pt x="201" y="199"/>
                    </a:lnTo>
                    <a:lnTo>
                      <a:pt x="201" y="220"/>
                    </a:lnTo>
                    <a:lnTo>
                      <a:pt x="208" y="223"/>
                    </a:lnTo>
                    <a:lnTo>
                      <a:pt x="203" y="242"/>
                    </a:lnTo>
                    <a:lnTo>
                      <a:pt x="188" y="242"/>
                    </a:lnTo>
                    <a:lnTo>
                      <a:pt x="169" y="242"/>
                    </a:lnTo>
                    <a:lnTo>
                      <a:pt x="152" y="242"/>
                    </a:lnTo>
                    <a:lnTo>
                      <a:pt x="135" y="242"/>
                    </a:lnTo>
                    <a:lnTo>
                      <a:pt x="133" y="238"/>
                    </a:lnTo>
                    <a:lnTo>
                      <a:pt x="109" y="247"/>
                    </a:lnTo>
                    <a:lnTo>
                      <a:pt x="106" y="247"/>
                    </a:lnTo>
                    <a:lnTo>
                      <a:pt x="95" y="240"/>
                    </a:lnTo>
                    <a:lnTo>
                      <a:pt x="87" y="257"/>
                    </a:lnTo>
                    <a:lnTo>
                      <a:pt x="82" y="257"/>
                    </a:lnTo>
                    <a:lnTo>
                      <a:pt x="70" y="242"/>
                    </a:lnTo>
                    <a:lnTo>
                      <a:pt x="56" y="228"/>
                    </a:lnTo>
                    <a:lnTo>
                      <a:pt x="41" y="218"/>
                    </a:lnTo>
                    <a:lnTo>
                      <a:pt x="25" y="220"/>
                    </a:lnTo>
                    <a:lnTo>
                      <a:pt x="11" y="22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50" name="Freeform 180">
                <a:extLst>
                  <a:ext uri="{FF2B5EF4-FFF2-40B4-BE49-F238E27FC236}">
                    <a16:creationId xmlns:a16="http://schemas.microsoft.com/office/drawing/2014/main" id="{A98D4A53-B2C0-87A1-0720-C29DF0D1D0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76" y="3321"/>
                <a:ext cx="95" cy="74"/>
              </a:xfrm>
              <a:custGeom>
                <a:avLst/>
                <a:gdLst>
                  <a:gd name="T0" fmla="*/ 49 w 214"/>
                  <a:gd name="T1" fmla="*/ 18 h 169"/>
                  <a:gd name="T2" fmla="*/ 42 w 214"/>
                  <a:gd name="T3" fmla="*/ 22 h 169"/>
                  <a:gd name="T4" fmla="*/ 35 w 214"/>
                  <a:gd name="T5" fmla="*/ 28 h 169"/>
                  <a:gd name="T6" fmla="*/ 31 w 214"/>
                  <a:gd name="T7" fmla="*/ 34 h 169"/>
                  <a:gd name="T8" fmla="*/ 28 w 214"/>
                  <a:gd name="T9" fmla="*/ 41 h 169"/>
                  <a:gd name="T10" fmla="*/ 28 w 214"/>
                  <a:gd name="T11" fmla="*/ 49 h 169"/>
                  <a:gd name="T12" fmla="*/ 24 w 214"/>
                  <a:gd name="T13" fmla="*/ 56 h 169"/>
                  <a:gd name="T14" fmla="*/ 21 w 214"/>
                  <a:gd name="T15" fmla="*/ 62 h 169"/>
                  <a:gd name="T16" fmla="*/ 15 w 214"/>
                  <a:gd name="T17" fmla="*/ 66 h 169"/>
                  <a:gd name="T18" fmla="*/ 9 w 214"/>
                  <a:gd name="T19" fmla="*/ 70 h 169"/>
                  <a:gd name="T20" fmla="*/ 0 w 214"/>
                  <a:gd name="T21" fmla="*/ 74 h 169"/>
                  <a:gd name="T22" fmla="*/ 9 w 214"/>
                  <a:gd name="T23" fmla="*/ 74 h 169"/>
                  <a:gd name="T24" fmla="*/ 17 w 214"/>
                  <a:gd name="T25" fmla="*/ 74 h 169"/>
                  <a:gd name="T26" fmla="*/ 26 w 214"/>
                  <a:gd name="T27" fmla="*/ 74 h 169"/>
                  <a:gd name="T28" fmla="*/ 35 w 214"/>
                  <a:gd name="T29" fmla="*/ 74 h 169"/>
                  <a:gd name="T30" fmla="*/ 37 w 214"/>
                  <a:gd name="T31" fmla="*/ 63 h 169"/>
                  <a:gd name="T32" fmla="*/ 44 w 214"/>
                  <a:gd name="T33" fmla="*/ 60 h 169"/>
                  <a:gd name="T34" fmla="*/ 50 w 214"/>
                  <a:gd name="T35" fmla="*/ 56 h 169"/>
                  <a:gd name="T36" fmla="*/ 56 w 214"/>
                  <a:gd name="T37" fmla="*/ 53 h 169"/>
                  <a:gd name="T38" fmla="*/ 63 w 214"/>
                  <a:gd name="T39" fmla="*/ 51 h 169"/>
                  <a:gd name="T40" fmla="*/ 69 w 214"/>
                  <a:gd name="T41" fmla="*/ 46 h 169"/>
                  <a:gd name="T42" fmla="*/ 75 w 214"/>
                  <a:gd name="T43" fmla="*/ 43 h 169"/>
                  <a:gd name="T44" fmla="*/ 75 w 214"/>
                  <a:gd name="T45" fmla="*/ 38 h 169"/>
                  <a:gd name="T46" fmla="*/ 85 w 214"/>
                  <a:gd name="T47" fmla="*/ 33 h 169"/>
                  <a:gd name="T48" fmla="*/ 93 w 214"/>
                  <a:gd name="T49" fmla="*/ 33 h 169"/>
                  <a:gd name="T50" fmla="*/ 95 w 214"/>
                  <a:gd name="T51" fmla="*/ 30 h 169"/>
                  <a:gd name="T52" fmla="*/ 90 w 214"/>
                  <a:gd name="T53" fmla="*/ 22 h 169"/>
                  <a:gd name="T54" fmla="*/ 89 w 214"/>
                  <a:gd name="T55" fmla="*/ 16 h 169"/>
                  <a:gd name="T56" fmla="*/ 88 w 214"/>
                  <a:gd name="T57" fmla="*/ 9 h 169"/>
                  <a:gd name="T58" fmla="*/ 85 w 214"/>
                  <a:gd name="T59" fmla="*/ 7 h 169"/>
                  <a:gd name="T60" fmla="*/ 81 w 214"/>
                  <a:gd name="T61" fmla="*/ 6 h 169"/>
                  <a:gd name="T62" fmla="*/ 79 w 214"/>
                  <a:gd name="T63" fmla="*/ 6 h 169"/>
                  <a:gd name="T64" fmla="*/ 65 w 214"/>
                  <a:gd name="T65" fmla="*/ 5 h 169"/>
                  <a:gd name="T66" fmla="*/ 61 w 214"/>
                  <a:gd name="T67" fmla="*/ 0 h 169"/>
                  <a:gd name="T68" fmla="*/ 56 w 214"/>
                  <a:gd name="T69" fmla="*/ 4 h 169"/>
                  <a:gd name="T70" fmla="*/ 53 w 214"/>
                  <a:gd name="T71" fmla="*/ 11 h 169"/>
                  <a:gd name="T72" fmla="*/ 49 w 214"/>
                  <a:gd name="T73" fmla="*/ 18 h 16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214" h="169">
                    <a:moveTo>
                      <a:pt x="110" y="41"/>
                    </a:moveTo>
                    <a:lnTo>
                      <a:pt x="95" y="51"/>
                    </a:lnTo>
                    <a:lnTo>
                      <a:pt x="79" y="63"/>
                    </a:lnTo>
                    <a:lnTo>
                      <a:pt x="70" y="78"/>
                    </a:lnTo>
                    <a:lnTo>
                      <a:pt x="62" y="94"/>
                    </a:lnTo>
                    <a:lnTo>
                      <a:pt x="64" y="112"/>
                    </a:lnTo>
                    <a:lnTo>
                      <a:pt x="55" y="127"/>
                    </a:lnTo>
                    <a:lnTo>
                      <a:pt x="47" y="141"/>
                    </a:lnTo>
                    <a:lnTo>
                      <a:pt x="33" y="150"/>
                    </a:lnTo>
                    <a:lnTo>
                      <a:pt x="21" y="160"/>
                    </a:lnTo>
                    <a:lnTo>
                      <a:pt x="0" y="169"/>
                    </a:lnTo>
                    <a:lnTo>
                      <a:pt x="21" y="169"/>
                    </a:lnTo>
                    <a:lnTo>
                      <a:pt x="39" y="169"/>
                    </a:lnTo>
                    <a:lnTo>
                      <a:pt x="59" y="169"/>
                    </a:lnTo>
                    <a:lnTo>
                      <a:pt x="79" y="169"/>
                    </a:lnTo>
                    <a:lnTo>
                      <a:pt x="84" y="145"/>
                    </a:lnTo>
                    <a:lnTo>
                      <a:pt x="98" y="137"/>
                    </a:lnTo>
                    <a:lnTo>
                      <a:pt x="112" y="129"/>
                    </a:lnTo>
                    <a:lnTo>
                      <a:pt x="127" y="122"/>
                    </a:lnTo>
                    <a:lnTo>
                      <a:pt x="143" y="116"/>
                    </a:lnTo>
                    <a:lnTo>
                      <a:pt x="155" y="106"/>
                    </a:lnTo>
                    <a:lnTo>
                      <a:pt x="168" y="99"/>
                    </a:lnTo>
                    <a:lnTo>
                      <a:pt x="168" y="86"/>
                    </a:lnTo>
                    <a:lnTo>
                      <a:pt x="192" y="76"/>
                    </a:lnTo>
                    <a:lnTo>
                      <a:pt x="209" y="76"/>
                    </a:lnTo>
                    <a:lnTo>
                      <a:pt x="214" y="69"/>
                    </a:lnTo>
                    <a:lnTo>
                      <a:pt x="202" y="51"/>
                    </a:lnTo>
                    <a:lnTo>
                      <a:pt x="200" y="36"/>
                    </a:lnTo>
                    <a:lnTo>
                      <a:pt x="199" y="21"/>
                    </a:lnTo>
                    <a:lnTo>
                      <a:pt x="192" y="16"/>
                    </a:lnTo>
                    <a:lnTo>
                      <a:pt x="182" y="13"/>
                    </a:lnTo>
                    <a:lnTo>
                      <a:pt x="178" y="13"/>
                    </a:lnTo>
                    <a:lnTo>
                      <a:pt x="147" y="11"/>
                    </a:lnTo>
                    <a:lnTo>
                      <a:pt x="138" y="0"/>
                    </a:lnTo>
                    <a:lnTo>
                      <a:pt x="127" y="8"/>
                    </a:lnTo>
                    <a:lnTo>
                      <a:pt x="120" y="24"/>
                    </a:lnTo>
                    <a:lnTo>
                      <a:pt x="110" y="4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51" name="Freeform 181">
                <a:extLst>
                  <a:ext uri="{FF2B5EF4-FFF2-40B4-BE49-F238E27FC236}">
                    <a16:creationId xmlns:a16="http://schemas.microsoft.com/office/drawing/2014/main" id="{3EFAA5DD-D729-EE9C-4E80-9ADE2AF0C6E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79" y="3433"/>
                <a:ext cx="124" cy="108"/>
              </a:xfrm>
              <a:custGeom>
                <a:avLst/>
                <a:gdLst>
                  <a:gd name="T0" fmla="*/ 14 w 280"/>
                  <a:gd name="T1" fmla="*/ 99 h 245"/>
                  <a:gd name="T2" fmla="*/ 11 w 280"/>
                  <a:gd name="T3" fmla="*/ 99 h 245"/>
                  <a:gd name="T4" fmla="*/ 6 w 280"/>
                  <a:gd name="T5" fmla="*/ 96 h 245"/>
                  <a:gd name="T6" fmla="*/ 6 w 280"/>
                  <a:gd name="T7" fmla="*/ 93 h 245"/>
                  <a:gd name="T8" fmla="*/ 8 w 280"/>
                  <a:gd name="T9" fmla="*/ 92 h 245"/>
                  <a:gd name="T10" fmla="*/ 1 w 280"/>
                  <a:gd name="T11" fmla="*/ 86 h 245"/>
                  <a:gd name="T12" fmla="*/ 0 w 280"/>
                  <a:gd name="T13" fmla="*/ 78 h 245"/>
                  <a:gd name="T14" fmla="*/ 1 w 280"/>
                  <a:gd name="T15" fmla="*/ 78 h 245"/>
                  <a:gd name="T16" fmla="*/ 9 w 280"/>
                  <a:gd name="T17" fmla="*/ 75 h 245"/>
                  <a:gd name="T18" fmla="*/ 17 w 280"/>
                  <a:gd name="T19" fmla="*/ 75 h 245"/>
                  <a:gd name="T20" fmla="*/ 26 w 280"/>
                  <a:gd name="T21" fmla="*/ 74 h 245"/>
                  <a:gd name="T22" fmla="*/ 30 w 280"/>
                  <a:gd name="T23" fmla="*/ 67 h 245"/>
                  <a:gd name="T24" fmla="*/ 30 w 280"/>
                  <a:gd name="T25" fmla="*/ 60 h 245"/>
                  <a:gd name="T26" fmla="*/ 31 w 280"/>
                  <a:gd name="T27" fmla="*/ 53 h 245"/>
                  <a:gd name="T28" fmla="*/ 31 w 280"/>
                  <a:gd name="T29" fmla="*/ 47 h 245"/>
                  <a:gd name="T30" fmla="*/ 31 w 280"/>
                  <a:gd name="T31" fmla="*/ 39 h 245"/>
                  <a:gd name="T32" fmla="*/ 38 w 280"/>
                  <a:gd name="T33" fmla="*/ 39 h 245"/>
                  <a:gd name="T34" fmla="*/ 44 w 280"/>
                  <a:gd name="T35" fmla="*/ 37 h 245"/>
                  <a:gd name="T36" fmla="*/ 50 w 280"/>
                  <a:gd name="T37" fmla="*/ 31 h 245"/>
                  <a:gd name="T38" fmla="*/ 57 w 280"/>
                  <a:gd name="T39" fmla="*/ 24 h 245"/>
                  <a:gd name="T40" fmla="*/ 66 w 280"/>
                  <a:gd name="T41" fmla="*/ 18 h 245"/>
                  <a:gd name="T42" fmla="*/ 74 w 280"/>
                  <a:gd name="T43" fmla="*/ 12 h 245"/>
                  <a:gd name="T44" fmla="*/ 83 w 280"/>
                  <a:gd name="T45" fmla="*/ 6 h 245"/>
                  <a:gd name="T46" fmla="*/ 92 w 280"/>
                  <a:gd name="T47" fmla="*/ 0 h 245"/>
                  <a:gd name="T48" fmla="*/ 103 w 280"/>
                  <a:gd name="T49" fmla="*/ 4 h 245"/>
                  <a:gd name="T50" fmla="*/ 109 w 280"/>
                  <a:gd name="T51" fmla="*/ 9 h 245"/>
                  <a:gd name="T52" fmla="*/ 116 w 280"/>
                  <a:gd name="T53" fmla="*/ 5 h 245"/>
                  <a:gd name="T54" fmla="*/ 116 w 280"/>
                  <a:gd name="T55" fmla="*/ 11 h 245"/>
                  <a:gd name="T56" fmla="*/ 117 w 280"/>
                  <a:gd name="T57" fmla="*/ 18 h 245"/>
                  <a:gd name="T58" fmla="*/ 124 w 280"/>
                  <a:gd name="T59" fmla="*/ 29 h 245"/>
                  <a:gd name="T60" fmla="*/ 122 w 280"/>
                  <a:gd name="T61" fmla="*/ 33 h 245"/>
                  <a:gd name="T62" fmla="*/ 122 w 280"/>
                  <a:gd name="T63" fmla="*/ 39 h 245"/>
                  <a:gd name="T64" fmla="*/ 122 w 280"/>
                  <a:gd name="T65" fmla="*/ 47 h 245"/>
                  <a:gd name="T66" fmla="*/ 121 w 280"/>
                  <a:gd name="T67" fmla="*/ 53 h 245"/>
                  <a:gd name="T68" fmla="*/ 120 w 280"/>
                  <a:gd name="T69" fmla="*/ 60 h 245"/>
                  <a:gd name="T70" fmla="*/ 116 w 280"/>
                  <a:gd name="T71" fmla="*/ 66 h 245"/>
                  <a:gd name="T72" fmla="*/ 114 w 280"/>
                  <a:gd name="T73" fmla="*/ 71 h 245"/>
                  <a:gd name="T74" fmla="*/ 110 w 280"/>
                  <a:gd name="T75" fmla="*/ 78 h 245"/>
                  <a:gd name="T76" fmla="*/ 106 w 280"/>
                  <a:gd name="T77" fmla="*/ 82 h 245"/>
                  <a:gd name="T78" fmla="*/ 106 w 280"/>
                  <a:gd name="T79" fmla="*/ 89 h 245"/>
                  <a:gd name="T80" fmla="*/ 97 w 280"/>
                  <a:gd name="T81" fmla="*/ 94 h 245"/>
                  <a:gd name="T82" fmla="*/ 89 w 280"/>
                  <a:gd name="T83" fmla="*/ 94 h 245"/>
                  <a:gd name="T84" fmla="*/ 81 w 280"/>
                  <a:gd name="T85" fmla="*/ 93 h 245"/>
                  <a:gd name="T86" fmla="*/ 73 w 280"/>
                  <a:gd name="T87" fmla="*/ 98 h 245"/>
                  <a:gd name="T88" fmla="*/ 66 w 280"/>
                  <a:gd name="T89" fmla="*/ 96 h 245"/>
                  <a:gd name="T90" fmla="*/ 60 w 280"/>
                  <a:gd name="T91" fmla="*/ 93 h 245"/>
                  <a:gd name="T92" fmla="*/ 52 w 280"/>
                  <a:gd name="T93" fmla="*/ 96 h 245"/>
                  <a:gd name="T94" fmla="*/ 47 w 280"/>
                  <a:gd name="T95" fmla="*/ 90 h 245"/>
                  <a:gd name="T96" fmla="*/ 39 w 280"/>
                  <a:gd name="T97" fmla="*/ 89 h 245"/>
                  <a:gd name="T98" fmla="*/ 31 w 280"/>
                  <a:gd name="T99" fmla="*/ 91 h 245"/>
                  <a:gd name="T100" fmla="*/ 30 w 280"/>
                  <a:gd name="T101" fmla="*/ 98 h 245"/>
                  <a:gd name="T102" fmla="*/ 27 w 280"/>
                  <a:gd name="T103" fmla="*/ 104 h 245"/>
                  <a:gd name="T104" fmla="*/ 27 w 280"/>
                  <a:gd name="T105" fmla="*/ 108 h 245"/>
                  <a:gd name="T106" fmla="*/ 20 w 280"/>
                  <a:gd name="T107" fmla="*/ 102 h 245"/>
                  <a:gd name="T108" fmla="*/ 18 w 280"/>
                  <a:gd name="T109" fmla="*/ 104 h 245"/>
                  <a:gd name="T110" fmla="*/ 17 w 280"/>
                  <a:gd name="T111" fmla="*/ 106 h 245"/>
                  <a:gd name="T112" fmla="*/ 17 w 280"/>
                  <a:gd name="T113" fmla="*/ 106 h 245"/>
                  <a:gd name="T114" fmla="*/ 16 w 280"/>
                  <a:gd name="T115" fmla="*/ 101 h 245"/>
                  <a:gd name="T116" fmla="*/ 14 w 280"/>
                  <a:gd name="T117" fmla="*/ 99 h 24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80" h="245">
                    <a:moveTo>
                      <a:pt x="31" y="224"/>
                    </a:moveTo>
                    <a:lnTo>
                      <a:pt x="24" y="225"/>
                    </a:lnTo>
                    <a:lnTo>
                      <a:pt x="14" y="217"/>
                    </a:lnTo>
                    <a:lnTo>
                      <a:pt x="14" y="210"/>
                    </a:lnTo>
                    <a:lnTo>
                      <a:pt x="17" y="209"/>
                    </a:lnTo>
                    <a:lnTo>
                      <a:pt x="3" y="194"/>
                    </a:lnTo>
                    <a:lnTo>
                      <a:pt x="0" y="176"/>
                    </a:lnTo>
                    <a:lnTo>
                      <a:pt x="3" y="177"/>
                    </a:lnTo>
                    <a:lnTo>
                      <a:pt x="20" y="171"/>
                    </a:lnTo>
                    <a:lnTo>
                      <a:pt x="38" y="171"/>
                    </a:lnTo>
                    <a:lnTo>
                      <a:pt x="58" y="169"/>
                    </a:lnTo>
                    <a:lnTo>
                      <a:pt x="68" y="151"/>
                    </a:lnTo>
                    <a:lnTo>
                      <a:pt x="68" y="136"/>
                    </a:lnTo>
                    <a:lnTo>
                      <a:pt x="71" y="121"/>
                    </a:lnTo>
                    <a:lnTo>
                      <a:pt x="71" y="106"/>
                    </a:lnTo>
                    <a:lnTo>
                      <a:pt x="71" y="89"/>
                    </a:lnTo>
                    <a:lnTo>
                      <a:pt x="85" y="88"/>
                    </a:lnTo>
                    <a:lnTo>
                      <a:pt x="99" y="84"/>
                    </a:lnTo>
                    <a:lnTo>
                      <a:pt x="114" y="70"/>
                    </a:lnTo>
                    <a:lnTo>
                      <a:pt x="128" y="55"/>
                    </a:lnTo>
                    <a:lnTo>
                      <a:pt x="148" y="41"/>
                    </a:lnTo>
                    <a:lnTo>
                      <a:pt x="168" y="28"/>
                    </a:lnTo>
                    <a:lnTo>
                      <a:pt x="188" y="13"/>
                    </a:lnTo>
                    <a:lnTo>
                      <a:pt x="207" y="0"/>
                    </a:lnTo>
                    <a:lnTo>
                      <a:pt x="233" y="8"/>
                    </a:lnTo>
                    <a:lnTo>
                      <a:pt x="247" y="20"/>
                    </a:lnTo>
                    <a:lnTo>
                      <a:pt x="261" y="12"/>
                    </a:lnTo>
                    <a:lnTo>
                      <a:pt x="263" y="26"/>
                    </a:lnTo>
                    <a:lnTo>
                      <a:pt x="264" y="41"/>
                    </a:lnTo>
                    <a:lnTo>
                      <a:pt x="280" y="65"/>
                    </a:lnTo>
                    <a:lnTo>
                      <a:pt x="275" y="74"/>
                    </a:lnTo>
                    <a:lnTo>
                      <a:pt x="275" y="89"/>
                    </a:lnTo>
                    <a:lnTo>
                      <a:pt x="275" y="106"/>
                    </a:lnTo>
                    <a:lnTo>
                      <a:pt x="274" y="121"/>
                    </a:lnTo>
                    <a:lnTo>
                      <a:pt x="272" y="137"/>
                    </a:lnTo>
                    <a:lnTo>
                      <a:pt x="263" y="149"/>
                    </a:lnTo>
                    <a:lnTo>
                      <a:pt x="257" y="162"/>
                    </a:lnTo>
                    <a:lnTo>
                      <a:pt x="249" y="176"/>
                    </a:lnTo>
                    <a:lnTo>
                      <a:pt x="239" y="186"/>
                    </a:lnTo>
                    <a:lnTo>
                      <a:pt x="239" y="202"/>
                    </a:lnTo>
                    <a:lnTo>
                      <a:pt x="219" y="214"/>
                    </a:lnTo>
                    <a:lnTo>
                      <a:pt x="201" y="214"/>
                    </a:lnTo>
                    <a:lnTo>
                      <a:pt x="184" y="210"/>
                    </a:lnTo>
                    <a:lnTo>
                      <a:pt x="164" y="222"/>
                    </a:lnTo>
                    <a:lnTo>
                      <a:pt x="150" y="217"/>
                    </a:lnTo>
                    <a:lnTo>
                      <a:pt x="136" y="210"/>
                    </a:lnTo>
                    <a:lnTo>
                      <a:pt x="117" y="217"/>
                    </a:lnTo>
                    <a:lnTo>
                      <a:pt x="105" y="204"/>
                    </a:lnTo>
                    <a:lnTo>
                      <a:pt x="88" y="202"/>
                    </a:lnTo>
                    <a:lnTo>
                      <a:pt x="71" y="207"/>
                    </a:lnTo>
                    <a:lnTo>
                      <a:pt x="68" y="222"/>
                    </a:lnTo>
                    <a:lnTo>
                      <a:pt x="62" y="237"/>
                    </a:lnTo>
                    <a:lnTo>
                      <a:pt x="60" y="245"/>
                    </a:lnTo>
                    <a:lnTo>
                      <a:pt x="45" y="232"/>
                    </a:lnTo>
                    <a:lnTo>
                      <a:pt x="40" y="237"/>
                    </a:lnTo>
                    <a:lnTo>
                      <a:pt x="38" y="240"/>
                    </a:lnTo>
                    <a:lnTo>
                      <a:pt x="35" y="230"/>
                    </a:lnTo>
                    <a:lnTo>
                      <a:pt x="31" y="22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52" name="Freeform 182">
                <a:extLst>
                  <a:ext uri="{FF2B5EF4-FFF2-40B4-BE49-F238E27FC236}">
                    <a16:creationId xmlns:a16="http://schemas.microsoft.com/office/drawing/2014/main" id="{6A059749-2B57-DF2B-F1FA-F93A84F198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40" y="3495"/>
                <a:ext cx="47" cy="38"/>
              </a:xfrm>
              <a:custGeom>
                <a:avLst/>
                <a:gdLst>
                  <a:gd name="T0" fmla="*/ 9 w 109"/>
                  <a:gd name="T1" fmla="*/ 2 h 88"/>
                  <a:gd name="T2" fmla="*/ 8 w 109"/>
                  <a:gd name="T3" fmla="*/ 5 h 88"/>
                  <a:gd name="T4" fmla="*/ 4 w 109"/>
                  <a:gd name="T5" fmla="*/ 11 h 88"/>
                  <a:gd name="T6" fmla="*/ 0 w 109"/>
                  <a:gd name="T7" fmla="*/ 17 h 88"/>
                  <a:gd name="T8" fmla="*/ 5 w 109"/>
                  <a:gd name="T9" fmla="*/ 24 h 88"/>
                  <a:gd name="T10" fmla="*/ 7 w 109"/>
                  <a:gd name="T11" fmla="*/ 22 h 88"/>
                  <a:gd name="T12" fmla="*/ 6 w 109"/>
                  <a:gd name="T13" fmla="*/ 23 h 88"/>
                  <a:gd name="T14" fmla="*/ 7 w 109"/>
                  <a:gd name="T15" fmla="*/ 25 h 88"/>
                  <a:gd name="T16" fmla="*/ 7 w 109"/>
                  <a:gd name="T17" fmla="*/ 27 h 88"/>
                  <a:gd name="T18" fmla="*/ 15 w 109"/>
                  <a:gd name="T19" fmla="*/ 27 h 88"/>
                  <a:gd name="T20" fmla="*/ 16 w 109"/>
                  <a:gd name="T21" fmla="*/ 25 h 88"/>
                  <a:gd name="T22" fmla="*/ 26 w 109"/>
                  <a:gd name="T23" fmla="*/ 27 h 88"/>
                  <a:gd name="T24" fmla="*/ 28 w 109"/>
                  <a:gd name="T25" fmla="*/ 29 h 88"/>
                  <a:gd name="T26" fmla="*/ 17 w 109"/>
                  <a:gd name="T27" fmla="*/ 27 h 88"/>
                  <a:gd name="T28" fmla="*/ 11 w 109"/>
                  <a:gd name="T29" fmla="*/ 30 h 88"/>
                  <a:gd name="T30" fmla="*/ 5 w 109"/>
                  <a:gd name="T31" fmla="*/ 32 h 88"/>
                  <a:gd name="T32" fmla="*/ 6 w 109"/>
                  <a:gd name="T33" fmla="*/ 36 h 88"/>
                  <a:gd name="T34" fmla="*/ 12 w 109"/>
                  <a:gd name="T35" fmla="*/ 35 h 88"/>
                  <a:gd name="T36" fmla="*/ 14 w 109"/>
                  <a:gd name="T37" fmla="*/ 34 h 88"/>
                  <a:gd name="T38" fmla="*/ 14 w 109"/>
                  <a:gd name="T39" fmla="*/ 35 h 88"/>
                  <a:gd name="T40" fmla="*/ 7 w 109"/>
                  <a:gd name="T41" fmla="*/ 36 h 88"/>
                  <a:gd name="T42" fmla="*/ 5 w 109"/>
                  <a:gd name="T43" fmla="*/ 38 h 88"/>
                  <a:gd name="T44" fmla="*/ 16 w 109"/>
                  <a:gd name="T45" fmla="*/ 36 h 88"/>
                  <a:gd name="T46" fmla="*/ 22 w 109"/>
                  <a:gd name="T47" fmla="*/ 36 h 88"/>
                  <a:gd name="T48" fmla="*/ 29 w 109"/>
                  <a:gd name="T49" fmla="*/ 35 h 88"/>
                  <a:gd name="T50" fmla="*/ 35 w 109"/>
                  <a:gd name="T51" fmla="*/ 37 h 88"/>
                  <a:gd name="T52" fmla="*/ 47 w 109"/>
                  <a:gd name="T53" fmla="*/ 38 h 88"/>
                  <a:gd name="T54" fmla="*/ 45 w 109"/>
                  <a:gd name="T55" fmla="*/ 29 h 88"/>
                  <a:gd name="T56" fmla="*/ 43 w 109"/>
                  <a:gd name="T57" fmla="*/ 26 h 88"/>
                  <a:gd name="T58" fmla="*/ 40 w 109"/>
                  <a:gd name="T59" fmla="*/ 17 h 88"/>
                  <a:gd name="T60" fmla="*/ 35 w 109"/>
                  <a:gd name="T61" fmla="*/ 10 h 88"/>
                  <a:gd name="T62" fmla="*/ 29 w 109"/>
                  <a:gd name="T63" fmla="*/ 4 h 88"/>
                  <a:gd name="T64" fmla="*/ 22 w 109"/>
                  <a:gd name="T65" fmla="*/ 0 h 88"/>
                  <a:gd name="T66" fmla="*/ 15 w 109"/>
                  <a:gd name="T67" fmla="*/ 1 h 88"/>
                  <a:gd name="T68" fmla="*/ 9 w 109"/>
                  <a:gd name="T69" fmla="*/ 2 h 8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09" h="88">
                    <a:moveTo>
                      <a:pt x="21" y="5"/>
                    </a:moveTo>
                    <a:lnTo>
                      <a:pt x="18" y="12"/>
                    </a:lnTo>
                    <a:lnTo>
                      <a:pt x="10" y="25"/>
                    </a:lnTo>
                    <a:lnTo>
                      <a:pt x="0" y="40"/>
                    </a:lnTo>
                    <a:lnTo>
                      <a:pt x="11" y="55"/>
                    </a:lnTo>
                    <a:lnTo>
                      <a:pt x="16" y="52"/>
                    </a:lnTo>
                    <a:lnTo>
                      <a:pt x="13" y="54"/>
                    </a:lnTo>
                    <a:lnTo>
                      <a:pt x="16" y="57"/>
                    </a:lnTo>
                    <a:lnTo>
                      <a:pt x="16" y="62"/>
                    </a:lnTo>
                    <a:lnTo>
                      <a:pt x="35" y="62"/>
                    </a:lnTo>
                    <a:lnTo>
                      <a:pt x="38" y="57"/>
                    </a:lnTo>
                    <a:lnTo>
                      <a:pt x="61" y="63"/>
                    </a:lnTo>
                    <a:lnTo>
                      <a:pt x="65" y="67"/>
                    </a:lnTo>
                    <a:lnTo>
                      <a:pt x="39" y="63"/>
                    </a:lnTo>
                    <a:lnTo>
                      <a:pt x="25" y="70"/>
                    </a:lnTo>
                    <a:lnTo>
                      <a:pt x="11" y="73"/>
                    </a:lnTo>
                    <a:lnTo>
                      <a:pt x="13" y="83"/>
                    </a:lnTo>
                    <a:lnTo>
                      <a:pt x="27" y="80"/>
                    </a:lnTo>
                    <a:lnTo>
                      <a:pt x="33" y="78"/>
                    </a:lnTo>
                    <a:lnTo>
                      <a:pt x="33" y="80"/>
                    </a:lnTo>
                    <a:lnTo>
                      <a:pt x="16" y="83"/>
                    </a:lnTo>
                    <a:lnTo>
                      <a:pt x="11" y="88"/>
                    </a:lnTo>
                    <a:lnTo>
                      <a:pt x="38" y="83"/>
                    </a:lnTo>
                    <a:lnTo>
                      <a:pt x="52" y="83"/>
                    </a:lnTo>
                    <a:lnTo>
                      <a:pt x="67" y="82"/>
                    </a:lnTo>
                    <a:lnTo>
                      <a:pt x="82" y="85"/>
                    </a:lnTo>
                    <a:lnTo>
                      <a:pt x="109" y="87"/>
                    </a:lnTo>
                    <a:lnTo>
                      <a:pt x="104" y="67"/>
                    </a:lnTo>
                    <a:lnTo>
                      <a:pt x="100" y="60"/>
                    </a:lnTo>
                    <a:lnTo>
                      <a:pt x="93" y="39"/>
                    </a:lnTo>
                    <a:lnTo>
                      <a:pt x="81" y="24"/>
                    </a:lnTo>
                    <a:lnTo>
                      <a:pt x="67" y="10"/>
                    </a:lnTo>
                    <a:lnTo>
                      <a:pt x="52" y="0"/>
                    </a:lnTo>
                    <a:lnTo>
                      <a:pt x="35" y="2"/>
                    </a:lnTo>
                    <a:lnTo>
                      <a:pt x="21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53" name="Freeform 183">
                <a:extLst>
                  <a:ext uri="{FF2B5EF4-FFF2-40B4-BE49-F238E27FC236}">
                    <a16:creationId xmlns:a16="http://schemas.microsoft.com/office/drawing/2014/main" id="{4B0371CC-F488-22EF-E99B-57E826B44BD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35" y="3309"/>
                <a:ext cx="30" cy="63"/>
              </a:xfrm>
              <a:custGeom>
                <a:avLst/>
                <a:gdLst>
                  <a:gd name="T0" fmla="*/ 20 w 68"/>
                  <a:gd name="T1" fmla="*/ 60 h 143"/>
                  <a:gd name="T2" fmla="*/ 16 w 68"/>
                  <a:gd name="T3" fmla="*/ 63 h 143"/>
                  <a:gd name="T4" fmla="*/ 14 w 68"/>
                  <a:gd name="T5" fmla="*/ 54 h 143"/>
                  <a:gd name="T6" fmla="*/ 12 w 68"/>
                  <a:gd name="T7" fmla="*/ 46 h 143"/>
                  <a:gd name="T8" fmla="*/ 6 w 68"/>
                  <a:gd name="T9" fmla="*/ 40 h 143"/>
                  <a:gd name="T10" fmla="*/ 0 w 68"/>
                  <a:gd name="T11" fmla="*/ 31 h 143"/>
                  <a:gd name="T12" fmla="*/ 4 w 68"/>
                  <a:gd name="T13" fmla="*/ 24 h 143"/>
                  <a:gd name="T14" fmla="*/ 7 w 68"/>
                  <a:gd name="T15" fmla="*/ 18 h 143"/>
                  <a:gd name="T16" fmla="*/ 5 w 68"/>
                  <a:gd name="T17" fmla="*/ 5 h 143"/>
                  <a:gd name="T18" fmla="*/ 8 w 68"/>
                  <a:gd name="T19" fmla="*/ 3 h 143"/>
                  <a:gd name="T20" fmla="*/ 16 w 68"/>
                  <a:gd name="T21" fmla="*/ 0 h 143"/>
                  <a:gd name="T22" fmla="*/ 19 w 68"/>
                  <a:gd name="T23" fmla="*/ 1 h 143"/>
                  <a:gd name="T24" fmla="*/ 20 w 68"/>
                  <a:gd name="T25" fmla="*/ 4 h 143"/>
                  <a:gd name="T26" fmla="*/ 25 w 68"/>
                  <a:gd name="T27" fmla="*/ 1 h 143"/>
                  <a:gd name="T28" fmla="*/ 22 w 68"/>
                  <a:gd name="T29" fmla="*/ 11 h 143"/>
                  <a:gd name="T30" fmla="*/ 26 w 68"/>
                  <a:gd name="T31" fmla="*/ 18 h 143"/>
                  <a:gd name="T32" fmla="*/ 23 w 68"/>
                  <a:gd name="T33" fmla="*/ 22 h 143"/>
                  <a:gd name="T34" fmla="*/ 19 w 68"/>
                  <a:gd name="T35" fmla="*/ 29 h 143"/>
                  <a:gd name="T36" fmla="*/ 25 w 68"/>
                  <a:gd name="T37" fmla="*/ 33 h 143"/>
                  <a:gd name="T38" fmla="*/ 30 w 68"/>
                  <a:gd name="T39" fmla="*/ 36 h 143"/>
                  <a:gd name="T40" fmla="*/ 30 w 68"/>
                  <a:gd name="T41" fmla="*/ 44 h 143"/>
                  <a:gd name="T42" fmla="*/ 25 w 68"/>
                  <a:gd name="T43" fmla="*/ 48 h 143"/>
                  <a:gd name="T44" fmla="*/ 20 w 68"/>
                  <a:gd name="T45" fmla="*/ 52 h 143"/>
                  <a:gd name="T46" fmla="*/ 20 w 68"/>
                  <a:gd name="T47" fmla="*/ 60 h 14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68" h="143">
                    <a:moveTo>
                      <a:pt x="45" y="136"/>
                    </a:moveTo>
                    <a:lnTo>
                      <a:pt x="36" y="143"/>
                    </a:lnTo>
                    <a:lnTo>
                      <a:pt x="31" y="123"/>
                    </a:lnTo>
                    <a:lnTo>
                      <a:pt x="28" y="105"/>
                    </a:lnTo>
                    <a:lnTo>
                      <a:pt x="14" y="90"/>
                    </a:lnTo>
                    <a:lnTo>
                      <a:pt x="0" y="70"/>
                    </a:lnTo>
                    <a:lnTo>
                      <a:pt x="8" y="55"/>
                    </a:lnTo>
                    <a:lnTo>
                      <a:pt x="15" y="40"/>
                    </a:lnTo>
                    <a:lnTo>
                      <a:pt x="12" y="12"/>
                    </a:lnTo>
                    <a:lnTo>
                      <a:pt x="17" y="7"/>
                    </a:lnTo>
                    <a:lnTo>
                      <a:pt x="36" y="0"/>
                    </a:lnTo>
                    <a:lnTo>
                      <a:pt x="43" y="3"/>
                    </a:lnTo>
                    <a:lnTo>
                      <a:pt x="46" y="10"/>
                    </a:lnTo>
                    <a:lnTo>
                      <a:pt x="57" y="3"/>
                    </a:lnTo>
                    <a:lnTo>
                      <a:pt x="50" y="25"/>
                    </a:lnTo>
                    <a:lnTo>
                      <a:pt x="60" y="40"/>
                    </a:lnTo>
                    <a:lnTo>
                      <a:pt x="53" y="51"/>
                    </a:lnTo>
                    <a:lnTo>
                      <a:pt x="43" y="66"/>
                    </a:lnTo>
                    <a:lnTo>
                      <a:pt x="57" y="76"/>
                    </a:lnTo>
                    <a:lnTo>
                      <a:pt x="68" y="81"/>
                    </a:lnTo>
                    <a:lnTo>
                      <a:pt x="68" y="100"/>
                    </a:lnTo>
                    <a:lnTo>
                      <a:pt x="57" y="108"/>
                    </a:lnTo>
                    <a:lnTo>
                      <a:pt x="45" y="118"/>
                    </a:lnTo>
                    <a:lnTo>
                      <a:pt x="45" y="13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54" name="Freeform 184">
                <a:extLst>
                  <a:ext uri="{FF2B5EF4-FFF2-40B4-BE49-F238E27FC236}">
                    <a16:creationId xmlns:a16="http://schemas.microsoft.com/office/drawing/2014/main" id="{7B6A169F-A00B-37FE-92F7-93576CFE82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86" y="3568"/>
                <a:ext cx="32" cy="37"/>
              </a:xfrm>
              <a:custGeom>
                <a:avLst/>
                <a:gdLst>
                  <a:gd name="T0" fmla="*/ 31 w 74"/>
                  <a:gd name="T1" fmla="*/ 37 h 84"/>
                  <a:gd name="T2" fmla="*/ 22 w 74"/>
                  <a:gd name="T3" fmla="*/ 33 h 84"/>
                  <a:gd name="T4" fmla="*/ 15 w 74"/>
                  <a:gd name="T5" fmla="*/ 27 h 84"/>
                  <a:gd name="T6" fmla="*/ 6 w 74"/>
                  <a:gd name="T7" fmla="*/ 20 h 84"/>
                  <a:gd name="T8" fmla="*/ 0 w 74"/>
                  <a:gd name="T9" fmla="*/ 15 h 84"/>
                  <a:gd name="T10" fmla="*/ 2 w 74"/>
                  <a:gd name="T11" fmla="*/ 11 h 84"/>
                  <a:gd name="T12" fmla="*/ 6 w 74"/>
                  <a:gd name="T13" fmla="*/ 6 h 84"/>
                  <a:gd name="T14" fmla="*/ 9 w 74"/>
                  <a:gd name="T15" fmla="*/ 0 h 84"/>
                  <a:gd name="T16" fmla="*/ 14 w 74"/>
                  <a:gd name="T17" fmla="*/ 0 h 84"/>
                  <a:gd name="T18" fmla="*/ 16 w 74"/>
                  <a:gd name="T19" fmla="*/ 9 h 84"/>
                  <a:gd name="T20" fmla="*/ 18 w 74"/>
                  <a:gd name="T21" fmla="*/ 11 h 84"/>
                  <a:gd name="T22" fmla="*/ 22 w 74"/>
                  <a:gd name="T23" fmla="*/ 9 h 84"/>
                  <a:gd name="T24" fmla="*/ 24 w 74"/>
                  <a:gd name="T25" fmla="*/ 8 h 84"/>
                  <a:gd name="T26" fmla="*/ 24 w 74"/>
                  <a:gd name="T27" fmla="*/ 17 h 84"/>
                  <a:gd name="T28" fmla="*/ 24 w 74"/>
                  <a:gd name="T29" fmla="*/ 18 h 84"/>
                  <a:gd name="T30" fmla="*/ 29 w 74"/>
                  <a:gd name="T31" fmla="*/ 22 h 84"/>
                  <a:gd name="T32" fmla="*/ 32 w 74"/>
                  <a:gd name="T33" fmla="*/ 26 h 84"/>
                  <a:gd name="T34" fmla="*/ 31 w 74"/>
                  <a:gd name="T35" fmla="*/ 37 h 8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4" h="84">
                    <a:moveTo>
                      <a:pt x="71" y="84"/>
                    </a:moveTo>
                    <a:lnTo>
                      <a:pt x="52" y="74"/>
                    </a:lnTo>
                    <a:lnTo>
                      <a:pt x="34" y="61"/>
                    </a:lnTo>
                    <a:lnTo>
                      <a:pt x="15" y="46"/>
                    </a:lnTo>
                    <a:lnTo>
                      <a:pt x="0" y="33"/>
                    </a:lnTo>
                    <a:lnTo>
                      <a:pt x="4" y="25"/>
                    </a:lnTo>
                    <a:lnTo>
                      <a:pt x="14" y="13"/>
                    </a:lnTo>
                    <a:lnTo>
                      <a:pt x="21" y="0"/>
                    </a:lnTo>
                    <a:lnTo>
                      <a:pt x="32" y="0"/>
                    </a:lnTo>
                    <a:lnTo>
                      <a:pt x="37" y="20"/>
                    </a:lnTo>
                    <a:lnTo>
                      <a:pt x="41" y="25"/>
                    </a:lnTo>
                    <a:lnTo>
                      <a:pt x="51" y="20"/>
                    </a:lnTo>
                    <a:lnTo>
                      <a:pt x="55" y="18"/>
                    </a:lnTo>
                    <a:lnTo>
                      <a:pt x="55" y="38"/>
                    </a:lnTo>
                    <a:lnTo>
                      <a:pt x="55" y="41"/>
                    </a:lnTo>
                    <a:lnTo>
                      <a:pt x="66" y="51"/>
                    </a:lnTo>
                    <a:lnTo>
                      <a:pt x="74" y="60"/>
                    </a:lnTo>
                    <a:lnTo>
                      <a:pt x="71" y="8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55" name="Freeform 185">
                <a:extLst>
                  <a:ext uri="{FF2B5EF4-FFF2-40B4-BE49-F238E27FC236}">
                    <a16:creationId xmlns:a16="http://schemas.microsoft.com/office/drawing/2014/main" id="{F7D52D52-670C-9B57-63B4-D03308D4C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6" y="3558"/>
                <a:ext cx="25" cy="22"/>
              </a:xfrm>
              <a:custGeom>
                <a:avLst/>
                <a:gdLst>
                  <a:gd name="T0" fmla="*/ 0 w 56"/>
                  <a:gd name="T1" fmla="*/ 14 h 49"/>
                  <a:gd name="T2" fmla="*/ 0 w 56"/>
                  <a:gd name="T3" fmla="*/ 7 h 49"/>
                  <a:gd name="T4" fmla="*/ 0 w 56"/>
                  <a:gd name="T5" fmla="*/ 1 h 49"/>
                  <a:gd name="T6" fmla="*/ 4 w 56"/>
                  <a:gd name="T7" fmla="*/ 0 h 49"/>
                  <a:gd name="T8" fmla="*/ 5 w 56"/>
                  <a:gd name="T9" fmla="*/ 4 h 49"/>
                  <a:gd name="T10" fmla="*/ 10 w 56"/>
                  <a:gd name="T11" fmla="*/ 4 h 49"/>
                  <a:gd name="T12" fmla="*/ 12 w 56"/>
                  <a:gd name="T13" fmla="*/ 7 h 49"/>
                  <a:gd name="T14" fmla="*/ 23 w 56"/>
                  <a:gd name="T15" fmla="*/ 4 h 49"/>
                  <a:gd name="T16" fmla="*/ 24 w 56"/>
                  <a:gd name="T17" fmla="*/ 4 h 49"/>
                  <a:gd name="T18" fmla="*/ 25 w 56"/>
                  <a:gd name="T19" fmla="*/ 7 h 49"/>
                  <a:gd name="T20" fmla="*/ 20 w 56"/>
                  <a:gd name="T21" fmla="*/ 13 h 49"/>
                  <a:gd name="T22" fmla="*/ 23 w 56"/>
                  <a:gd name="T23" fmla="*/ 19 h 49"/>
                  <a:gd name="T24" fmla="*/ 16 w 56"/>
                  <a:gd name="T25" fmla="*/ 22 h 49"/>
                  <a:gd name="T26" fmla="*/ 14 w 56"/>
                  <a:gd name="T27" fmla="*/ 16 h 49"/>
                  <a:gd name="T28" fmla="*/ 14 w 56"/>
                  <a:gd name="T29" fmla="*/ 18 h 49"/>
                  <a:gd name="T30" fmla="*/ 10 w 56"/>
                  <a:gd name="T31" fmla="*/ 14 h 49"/>
                  <a:gd name="T32" fmla="*/ 2 w 56"/>
                  <a:gd name="T33" fmla="*/ 12 h 49"/>
                  <a:gd name="T34" fmla="*/ 0 w 56"/>
                  <a:gd name="T35" fmla="*/ 14 h 4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6" h="49">
                    <a:moveTo>
                      <a:pt x="0" y="31"/>
                    </a:moveTo>
                    <a:lnTo>
                      <a:pt x="1" y="16"/>
                    </a:lnTo>
                    <a:lnTo>
                      <a:pt x="0" y="3"/>
                    </a:lnTo>
                    <a:lnTo>
                      <a:pt x="8" y="0"/>
                    </a:lnTo>
                    <a:lnTo>
                      <a:pt x="12" y="10"/>
                    </a:lnTo>
                    <a:lnTo>
                      <a:pt x="22" y="10"/>
                    </a:lnTo>
                    <a:lnTo>
                      <a:pt x="26" y="16"/>
                    </a:lnTo>
                    <a:lnTo>
                      <a:pt x="51" y="8"/>
                    </a:lnTo>
                    <a:lnTo>
                      <a:pt x="54" y="10"/>
                    </a:lnTo>
                    <a:lnTo>
                      <a:pt x="56" y="16"/>
                    </a:lnTo>
                    <a:lnTo>
                      <a:pt x="45" y="28"/>
                    </a:lnTo>
                    <a:lnTo>
                      <a:pt x="51" y="43"/>
                    </a:lnTo>
                    <a:lnTo>
                      <a:pt x="35" y="49"/>
                    </a:lnTo>
                    <a:lnTo>
                      <a:pt x="32" y="36"/>
                    </a:lnTo>
                    <a:lnTo>
                      <a:pt x="31" y="39"/>
                    </a:lnTo>
                    <a:lnTo>
                      <a:pt x="22" y="31"/>
                    </a:lnTo>
                    <a:lnTo>
                      <a:pt x="4" y="26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56" name="Freeform 186">
                <a:extLst>
                  <a:ext uri="{FF2B5EF4-FFF2-40B4-BE49-F238E27FC236}">
                    <a16:creationId xmlns:a16="http://schemas.microsoft.com/office/drawing/2014/main" id="{B686349A-B068-2203-01D7-93872E3AD0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2" y="3560"/>
                <a:ext cx="18" cy="19"/>
              </a:xfrm>
              <a:custGeom>
                <a:avLst/>
                <a:gdLst>
                  <a:gd name="T0" fmla="*/ 11 w 41"/>
                  <a:gd name="T1" fmla="*/ 11 h 45"/>
                  <a:gd name="T2" fmla="*/ 14 w 41"/>
                  <a:gd name="T3" fmla="*/ 11 h 45"/>
                  <a:gd name="T4" fmla="*/ 12 w 41"/>
                  <a:gd name="T5" fmla="*/ 9 h 45"/>
                  <a:gd name="T6" fmla="*/ 10 w 41"/>
                  <a:gd name="T7" fmla="*/ 8 h 45"/>
                  <a:gd name="T8" fmla="*/ 8 w 41"/>
                  <a:gd name="T9" fmla="*/ 6 h 45"/>
                  <a:gd name="T10" fmla="*/ 2 w 41"/>
                  <a:gd name="T11" fmla="*/ 3 h 45"/>
                  <a:gd name="T12" fmla="*/ 0 w 41"/>
                  <a:gd name="T13" fmla="*/ 2 h 45"/>
                  <a:gd name="T14" fmla="*/ 0 w 41"/>
                  <a:gd name="T15" fmla="*/ 0 h 45"/>
                  <a:gd name="T16" fmla="*/ 7 w 41"/>
                  <a:gd name="T17" fmla="*/ 0 h 45"/>
                  <a:gd name="T18" fmla="*/ 13 w 41"/>
                  <a:gd name="T19" fmla="*/ 3 h 45"/>
                  <a:gd name="T20" fmla="*/ 18 w 41"/>
                  <a:gd name="T21" fmla="*/ 7 h 45"/>
                  <a:gd name="T22" fmla="*/ 18 w 41"/>
                  <a:gd name="T23" fmla="*/ 13 h 45"/>
                  <a:gd name="T24" fmla="*/ 15 w 41"/>
                  <a:gd name="T25" fmla="*/ 15 h 45"/>
                  <a:gd name="T26" fmla="*/ 14 w 41"/>
                  <a:gd name="T27" fmla="*/ 19 h 45"/>
                  <a:gd name="T28" fmla="*/ 12 w 41"/>
                  <a:gd name="T29" fmla="*/ 17 h 45"/>
                  <a:gd name="T30" fmla="*/ 11 w 41"/>
                  <a:gd name="T31" fmla="*/ 11 h 4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1" h="45">
                    <a:moveTo>
                      <a:pt x="24" y="25"/>
                    </a:moveTo>
                    <a:lnTo>
                      <a:pt x="31" y="25"/>
                    </a:lnTo>
                    <a:lnTo>
                      <a:pt x="27" y="22"/>
                    </a:lnTo>
                    <a:lnTo>
                      <a:pt x="23" y="20"/>
                    </a:lnTo>
                    <a:lnTo>
                      <a:pt x="18" y="15"/>
                    </a:lnTo>
                    <a:lnTo>
                      <a:pt x="4" y="7"/>
                    </a:lnTo>
                    <a:lnTo>
                      <a:pt x="1" y="5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29" y="7"/>
                    </a:lnTo>
                    <a:lnTo>
                      <a:pt x="41" y="17"/>
                    </a:lnTo>
                    <a:lnTo>
                      <a:pt x="41" y="31"/>
                    </a:lnTo>
                    <a:lnTo>
                      <a:pt x="34" y="36"/>
                    </a:lnTo>
                    <a:lnTo>
                      <a:pt x="31" y="45"/>
                    </a:lnTo>
                    <a:lnTo>
                      <a:pt x="27" y="40"/>
                    </a:lnTo>
                    <a:lnTo>
                      <a:pt x="24" y="2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57" name="Freeform 187">
                <a:extLst>
                  <a:ext uri="{FF2B5EF4-FFF2-40B4-BE49-F238E27FC236}">
                    <a16:creationId xmlns:a16="http://schemas.microsoft.com/office/drawing/2014/main" id="{0B706E30-8A89-5DD1-1F92-B2294451D0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40" y="3593"/>
                <a:ext cx="24" cy="32"/>
              </a:xfrm>
              <a:custGeom>
                <a:avLst/>
                <a:gdLst>
                  <a:gd name="T0" fmla="*/ 19 w 53"/>
                  <a:gd name="T1" fmla="*/ 9 h 75"/>
                  <a:gd name="T2" fmla="*/ 11 w 53"/>
                  <a:gd name="T3" fmla="*/ 2 h 75"/>
                  <a:gd name="T4" fmla="*/ 5 w 53"/>
                  <a:gd name="T5" fmla="*/ 0 h 75"/>
                  <a:gd name="T6" fmla="*/ 5 w 53"/>
                  <a:gd name="T7" fmla="*/ 4 h 75"/>
                  <a:gd name="T8" fmla="*/ 2 w 53"/>
                  <a:gd name="T9" fmla="*/ 12 h 75"/>
                  <a:gd name="T10" fmla="*/ 5 w 53"/>
                  <a:gd name="T11" fmla="*/ 22 h 75"/>
                  <a:gd name="T12" fmla="*/ 0 w 53"/>
                  <a:gd name="T13" fmla="*/ 30 h 75"/>
                  <a:gd name="T14" fmla="*/ 5 w 53"/>
                  <a:gd name="T15" fmla="*/ 31 h 75"/>
                  <a:gd name="T16" fmla="*/ 14 w 53"/>
                  <a:gd name="T17" fmla="*/ 32 h 75"/>
                  <a:gd name="T18" fmla="*/ 19 w 53"/>
                  <a:gd name="T19" fmla="*/ 23 h 75"/>
                  <a:gd name="T20" fmla="*/ 24 w 53"/>
                  <a:gd name="T21" fmla="*/ 16 h 75"/>
                  <a:gd name="T22" fmla="*/ 22 w 53"/>
                  <a:gd name="T23" fmla="*/ 10 h 75"/>
                  <a:gd name="T24" fmla="*/ 22 w 53"/>
                  <a:gd name="T25" fmla="*/ 12 h 75"/>
                  <a:gd name="T26" fmla="*/ 19 w 53"/>
                  <a:gd name="T27" fmla="*/ 9 h 7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3" h="75">
                    <a:moveTo>
                      <a:pt x="42" y="20"/>
                    </a:moveTo>
                    <a:lnTo>
                      <a:pt x="25" y="4"/>
                    </a:lnTo>
                    <a:lnTo>
                      <a:pt x="11" y="0"/>
                    </a:lnTo>
                    <a:lnTo>
                      <a:pt x="10" y="9"/>
                    </a:lnTo>
                    <a:lnTo>
                      <a:pt x="5" y="27"/>
                    </a:lnTo>
                    <a:lnTo>
                      <a:pt x="10" y="52"/>
                    </a:lnTo>
                    <a:lnTo>
                      <a:pt x="0" y="70"/>
                    </a:lnTo>
                    <a:lnTo>
                      <a:pt x="11" y="73"/>
                    </a:lnTo>
                    <a:lnTo>
                      <a:pt x="30" y="75"/>
                    </a:lnTo>
                    <a:lnTo>
                      <a:pt x="42" y="55"/>
                    </a:lnTo>
                    <a:lnTo>
                      <a:pt x="53" y="37"/>
                    </a:lnTo>
                    <a:lnTo>
                      <a:pt x="48" y="23"/>
                    </a:lnTo>
                    <a:lnTo>
                      <a:pt x="48" y="27"/>
                    </a:lnTo>
                    <a:lnTo>
                      <a:pt x="42" y="2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58" name="Freeform 188">
                <a:extLst>
                  <a:ext uri="{FF2B5EF4-FFF2-40B4-BE49-F238E27FC236}">
                    <a16:creationId xmlns:a16="http://schemas.microsoft.com/office/drawing/2014/main" id="{F5301F36-B2F2-876C-062A-7145A935E65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6" y="3533"/>
                <a:ext cx="95" cy="150"/>
              </a:xfrm>
              <a:custGeom>
                <a:avLst/>
                <a:gdLst>
                  <a:gd name="T0" fmla="*/ 37 w 217"/>
                  <a:gd name="T1" fmla="*/ 14 h 342"/>
                  <a:gd name="T2" fmla="*/ 33 w 217"/>
                  <a:gd name="T3" fmla="*/ 12 h 342"/>
                  <a:gd name="T4" fmla="*/ 27 w 217"/>
                  <a:gd name="T5" fmla="*/ 27 h 342"/>
                  <a:gd name="T6" fmla="*/ 17 w 217"/>
                  <a:gd name="T7" fmla="*/ 40 h 342"/>
                  <a:gd name="T8" fmla="*/ 14 w 217"/>
                  <a:gd name="T9" fmla="*/ 34 h 342"/>
                  <a:gd name="T10" fmla="*/ 11 w 217"/>
                  <a:gd name="T11" fmla="*/ 43 h 342"/>
                  <a:gd name="T12" fmla="*/ 12 w 217"/>
                  <a:gd name="T13" fmla="*/ 50 h 342"/>
                  <a:gd name="T14" fmla="*/ 12 w 217"/>
                  <a:gd name="T15" fmla="*/ 62 h 342"/>
                  <a:gd name="T16" fmla="*/ 13 w 217"/>
                  <a:gd name="T17" fmla="*/ 76 h 342"/>
                  <a:gd name="T18" fmla="*/ 9 w 217"/>
                  <a:gd name="T19" fmla="*/ 87 h 342"/>
                  <a:gd name="T20" fmla="*/ 2 w 217"/>
                  <a:gd name="T21" fmla="*/ 94 h 342"/>
                  <a:gd name="T22" fmla="*/ 0 w 217"/>
                  <a:gd name="T23" fmla="*/ 99 h 342"/>
                  <a:gd name="T24" fmla="*/ 12 w 217"/>
                  <a:gd name="T25" fmla="*/ 108 h 342"/>
                  <a:gd name="T26" fmla="*/ 28 w 217"/>
                  <a:gd name="T27" fmla="*/ 112 h 342"/>
                  <a:gd name="T28" fmla="*/ 33 w 217"/>
                  <a:gd name="T29" fmla="*/ 117 h 342"/>
                  <a:gd name="T30" fmla="*/ 43 w 217"/>
                  <a:gd name="T31" fmla="*/ 128 h 342"/>
                  <a:gd name="T32" fmla="*/ 55 w 217"/>
                  <a:gd name="T33" fmla="*/ 132 h 342"/>
                  <a:gd name="T34" fmla="*/ 69 w 217"/>
                  <a:gd name="T35" fmla="*/ 136 h 342"/>
                  <a:gd name="T36" fmla="*/ 71 w 217"/>
                  <a:gd name="T37" fmla="*/ 150 h 342"/>
                  <a:gd name="T38" fmla="*/ 75 w 217"/>
                  <a:gd name="T39" fmla="*/ 125 h 342"/>
                  <a:gd name="T40" fmla="*/ 69 w 217"/>
                  <a:gd name="T41" fmla="*/ 106 h 342"/>
                  <a:gd name="T42" fmla="*/ 77 w 217"/>
                  <a:gd name="T43" fmla="*/ 104 h 342"/>
                  <a:gd name="T44" fmla="*/ 71 w 217"/>
                  <a:gd name="T45" fmla="*/ 96 h 342"/>
                  <a:gd name="T46" fmla="*/ 85 w 217"/>
                  <a:gd name="T47" fmla="*/ 96 h 342"/>
                  <a:gd name="T48" fmla="*/ 86 w 217"/>
                  <a:gd name="T49" fmla="*/ 96 h 342"/>
                  <a:gd name="T50" fmla="*/ 93 w 217"/>
                  <a:gd name="T51" fmla="*/ 100 h 342"/>
                  <a:gd name="T52" fmla="*/ 93 w 217"/>
                  <a:gd name="T53" fmla="*/ 94 h 342"/>
                  <a:gd name="T54" fmla="*/ 91 w 217"/>
                  <a:gd name="T55" fmla="*/ 82 h 342"/>
                  <a:gd name="T56" fmla="*/ 89 w 217"/>
                  <a:gd name="T57" fmla="*/ 64 h 342"/>
                  <a:gd name="T58" fmla="*/ 84 w 217"/>
                  <a:gd name="T59" fmla="*/ 56 h 342"/>
                  <a:gd name="T60" fmla="*/ 70 w 217"/>
                  <a:gd name="T61" fmla="*/ 49 h 342"/>
                  <a:gd name="T62" fmla="*/ 59 w 217"/>
                  <a:gd name="T63" fmla="*/ 48 h 342"/>
                  <a:gd name="T64" fmla="*/ 53 w 217"/>
                  <a:gd name="T65" fmla="*/ 39 h 342"/>
                  <a:gd name="T66" fmla="*/ 46 w 217"/>
                  <a:gd name="T67" fmla="*/ 29 h 342"/>
                  <a:gd name="T68" fmla="*/ 53 w 217"/>
                  <a:gd name="T69" fmla="*/ 13 h 342"/>
                  <a:gd name="T70" fmla="*/ 63 w 217"/>
                  <a:gd name="T71" fmla="*/ 4 h 342"/>
                  <a:gd name="T72" fmla="*/ 59 w 217"/>
                  <a:gd name="T73" fmla="*/ 1 h 342"/>
                  <a:gd name="T74" fmla="*/ 45 w 217"/>
                  <a:gd name="T75" fmla="*/ 11 h 34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217" h="342">
                    <a:moveTo>
                      <a:pt x="91" y="24"/>
                    </a:moveTo>
                    <a:lnTo>
                      <a:pt x="85" y="32"/>
                    </a:lnTo>
                    <a:lnTo>
                      <a:pt x="88" y="28"/>
                    </a:lnTo>
                    <a:lnTo>
                      <a:pt x="76" y="28"/>
                    </a:lnTo>
                    <a:lnTo>
                      <a:pt x="65" y="47"/>
                    </a:lnTo>
                    <a:lnTo>
                      <a:pt x="62" y="62"/>
                    </a:lnTo>
                    <a:lnTo>
                      <a:pt x="42" y="80"/>
                    </a:lnTo>
                    <a:lnTo>
                      <a:pt x="39" y="91"/>
                    </a:lnTo>
                    <a:lnTo>
                      <a:pt x="37" y="80"/>
                    </a:lnTo>
                    <a:lnTo>
                      <a:pt x="32" y="77"/>
                    </a:lnTo>
                    <a:lnTo>
                      <a:pt x="32" y="91"/>
                    </a:lnTo>
                    <a:lnTo>
                      <a:pt x="25" y="98"/>
                    </a:lnTo>
                    <a:lnTo>
                      <a:pt x="22" y="105"/>
                    </a:lnTo>
                    <a:lnTo>
                      <a:pt x="28" y="113"/>
                    </a:lnTo>
                    <a:lnTo>
                      <a:pt x="31" y="133"/>
                    </a:lnTo>
                    <a:lnTo>
                      <a:pt x="28" y="141"/>
                    </a:lnTo>
                    <a:lnTo>
                      <a:pt x="28" y="156"/>
                    </a:lnTo>
                    <a:lnTo>
                      <a:pt x="29" y="173"/>
                    </a:lnTo>
                    <a:lnTo>
                      <a:pt x="31" y="176"/>
                    </a:lnTo>
                    <a:lnTo>
                      <a:pt x="20" y="198"/>
                    </a:lnTo>
                    <a:lnTo>
                      <a:pt x="9" y="204"/>
                    </a:lnTo>
                    <a:lnTo>
                      <a:pt x="5" y="214"/>
                    </a:lnTo>
                    <a:lnTo>
                      <a:pt x="0" y="217"/>
                    </a:lnTo>
                    <a:lnTo>
                      <a:pt x="1" y="226"/>
                    </a:lnTo>
                    <a:lnTo>
                      <a:pt x="15" y="237"/>
                    </a:lnTo>
                    <a:lnTo>
                      <a:pt x="28" y="247"/>
                    </a:lnTo>
                    <a:lnTo>
                      <a:pt x="45" y="247"/>
                    </a:lnTo>
                    <a:lnTo>
                      <a:pt x="65" y="256"/>
                    </a:lnTo>
                    <a:lnTo>
                      <a:pt x="76" y="266"/>
                    </a:lnTo>
                    <a:lnTo>
                      <a:pt x="85" y="275"/>
                    </a:lnTo>
                    <a:lnTo>
                      <a:pt x="99" y="292"/>
                    </a:lnTo>
                    <a:lnTo>
                      <a:pt x="104" y="302"/>
                    </a:lnTo>
                    <a:lnTo>
                      <a:pt x="125" y="302"/>
                    </a:lnTo>
                    <a:lnTo>
                      <a:pt x="139" y="304"/>
                    </a:lnTo>
                    <a:lnTo>
                      <a:pt x="158" y="309"/>
                    </a:lnTo>
                    <a:lnTo>
                      <a:pt x="150" y="334"/>
                    </a:lnTo>
                    <a:lnTo>
                      <a:pt x="162" y="342"/>
                    </a:lnTo>
                    <a:lnTo>
                      <a:pt x="167" y="314"/>
                    </a:lnTo>
                    <a:lnTo>
                      <a:pt x="172" y="284"/>
                    </a:lnTo>
                    <a:lnTo>
                      <a:pt x="162" y="262"/>
                    </a:lnTo>
                    <a:lnTo>
                      <a:pt x="158" y="242"/>
                    </a:lnTo>
                    <a:lnTo>
                      <a:pt x="172" y="242"/>
                    </a:lnTo>
                    <a:lnTo>
                      <a:pt x="175" y="237"/>
                    </a:lnTo>
                    <a:lnTo>
                      <a:pt x="165" y="232"/>
                    </a:lnTo>
                    <a:lnTo>
                      <a:pt x="162" y="219"/>
                    </a:lnTo>
                    <a:lnTo>
                      <a:pt x="179" y="219"/>
                    </a:lnTo>
                    <a:lnTo>
                      <a:pt x="195" y="219"/>
                    </a:lnTo>
                    <a:lnTo>
                      <a:pt x="192" y="216"/>
                    </a:lnTo>
                    <a:lnTo>
                      <a:pt x="196" y="219"/>
                    </a:lnTo>
                    <a:lnTo>
                      <a:pt x="207" y="211"/>
                    </a:lnTo>
                    <a:lnTo>
                      <a:pt x="213" y="229"/>
                    </a:lnTo>
                    <a:lnTo>
                      <a:pt x="217" y="229"/>
                    </a:lnTo>
                    <a:lnTo>
                      <a:pt x="212" y="214"/>
                    </a:lnTo>
                    <a:lnTo>
                      <a:pt x="203" y="196"/>
                    </a:lnTo>
                    <a:lnTo>
                      <a:pt x="209" y="188"/>
                    </a:lnTo>
                    <a:lnTo>
                      <a:pt x="200" y="163"/>
                    </a:lnTo>
                    <a:lnTo>
                      <a:pt x="204" y="145"/>
                    </a:lnTo>
                    <a:lnTo>
                      <a:pt x="209" y="128"/>
                    </a:lnTo>
                    <a:lnTo>
                      <a:pt x="193" y="128"/>
                    </a:lnTo>
                    <a:lnTo>
                      <a:pt x="178" y="128"/>
                    </a:lnTo>
                    <a:lnTo>
                      <a:pt x="161" y="111"/>
                    </a:lnTo>
                    <a:lnTo>
                      <a:pt x="148" y="110"/>
                    </a:lnTo>
                    <a:lnTo>
                      <a:pt x="135" y="110"/>
                    </a:lnTo>
                    <a:lnTo>
                      <a:pt x="121" y="103"/>
                    </a:lnTo>
                    <a:lnTo>
                      <a:pt x="121" y="88"/>
                    </a:lnTo>
                    <a:lnTo>
                      <a:pt x="111" y="67"/>
                    </a:lnTo>
                    <a:lnTo>
                      <a:pt x="104" y="65"/>
                    </a:lnTo>
                    <a:lnTo>
                      <a:pt x="111" y="48"/>
                    </a:lnTo>
                    <a:lnTo>
                      <a:pt x="122" y="30"/>
                    </a:lnTo>
                    <a:lnTo>
                      <a:pt x="131" y="14"/>
                    </a:lnTo>
                    <a:lnTo>
                      <a:pt x="145" y="10"/>
                    </a:lnTo>
                    <a:lnTo>
                      <a:pt x="145" y="0"/>
                    </a:lnTo>
                    <a:lnTo>
                      <a:pt x="135" y="2"/>
                    </a:lnTo>
                    <a:lnTo>
                      <a:pt x="119" y="10"/>
                    </a:lnTo>
                    <a:lnTo>
                      <a:pt x="102" y="24"/>
                    </a:lnTo>
                    <a:lnTo>
                      <a:pt x="91" y="2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59" name="Freeform 189">
                <a:extLst>
                  <a:ext uri="{FF2B5EF4-FFF2-40B4-BE49-F238E27FC236}">
                    <a16:creationId xmlns:a16="http://schemas.microsoft.com/office/drawing/2014/main" id="{DC55B4C3-6A43-CFFA-DDCB-0F550F4A86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7" y="3568"/>
                <a:ext cx="38" cy="65"/>
              </a:xfrm>
              <a:custGeom>
                <a:avLst/>
                <a:gdLst>
                  <a:gd name="T0" fmla="*/ 30 w 87"/>
                  <a:gd name="T1" fmla="*/ 47 h 147"/>
                  <a:gd name="T2" fmla="*/ 26 w 87"/>
                  <a:gd name="T3" fmla="*/ 42 h 147"/>
                  <a:gd name="T4" fmla="*/ 27 w 87"/>
                  <a:gd name="T5" fmla="*/ 34 h 147"/>
                  <a:gd name="T6" fmla="*/ 31 w 87"/>
                  <a:gd name="T7" fmla="*/ 32 h 147"/>
                  <a:gd name="T8" fmla="*/ 32 w 87"/>
                  <a:gd name="T9" fmla="*/ 27 h 147"/>
                  <a:gd name="T10" fmla="*/ 31 w 87"/>
                  <a:gd name="T11" fmla="*/ 20 h 147"/>
                  <a:gd name="T12" fmla="*/ 22 w 87"/>
                  <a:gd name="T13" fmla="*/ 15 h 147"/>
                  <a:gd name="T14" fmla="*/ 22 w 87"/>
                  <a:gd name="T15" fmla="*/ 18 h 147"/>
                  <a:gd name="T16" fmla="*/ 22 w 87"/>
                  <a:gd name="T17" fmla="*/ 9 h 147"/>
                  <a:gd name="T18" fmla="*/ 17 w 87"/>
                  <a:gd name="T19" fmla="*/ 5 h 147"/>
                  <a:gd name="T20" fmla="*/ 12 w 87"/>
                  <a:gd name="T21" fmla="*/ 1 h 147"/>
                  <a:gd name="T22" fmla="*/ 14 w 87"/>
                  <a:gd name="T23" fmla="*/ 2 h 147"/>
                  <a:gd name="T24" fmla="*/ 12 w 87"/>
                  <a:gd name="T25" fmla="*/ 0 h 147"/>
                  <a:gd name="T26" fmla="*/ 12 w 87"/>
                  <a:gd name="T27" fmla="*/ 2 h 147"/>
                  <a:gd name="T28" fmla="*/ 6 w 87"/>
                  <a:gd name="T29" fmla="*/ 9 h 147"/>
                  <a:gd name="T30" fmla="*/ 8 w 87"/>
                  <a:gd name="T31" fmla="*/ 12 h 147"/>
                  <a:gd name="T32" fmla="*/ 2 w 87"/>
                  <a:gd name="T33" fmla="*/ 16 h 147"/>
                  <a:gd name="T34" fmla="*/ 0 w 87"/>
                  <a:gd name="T35" fmla="*/ 23 h 147"/>
                  <a:gd name="T36" fmla="*/ 4 w 87"/>
                  <a:gd name="T37" fmla="*/ 29 h 147"/>
                  <a:gd name="T38" fmla="*/ 9 w 87"/>
                  <a:gd name="T39" fmla="*/ 29 h 147"/>
                  <a:gd name="T40" fmla="*/ 10 w 87"/>
                  <a:gd name="T41" fmla="*/ 34 h 147"/>
                  <a:gd name="T42" fmla="*/ 12 w 87"/>
                  <a:gd name="T43" fmla="*/ 39 h 147"/>
                  <a:gd name="T44" fmla="*/ 11 w 87"/>
                  <a:gd name="T45" fmla="*/ 48 h 147"/>
                  <a:gd name="T46" fmla="*/ 12 w 87"/>
                  <a:gd name="T47" fmla="*/ 58 h 147"/>
                  <a:gd name="T48" fmla="*/ 17 w 87"/>
                  <a:gd name="T49" fmla="*/ 65 h 147"/>
                  <a:gd name="T50" fmla="*/ 22 w 87"/>
                  <a:gd name="T51" fmla="*/ 65 h 147"/>
                  <a:gd name="T52" fmla="*/ 29 w 87"/>
                  <a:gd name="T53" fmla="*/ 61 h 147"/>
                  <a:gd name="T54" fmla="*/ 38 w 87"/>
                  <a:gd name="T55" fmla="*/ 59 h 147"/>
                  <a:gd name="T56" fmla="*/ 34 w 87"/>
                  <a:gd name="T57" fmla="*/ 53 h 147"/>
                  <a:gd name="T58" fmla="*/ 30 w 87"/>
                  <a:gd name="T59" fmla="*/ 47 h 14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87" h="147">
                    <a:moveTo>
                      <a:pt x="68" y="106"/>
                    </a:moveTo>
                    <a:lnTo>
                      <a:pt x="59" y="94"/>
                    </a:lnTo>
                    <a:lnTo>
                      <a:pt x="62" y="76"/>
                    </a:lnTo>
                    <a:lnTo>
                      <a:pt x="70" y="73"/>
                    </a:lnTo>
                    <a:lnTo>
                      <a:pt x="73" y="61"/>
                    </a:lnTo>
                    <a:lnTo>
                      <a:pt x="71" y="46"/>
                    </a:lnTo>
                    <a:lnTo>
                      <a:pt x="51" y="33"/>
                    </a:lnTo>
                    <a:lnTo>
                      <a:pt x="50" y="41"/>
                    </a:lnTo>
                    <a:lnTo>
                      <a:pt x="51" y="20"/>
                    </a:lnTo>
                    <a:lnTo>
                      <a:pt x="40" y="11"/>
                    </a:lnTo>
                    <a:lnTo>
                      <a:pt x="28" y="2"/>
                    </a:lnTo>
                    <a:lnTo>
                      <a:pt x="33" y="5"/>
                    </a:lnTo>
                    <a:lnTo>
                      <a:pt x="27" y="0"/>
                    </a:lnTo>
                    <a:lnTo>
                      <a:pt x="28" y="5"/>
                    </a:lnTo>
                    <a:lnTo>
                      <a:pt x="13" y="20"/>
                    </a:lnTo>
                    <a:lnTo>
                      <a:pt x="19" y="28"/>
                    </a:lnTo>
                    <a:lnTo>
                      <a:pt x="5" y="36"/>
                    </a:lnTo>
                    <a:lnTo>
                      <a:pt x="0" y="51"/>
                    </a:lnTo>
                    <a:lnTo>
                      <a:pt x="9" y="66"/>
                    </a:lnTo>
                    <a:lnTo>
                      <a:pt x="20" y="66"/>
                    </a:lnTo>
                    <a:lnTo>
                      <a:pt x="22" y="78"/>
                    </a:lnTo>
                    <a:lnTo>
                      <a:pt x="28" y="89"/>
                    </a:lnTo>
                    <a:lnTo>
                      <a:pt x="25" y="108"/>
                    </a:lnTo>
                    <a:lnTo>
                      <a:pt x="27" y="131"/>
                    </a:lnTo>
                    <a:lnTo>
                      <a:pt x="39" y="147"/>
                    </a:lnTo>
                    <a:lnTo>
                      <a:pt x="50" y="147"/>
                    </a:lnTo>
                    <a:lnTo>
                      <a:pt x="67" y="137"/>
                    </a:lnTo>
                    <a:lnTo>
                      <a:pt x="87" y="134"/>
                    </a:lnTo>
                    <a:lnTo>
                      <a:pt x="78" y="119"/>
                    </a:lnTo>
                    <a:lnTo>
                      <a:pt x="68" y="10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60" name="Freeform 190">
                <a:extLst>
                  <a:ext uri="{FF2B5EF4-FFF2-40B4-BE49-F238E27FC236}">
                    <a16:creationId xmlns:a16="http://schemas.microsoft.com/office/drawing/2014/main" id="{E4858E45-FF61-7326-860A-FE3AB04480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4" y="3591"/>
                <a:ext cx="31" cy="37"/>
              </a:xfrm>
              <a:custGeom>
                <a:avLst/>
                <a:gdLst>
                  <a:gd name="T0" fmla="*/ 4 w 71"/>
                  <a:gd name="T1" fmla="*/ 23 h 85"/>
                  <a:gd name="T2" fmla="*/ 0 w 71"/>
                  <a:gd name="T3" fmla="*/ 18 h 85"/>
                  <a:gd name="T4" fmla="*/ 1 w 71"/>
                  <a:gd name="T5" fmla="*/ 10 h 85"/>
                  <a:gd name="T6" fmla="*/ 5 w 71"/>
                  <a:gd name="T7" fmla="*/ 9 h 85"/>
                  <a:gd name="T8" fmla="*/ 6 w 71"/>
                  <a:gd name="T9" fmla="*/ 4 h 85"/>
                  <a:gd name="T10" fmla="*/ 8 w 71"/>
                  <a:gd name="T11" fmla="*/ 0 h 85"/>
                  <a:gd name="T12" fmla="*/ 17 w 71"/>
                  <a:gd name="T13" fmla="*/ 1 h 85"/>
                  <a:gd name="T14" fmla="*/ 24 w 71"/>
                  <a:gd name="T15" fmla="*/ 1 h 85"/>
                  <a:gd name="T16" fmla="*/ 23 w 71"/>
                  <a:gd name="T17" fmla="*/ 0 h 85"/>
                  <a:gd name="T18" fmla="*/ 31 w 71"/>
                  <a:gd name="T19" fmla="*/ 1 h 85"/>
                  <a:gd name="T20" fmla="*/ 31 w 71"/>
                  <a:gd name="T21" fmla="*/ 5 h 85"/>
                  <a:gd name="T22" fmla="*/ 28 w 71"/>
                  <a:gd name="T23" fmla="*/ 13 h 85"/>
                  <a:gd name="T24" fmla="*/ 31 w 71"/>
                  <a:gd name="T25" fmla="*/ 24 h 85"/>
                  <a:gd name="T26" fmla="*/ 26 w 71"/>
                  <a:gd name="T27" fmla="*/ 33 h 85"/>
                  <a:gd name="T28" fmla="*/ 22 w 71"/>
                  <a:gd name="T29" fmla="*/ 30 h 85"/>
                  <a:gd name="T30" fmla="*/ 15 w 71"/>
                  <a:gd name="T31" fmla="*/ 33 h 85"/>
                  <a:gd name="T32" fmla="*/ 15 w 71"/>
                  <a:gd name="T33" fmla="*/ 37 h 85"/>
                  <a:gd name="T34" fmla="*/ 12 w 71"/>
                  <a:gd name="T35" fmla="*/ 36 h 85"/>
                  <a:gd name="T36" fmla="*/ 8 w 71"/>
                  <a:gd name="T37" fmla="*/ 30 h 85"/>
                  <a:gd name="T38" fmla="*/ 4 w 71"/>
                  <a:gd name="T39" fmla="*/ 23 h 8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71" h="85">
                    <a:moveTo>
                      <a:pt x="9" y="53"/>
                    </a:moveTo>
                    <a:lnTo>
                      <a:pt x="0" y="42"/>
                    </a:lnTo>
                    <a:lnTo>
                      <a:pt x="2" y="23"/>
                    </a:lnTo>
                    <a:lnTo>
                      <a:pt x="11" y="20"/>
                    </a:lnTo>
                    <a:lnTo>
                      <a:pt x="14" y="9"/>
                    </a:lnTo>
                    <a:lnTo>
                      <a:pt x="19" y="0"/>
                    </a:lnTo>
                    <a:lnTo>
                      <a:pt x="39" y="2"/>
                    </a:lnTo>
                    <a:lnTo>
                      <a:pt x="56" y="2"/>
                    </a:lnTo>
                    <a:lnTo>
                      <a:pt x="53" y="0"/>
                    </a:lnTo>
                    <a:lnTo>
                      <a:pt x="71" y="2"/>
                    </a:lnTo>
                    <a:lnTo>
                      <a:pt x="70" y="12"/>
                    </a:lnTo>
                    <a:lnTo>
                      <a:pt x="65" y="30"/>
                    </a:lnTo>
                    <a:lnTo>
                      <a:pt x="70" y="55"/>
                    </a:lnTo>
                    <a:lnTo>
                      <a:pt x="60" y="75"/>
                    </a:lnTo>
                    <a:lnTo>
                      <a:pt x="50" y="70"/>
                    </a:lnTo>
                    <a:lnTo>
                      <a:pt x="34" y="75"/>
                    </a:lnTo>
                    <a:lnTo>
                      <a:pt x="34" y="85"/>
                    </a:lnTo>
                    <a:lnTo>
                      <a:pt x="28" y="83"/>
                    </a:lnTo>
                    <a:lnTo>
                      <a:pt x="19" y="68"/>
                    </a:lnTo>
                    <a:lnTo>
                      <a:pt x="9" y="5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61" name="Freeform 191">
                <a:extLst>
                  <a:ext uri="{FF2B5EF4-FFF2-40B4-BE49-F238E27FC236}">
                    <a16:creationId xmlns:a16="http://schemas.microsoft.com/office/drawing/2014/main" id="{F2128AE9-9F9D-1EAA-F25F-1992B4FD8B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5" y="3548"/>
                <a:ext cx="7" cy="5"/>
              </a:xfrm>
              <a:custGeom>
                <a:avLst/>
                <a:gdLst>
                  <a:gd name="T0" fmla="*/ 2 w 15"/>
                  <a:gd name="T1" fmla="*/ 0 h 14"/>
                  <a:gd name="T2" fmla="*/ 7 w 15"/>
                  <a:gd name="T3" fmla="*/ 0 h 14"/>
                  <a:gd name="T4" fmla="*/ 5 w 15"/>
                  <a:gd name="T5" fmla="*/ 5 h 14"/>
                  <a:gd name="T6" fmla="*/ 0 w 15"/>
                  <a:gd name="T7" fmla="*/ 4 h 14"/>
                  <a:gd name="T8" fmla="*/ 3 w 15"/>
                  <a:gd name="T9" fmla="*/ 1 h 14"/>
                  <a:gd name="T10" fmla="*/ 2 w 15"/>
                  <a:gd name="T11" fmla="*/ 0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14">
                    <a:moveTo>
                      <a:pt x="5" y="0"/>
                    </a:moveTo>
                    <a:lnTo>
                      <a:pt x="15" y="0"/>
                    </a:lnTo>
                    <a:lnTo>
                      <a:pt x="11" y="14"/>
                    </a:lnTo>
                    <a:lnTo>
                      <a:pt x="0" y="12"/>
                    </a:lnTo>
                    <a:lnTo>
                      <a:pt x="6" y="4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62" name="Freeform 192">
                <a:extLst>
                  <a:ext uri="{FF2B5EF4-FFF2-40B4-BE49-F238E27FC236}">
                    <a16:creationId xmlns:a16="http://schemas.microsoft.com/office/drawing/2014/main" id="{28C89566-D296-44D2-FEA6-6F64CEA0E8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2" y="3535"/>
                <a:ext cx="108" cy="103"/>
              </a:xfrm>
              <a:custGeom>
                <a:avLst/>
                <a:gdLst>
                  <a:gd name="T0" fmla="*/ 89 w 244"/>
                  <a:gd name="T1" fmla="*/ 21 h 235"/>
                  <a:gd name="T2" fmla="*/ 85 w 244"/>
                  <a:gd name="T3" fmla="*/ 19 h 235"/>
                  <a:gd name="T4" fmla="*/ 83 w 244"/>
                  <a:gd name="T5" fmla="*/ 17 h 235"/>
                  <a:gd name="T6" fmla="*/ 83 w 244"/>
                  <a:gd name="T7" fmla="*/ 14 h 235"/>
                  <a:gd name="T8" fmla="*/ 78 w 244"/>
                  <a:gd name="T9" fmla="*/ 15 h 235"/>
                  <a:gd name="T10" fmla="*/ 59 w 244"/>
                  <a:gd name="T11" fmla="*/ 15 h 235"/>
                  <a:gd name="T12" fmla="*/ 44 w 244"/>
                  <a:gd name="T13" fmla="*/ 16 h 235"/>
                  <a:gd name="T14" fmla="*/ 32 w 244"/>
                  <a:gd name="T15" fmla="*/ 6 h 235"/>
                  <a:gd name="T16" fmla="*/ 27 w 244"/>
                  <a:gd name="T17" fmla="*/ 4 h 235"/>
                  <a:gd name="T18" fmla="*/ 29 w 244"/>
                  <a:gd name="T19" fmla="*/ 7 h 235"/>
                  <a:gd name="T20" fmla="*/ 16 w 244"/>
                  <a:gd name="T21" fmla="*/ 13 h 235"/>
                  <a:gd name="T22" fmla="*/ 15 w 244"/>
                  <a:gd name="T23" fmla="*/ 28 h 235"/>
                  <a:gd name="T24" fmla="*/ 15 w 244"/>
                  <a:gd name="T25" fmla="*/ 14 h 235"/>
                  <a:gd name="T26" fmla="*/ 18 w 244"/>
                  <a:gd name="T27" fmla="*/ 3 h 235"/>
                  <a:gd name="T28" fmla="*/ 8 w 244"/>
                  <a:gd name="T29" fmla="*/ 12 h 235"/>
                  <a:gd name="T30" fmla="*/ 0 w 244"/>
                  <a:gd name="T31" fmla="*/ 28 h 235"/>
                  <a:gd name="T32" fmla="*/ 8 w 244"/>
                  <a:gd name="T33" fmla="*/ 38 h 235"/>
                  <a:gd name="T34" fmla="*/ 14 w 244"/>
                  <a:gd name="T35" fmla="*/ 46 h 235"/>
                  <a:gd name="T36" fmla="*/ 26 w 244"/>
                  <a:gd name="T37" fmla="*/ 47 h 235"/>
                  <a:gd name="T38" fmla="*/ 39 w 244"/>
                  <a:gd name="T39" fmla="*/ 54 h 235"/>
                  <a:gd name="T40" fmla="*/ 44 w 244"/>
                  <a:gd name="T41" fmla="*/ 62 h 235"/>
                  <a:gd name="T42" fmla="*/ 46 w 244"/>
                  <a:gd name="T43" fmla="*/ 81 h 235"/>
                  <a:gd name="T44" fmla="*/ 48 w 244"/>
                  <a:gd name="T45" fmla="*/ 92 h 235"/>
                  <a:gd name="T46" fmla="*/ 57 w 244"/>
                  <a:gd name="T47" fmla="*/ 102 h 235"/>
                  <a:gd name="T48" fmla="*/ 62 w 244"/>
                  <a:gd name="T49" fmla="*/ 103 h 235"/>
                  <a:gd name="T50" fmla="*/ 77 w 244"/>
                  <a:gd name="T51" fmla="*/ 91 h 235"/>
                  <a:gd name="T52" fmla="*/ 73 w 244"/>
                  <a:gd name="T53" fmla="*/ 86 h 235"/>
                  <a:gd name="T54" fmla="*/ 68 w 244"/>
                  <a:gd name="T55" fmla="*/ 72 h 235"/>
                  <a:gd name="T56" fmla="*/ 83 w 244"/>
                  <a:gd name="T57" fmla="*/ 77 h 235"/>
                  <a:gd name="T58" fmla="*/ 92 w 244"/>
                  <a:gd name="T59" fmla="*/ 70 h 235"/>
                  <a:gd name="T60" fmla="*/ 100 w 244"/>
                  <a:gd name="T61" fmla="*/ 64 h 235"/>
                  <a:gd name="T62" fmla="*/ 96 w 244"/>
                  <a:gd name="T63" fmla="*/ 56 h 235"/>
                  <a:gd name="T64" fmla="*/ 104 w 244"/>
                  <a:gd name="T65" fmla="*/ 46 h 235"/>
                  <a:gd name="T66" fmla="*/ 108 w 244"/>
                  <a:gd name="T67" fmla="*/ 36 h 235"/>
                  <a:gd name="T68" fmla="*/ 99 w 244"/>
                  <a:gd name="T69" fmla="*/ 32 h 235"/>
                  <a:gd name="T70" fmla="*/ 96 w 244"/>
                  <a:gd name="T71" fmla="*/ 32 h 235"/>
                  <a:gd name="T72" fmla="*/ 100 w 244"/>
                  <a:gd name="T73" fmla="*/ 26 h 235"/>
                  <a:gd name="T74" fmla="*/ 92 w 244"/>
                  <a:gd name="T75" fmla="*/ 22 h 235"/>
                  <a:gd name="T76" fmla="*/ 89 w 244"/>
                  <a:gd name="T77" fmla="*/ 22 h 23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244" h="235">
                    <a:moveTo>
                      <a:pt x="202" y="51"/>
                    </a:moveTo>
                    <a:lnTo>
                      <a:pt x="202" y="48"/>
                    </a:lnTo>
                    <a:lnTo>
                      <a:pt x="198" y="44"/>
                    </a:lnTo>
                    <a:lnTo>
                      <a:pt x="191" y="44"/>
                    </a:lnTo>
                    <a:lnTo>
                      <a:pt x="195" y="44"/>
                    </a:lnTo>
                    <a:lnTo>
                      <a:pt x="188" y="39"/>
                    </a:lnTo>
                    <a:lnTo>
                      <a:pt x="207" y="31"/>
                    </a:lnTo>
                    <a:lnTo>
                      <a:pt x="188" y="31"/>
                    </a:lnTo>
                    <a:lnTo>
                      <a:pt x="168" y="33"/>
                    </a:lnTo>
                    <a:lnTo>
                      <a:pt x="176" y="34"/>
                    </a:lnTo>
                    <a:lnTo>
                      <a:pt x="156" y="43"/>
                    </a:lnTo>
                    <a:lnTo>
                      <a:pt x="133" y="34"/>
                    </a:lnTo>
                    <a:lnTo>
                      <a:pt x="116" y="34"/>
                    </a:lnTo>
                    <a:lnTo>
                      <a:pt x="99" y="36"/>
                    </a:lnTo>
                    <a:lnTo>
                      <a:pt x="92" y="21"/>
                    </a:lnTo>
                    <a:lnTo>
                      <a:pt x="72" y="13"/>
                    </a:lnTo>
                    <a:lnTo>
                      <a:pt x="66" y="0"/>
                    </a:lnTo>
                    <a:lnTo>
                      <a:pt x="60" y="8"/>
                    </a:lnTo>
                    <a:lnTo>
                      <a:pt x="68" y="13"/>
                    </a:lnTo>
                    <a:lnTo>
                      <a:pt x="65" y="16"/>
                    </a:lnTo>
                    <a:lnTo>
                      <a:pt x="41" y="24"/>
                    </a:lnTo>
                    <a:lnTo>
                      <a:pt x="37" y="29"/>
                    </a:lnTo>
                    <a:lnTo>
                      <a:pt x="41" y="54"/>
                    </a:lnTo>
                    <a:lnTo>
                      <a:pt x="35" y="64"/>
                    </a:lnTo>
                    <a:lnTo>
                      <a:pt x="24" y="51"/>
                    </a:lnTo>
                    <a:lnTo>
                      <a:pt x="35" y="33"/>
                    </a:lnTo>
                    <a:lnTo>
                      <a:pt x="27" y="16"/>
                    </a:lnTo>
                    <a:lnTo>
                      <a:pt x="41" y="6"/>
                    </a:lnTo>
                    <a:lnTo>
                      <a:pt x="27" y="11"/>
                    </a:lnTo>
                    <a:lnTo>
                      <a:pt x="18" y="28"/>
                    </a:lnTo>
                    <a:lnTo>
                      <a:pt x="7" y="46"/>
                    </a:lnTo>
                    <a:lnTo>
                      <a:pt x="0" y="63"/>
                    </a:lnTo>
                    <a:lnTo>
                      <a:pt x="7" y="63"/>
                    </a:lnTo>
                    <a:lnTo>
                      <a:pt x="17" y="86"/>
                    </a:lnTo>
                    <a:lnTo>
                      <a:pt x="17" y="99"/>
                    </a:lnTo>
                    <a:lnTo>
                      <a:pt x="31" y="106"/>
                    </a:lnTo>
                    <a:lnTo>
                      <a:pt x="44" y="106"/>
                    </a:lnTo>
                    <a:lnTo>
                      <a:pt x="58" y="107"/>
                    </a:lnTo>
                    <a:lnTo>
                      <a:pt x="74" y="124"/>
                    </a:lnTo>
                    <a:lnTo>
                      <a:pt x="89" y="124"/>
                    </a:lnTo>
                    <a:lnTo>
                      <a:pt x="105" y="124"/>
                    </a:lnTo>
                    <a:lnTo>
                      <a:pt x="100" y="141"/>
                    </a:lnTo>
                    <a:lnTo>
                      <a:pt x="96" y="159"/>
                    </a:lnTo>
                    <a:lnTo>
                      <a:pt x="105" y="184"/>
                    </a:lnTo>
                    <a:lnTo>
                      <a:pt x="99" y="192"/>
                    </a:lnTo>
                    <a:lnTo>
                      <a:pt x="108" y="210"/>
                    </a:lnTo>
                    <a:lnTo>
                      <a:pt x="113" y="225"/>
                    </a:lnTo>
                    <a:lnTo>
                      <a:pt x="128" y="233"/>
                    </a:lnTo>
                    <a:lnTo>
                      <a:pt x="137" y="233"/>
                    </a:lnTo>
                    <a:lnTo>
                      <a:pt x="140" y="235"/>
                    </a:lnTo>
                    <a:lnTo>
                      <a:pt x="157" y="222"/>
                    </a:lnTo>
                    <a:lnTo>
                      <a:pt x="174" y="207"/>
                    </a:lnTo>
                    <a:lnTo>
                      <a:pt x="178" y="202"/>
                    </a:lnTo>
                    <a:lnTo>
                      <a:pt x="165" y="197"/>
                    </a:lnTo>
                    <a:lnTo>
                      <a:pt x="161" y="174"/>
                    </a:lnTo>
                    <a:lnTo>
                      <a:pt x="154" y="164"/>
                    </a:lnTo>
                    <a:lnTo>
                      <a:pt x="171" y="169"/>
                    </a:lnTo>
                    <a:lnTo>
                      <a:pt x="188" y="175"/>
                    </a:lnTo>
                    <a:lnTo>
                      <a:pt x="191" y="169"/>
                    </a:lnTo>
                    <a:lnTo>
                      <a:pt x="207" y="160"/>
                    </a:lnTo>
                    <a:lnTo>
                      <a:pt x="222" y="155"/>
                    </a:lnTo>
                    <a:lnTo>
                      <a:pt x="225" y="146"/>
                    </a:lnTo>
                    <a:lnTo>
                      <a:pt x="225" y="142"/>
                    </a:lnTo>
                    <a:lnTo>
                      <a:pt x="216" y="127"/>
                    </a:lnTo>
                    <a:lnTo>
                      <a:pt x="221" y="112"/>
                    </a:lnTo>
                    <a:lnTo>
                      <a:pt x="235" y="104"/>
                    </a:lnTo>
                    <a:lnTo>
                      <a:pt x="229" y="96"/>
                    </a:lnTo>
                    <a:lnTo>
                      <a:pt x="244" y="81"/>
                    </a:lnTo>
                    <a:lnTo>
                      <a:pt x="243" y="76"/>
                    </a:lnTo>
                    <a:lnTo>
                      <a:pt x="224" y="74"/>
                    </a:lnTo>
                    <a:lnTo>
                      <a:pt x="212" y="74"/>
                    </a:lnTo>
                    <a:lnTo>
                      <a:pt x="216" y="73"/>
                    </a:lnTo>
                    <a:lnTo>
                      <a:pt x="222" y="64"/>
                    </a:lnTo>
                    <a:lnTo>
                      <a:pt x="225" y="59"/>
                    </a:lnTo>
                    <a:lnTo>
                      <a:pt x="216" y="49"/>
                    </a:lnTo>
                    <a:lnTo>
                      <a:pt x="208" y="51"/>
                    </a:lnTo>
                    <a:lnTo>
                      <a:pt x="202" y="48"/>
                    </a:lnTo>
                    <a:lnTo>
                      <a:pt x="202" y="5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63" name="Freeform 193">
                <a:extLst>
                  <a:ext uri="{FF2B5EF4-FFF2-40B4-BE49-F238E27FC236}">
                    <a16:creationId xmlns:a16="http://schemas.microsoft.com/office/drawing/2014/main" id="{2EA65BDA-6FCD-8B67-F06E-929F6BFECB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2" y="3436"/>
                <a:ext cx="82" cy="28"/>
              </a:xfrm>
              <a:custGeom>
                <a:avLst/>
                <a:gdLst>
                  <a:gd name="T0" fmla="*/ 58 w 184"/>
                  <a:gd name="T1" fmla="*/ 12 h 65"/>
                  <a:gd name="T2" fmla="*/ 58 w 184"/>
                  <a:gd name="T3" fmla="*/ 12 h 65"/>
                  <a:gd name="T4" fmla="*/ 50 w 184"/>
                  <a:gd name="T5" fmla="*/ 8 h 65"/>
                  <a:gd name="T6" fmla="*/ 42 w 184"/>
                  <a:gd name="T7" fmla="*/ 4 h 65"/>
                  <a:gd name="T8" fmla="*/ 36 w 184"/>
                  <a:gd name="T9" fmla="*/ 2 h 65"/>
                  <a:gd name="T10" fmla="*/ 30 w 184"/>
                  <a:gd name="T11" fmla="*/ 0 h 65"/>
                  <a:gd name="T12" fmla="*/ 28 w 184"/>
                  <a:gd name="T13" fmla="*/ 0 h 65"/>
                  <a:gd name="T14" fmla="*/ 18 w 184"/>
                  <a:gd name="T15" fmla="*/ 2 h 65"/>
                  <a:gd name="T16" fmla="*/ 8 w 184"/>
                  <a:gd name="T17" fmla="*/ 3 h 65"/>
                  <a:gd name="T18" fmla="*/ 4 w 184"/>
                  <a:gd name="T19" fmla="*/ 9 h 65"/>
                  <a:gd name="T20" fmla="*/ 0 w 184"/>
                  <a:gd name="T21" fmla="*/ 12 h 65"/>
                  <a:gd name="T22" fmla="*/ 4 w 184"/>
                  <a:gd name="T23" fmla="*/ 10 h 65"/>
                  <a:gd name="T24" fmla="*/ 10 w 184"/>
                  <a:gd name="T25" fmla="*/ 8 h 65"/>
                  <a:gd name="T26" fmla="*/ 16 w 184"/>
                  <a:gd name="T27" fmla="*/ 6 h 65"/>
                  <a:gd name="T28" fmla="*/ 26 w 184"/>
                  <a:gd name="T29" fmla="*/ 4 h 65"/>
                  <a:gd name="T30" fmla="*/ 22 w 184"/>
                  <a:gd name="T31" fmla="*/ 6 h 65"/>
                  <a:gd name="T32" fmla="*/ 30 w 184"/>
                  <a:gd name="T33" fmla="*/ 8 h 65"/>
                  <a:gd name="T34" fmla="*/ 34 w 184"/>
                  <a:gd name="T35" fmla="*/ 9 h 65"/>
                  <a:gd name="T36" fmla="*/ 36 w 184"/>
                  <a:gd name="T37" fmla="*/ 10 h 65"/>
                  <a:gd name="T38" fmla="*/ 47 w 184"/>
                  <a:gd name="T39" fmla="*/ 14 h 65"/>
                  <a:gd name="T40" fmla="*/ 49 w 184"/>
                  <a:gd name="T41" fmla="*/ 18 h 65"/>
                  <a:gd name="T42" fmla="*/ 59 w 184"/>
                  <a:gd name="T43" fmla="*/ 23 h 65"/>
                  <a:gd name="T44" fmla="*/ 54 w 184"/>
                  <a:gd name="T45" fmla="*/ 28 h 65"/>
                  <a:gd name="T46" fmla="*/ 62 w 184"/>
                  <a:gd name="T47" fmla="*/ 28 h 65"/>
                  <a:gd name="T48" fmla="*/ 70 w 184"/>
                  <a:gd name="T49" fmla="*/ 27 h 65"/>
                  <a:gd name="T50" fmla="*/ 76 w 184"/>
                  <a:gd name="T51" fmla="*/ 27 h 65"/>
                  <a:gd name="T52" fmla="*/ 82 w 184"/>
                  <a:gd name="T53" fmla="*/ 26 h 65"/>
                  <a:gd name="T54" fmla="*/ 77 w 184"/>
                  <a:gd name="T55" fmla="*/ 23 h 65"/>
                  <a:gd name="T56" fmla="*/ 71 w 184"/>
                  <a:gd name="T57" fmla="*/ 20 h 65"/>
                  <a:gd name="T58" fmla="*/ 71 w 184"/>
                  <a:gd name="T59" fmla="*/ 18 h 65"/>
                  <a:gd name="T60" fmla="*/ 65 w 184"/>
                  <a:gd name="T61" fmla="*/ 15 h 65"/>
                  <a:gd name="T62" fmla="*/ 59 w 184"/>
                  <a:gd name="T63" fmla="*/ 14 h 65"/>
                  <a:gd name="T64" fmla="*/ 58 w 184"/>
                  <a:gd name="T65" fmla="*/ 12 h 6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84" h="65">
                    <a:moveTo>
                      <a:pt x="130" y="27"/>
                    </a:moveTo>
                    <a:lnTo>
                      <a:pt x="130" y="27"/>
                    </a:lnTo>
                    <a:lnTo>
                      <a:pt x="113" y="18"/>
                    </a:lnTo>
                    <a:lnTo>
                      <a:pt x="94" y="10"/>
                    </a:lnTo>
                    <a:lnTo>
                      <a:pt x="81" y="5"/>
                    </a:lnTo>
                    <a:lnTo>
                      <a:pt x="68" y="0"/>
                    </a:lnTo>
                    <a:lnTo>
                      <a:pt x="62" y="0"/>
                    </a:lnTo>
                    <a:lnTo>
                      <a:pt x="40" y="5"/>
                    </a:lnTo>
                    <a:lnTo>
                      <a:pt x="19" y="8"/>
                    </a:lnTo>
                    <a:lnTo>
                      <a:pt x="9" y="20"/>
                    </a:lnTo>
                    <a:lnTo>
                      <a:pt x="0" y="27"/>
                    </a:lnTo>
                    <a:lnTo>
                      <a:pt x="8" y="23"/>
                    </a:lnTo>
                    <a:lnTo>
                      <a:pt x="22" y="18"/>
                    </a:lnTo>
                    <a:lnTo>
                      <a:pt x="36" y="13"/>
                    </a:lnTo>
                    <a:lnTo>
                      <a:pt x="59" y="10"/>
                    </a:lnTo>
                    <a:lnTo>
                      <a:pt x="50" y="13"/>
                    </a:lnTo>
                    <a:lnTo>
                      <a:pt x="67" y="18"/>
                    </a:lnTo>
                    <a:lnTo>
                      <a:pt x="76" y="22"/>
                    </a:lnTo>
                    <a:lnTo>
                      <a:pt x="81" y="23"/>
                    </a:lnTo>
                    <a:lnTo>
                      <a:pt x="105" y="32"/>
                    </a:lnTo>
                    <a:lnTo>
                      <a:pt x="110" y="42"/>
                    </a:lnTo>
                    <a:lnTo>
                      <a:pt x="132" y="53"/>
                    </a:lnTo>
                    <a:lnTo>
                      <a:pt x="122" y="65"/>
                    </a:lnTo>
                    <a:lnTo>
                      <a:pt x="139" y="65"/>
                    </a:lnTo>
                    <a:lnTo>
                      <a:pt x="156" y="63"/>
                    </a:lnTo>
                    <a:lnTo>
                      <a:pt x="170" y="63"/>
                    </a:lnTo>
                    <a:lnTo>
                      <a:pt x="184" y="60"/>
                    </a:lnTo>
                    <a:lnTo>
                      <a:pt x="173" y="53"/>
                    </a:lnTo>
                    <a:lnTo>
                      <a:pt x="159" y="47"/>
                    </a:lnTo>
                    <a:lnTo>
                      <a:pt x="159" y="42"/>
                    </a:lnTo>
                    <a:lnTo>
                      <a:pt x="146" y="35"/>
                    </a:lnTo>
                    <a:lnTo>
                      <a:pt x="133" y="32"/>
                    </a:lnTo>
                    <a:lnTo>
                      <a:pt x="130" y="2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64" name="Freeform 194">
                <a:extLst>
                  <a:ext uri="{FF2B5EF4-FFF2-40B4-BE49-F238E27FC236}">
                    <a16:creationId xmlns:a16="http://schemas.microsoft.com/office/drawing/2014/main" id="{9E08C6EE-E096-BD13-3770-593AAE48821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67" y="3478"/>
                <a:ext cx="1" cy="1"/>
              </a:xfrm>
              <a:custGeom>
                <a:avLst/>
                <a:gdLst>
                  <a:gd name="T0" fmla="*/ 1 w 3"/>
                  <a:gd name="T1" fmla="*/ 0 h 2"/>
                  <a:gd name="T2" fmla="*/ 0 w 3"/>
                  <a:gd name="T3" fmla="*/ 0 h 2"/>
                  <a:gd name="T4" fmla="*/ 0 w 3"/>
                  <a:gd name="T5" fmla="*/ 0 h 2"/>
                  <a:gd name="T6" fmla="*/ 0 w 3"/>
                  <a:gd name="T7" fmla="*/ 1 h 2"/>
                  <a:gd name="T8" fmla="*/ 0 w 3"/>
                  <a:gd name="T9" fmla="*/ 1 h 2"/>
                  <a:gd name="T10" fmla="*/ 0 w 3"/>
                  <a:gd name="T11" fmla="*/ 0 h 2"/>
                  <a:gd name="T12" fmla="*/ 1 w 3"/>
                  <a:gd name="T13" fmla="*/ 0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65" name="Freeform 195">
                <a:extLst>
                  <a:ext uri="{FF2B5EF4-FFF2-40B4-BE49-F238E27FC236}">
                    <a16:creationId xmlns:a16="http://schemas.microsoft.com/office/drawing/2014/main" id="{749E3CCA-45FF-5D42-3AC5-7FEDB45B74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0" y="3475"/>
                <a:ext cx="1" cy="1"/>
              </a:xfrm>
              <a:custGeom>
                <a:avLst/>
                <a:gdLst>
                  <a:gd name="T0" fmla="*/ 1 w 3"/>
                  <a:gd name="T1" fmla="*/ 1 h 1"/>
                  <a:gd name="T2" fmla="*/ 1 w 3"/>
                  <a:gd name="T3" fmla="*/ 1 h 1"/>
                  <a:gd name="T4" fmla="*/ 1 w 3"/>
                  <a:gd name="T5" fmla="*/ 0 h 1"/>
                  <a:gd name="T6" fmla="*/ 0 w 3"/>
                  <a:gd name="T7" fmla="*/ 0 h 1"/>
                  <a:gd name="T8" fmla="*/ 0 w 3"/>
                  <a:gd name="T9" fmla="*/ 1 h 1"/>
                  <a:gd name="T10" fmla="*/ 1 w 3"/>
                  <a:gd name="T11" fmla="*/ 1 h 1"/>
                  <a:gd name="T12" fmla="*/ 1 w 3"/>
                  <a:gd name="T13" fmla="*/ 1 h 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66" name="Freeform 196">
                <a:extLst>
                  <a:ext uri="{FF2B5EF4-FFF2-40B4-BE49-F238E27FC236}">
                    <a16:creationId xmlns:a16="http://schemas.microsoft.com/office/drawing/2014/main" id="{83E3609B-858C-4D0C-972C-758980F0E1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69" y="3477"/>
                <a:ext cx="2" cy="1"/>
              </a:xfrm>
              <a:custGeom>
                <a:avLst/>
                <a:gdLst>
                  <a:gd name="T0" fmla="*/ 2 w 4"/>
                  <a:gd name="T1" fmla="*/ 0 h 1"/>
                  <a:gd name="T2" fmla="*/ 1 w 4"/>
                  <a:gd name="T3" fmla="*/ 0 h 1"/>
                  <a:gd name="T4" fmla="*/ 1 w 4"/>
                  <a:gd name="T5" fmla="*/ 1 h 1"/>
                  <a:gd name="T6" fmla="*/ 0 w 4"/>
                  <a:gd name="T7" fmla="*/ 1 h 1"/>
                  <a:gd name="T8" fmla="*/ 1 w 4"/>
                  <a:gd name="T9" fmla="*/ 0 h 1"/>
                  <a:gd name="T10" fmla="*/ 2 w 4"/>
                  <a:gd name="T11" fmla="*/ 0 h 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" h="1">
                    <a:moveTo>
                      <a:pt x="4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67" name="Freeform 197">
                <a:extLst>
                  <a:ext uri="{FF2B5EF4-FFF2-40B4-BE49-F238E27FC236}">
                    <a16:creationId xmlns:a16="http://schemas.microsoft.com/office/drawing/2014/main" id="{7EAD31FA-C966-39BF-56A6-782D0FD8648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68" y="3479"/>
                <a:ext cx="1" cy="1"/>
              </a:xfrm>
              <a:custGeom>
                <a:avLst/>
                <a:gdLst>
                  <a:gd name="T0" fmla="*/ 1 w 2"/>
                  <a:gd name="T1" fmla="*/ 0 h 1"/>
                  <a:gd name="T2" fmla="*/ 0 w 2"/>
                  <a:gd name="T3" fmla="*/ 0 h 1"/>
                  <a:gd name="T4" fmla="*/ 0 w 2"/>
                  <a:gd name="T5" fmla="*/ 0 h 1"/>
                  <a:gd name="T6" fmla="*/ 0 w 2"/>
                  <a:gd name="T7" fmla="*/ 0 h 1"/>
                  <a:gd name="T8" fmla="*/ 1 w 2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68" name="Freeform 198">
                <a:extLst>
                  <a:ext uri="{FF2B5EF4-FFF2-40B4-BE49-F238E27FC236}">
                    <a16:creationId xmlns:a16="http://schemas.microsoft.com/office/drawing/2014/main" id="{6427D82B-EA15-1BA5-E3E1-0002A7A7B9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1" y="3466"/>
                <a:ext cx="27" cy="19"/>
              </a:xfrm>
              <a:custGeom>
                <a:avLst/>
                <a:gdLst>
                  <a:gd name="T0" fmla="*/ 2 w 64"/>
                  <a:gd name="T1" fmla="*/ 1 h 45"/>
                  <a:gd name="T2" fmla="*/ 1 w 64"/>
                  <a:gd name="T3" fmla="*/ 7 h 45"/>
                  <a:gd name="T4" fmla="*/ 0 w 64"/>
                  <a:gd name="T5" fmla="*/ 11 h 45"/>
                  <a:gd name="T6" fmla="*/ 1 w 64"/>
                  <a:gd name="T7" fmla="*/ 16 h 45"/>
                  <a:gd name="T8" fmla="*/ 3 w 64"/>
                  <a:gd name="T9" fmla="*/ 19 h 45"/>
                  <a:gd name="T10" fmla="*/ 6 w 64"/>
                  <a:gd name="T11" fmla="*/ 15 h 45"/>
                  <a:gd name="T12" fmla="*/ 11 w 64"/>
                  <a:gd name="T13" fmla="*/ 13 h 45"/>
                  <a:gd name="T14" fmla="*/ 14 w 64"/>
                  <a:gd name="T15" fmla="*/ 14 h 45"/>
                  <a:gd name="T16" fmla="*/ 24 w 64"/>
                  <a:gd name="T17" fmla="*/ 14 h 45"/>
                  <a:gd name="T18" fmla="*/ 27 w 64"/>
                  <a:gd name="T19" fmla="*/ 11 h 45"/>
                  <a:gd name="T20" fmla="*/ 19 w 64"/>
                  <a:gd name="T21" fmla="*/ 6 h 45"/>
                  <a:gd name="T22" fmla="*/ 20 w 64"/>
                  <a:gd name="T23" fmla="*/ 4 h 45"/>
                  <a:gd name="T24" fmla="*/ 16 w 64"/>
                  <a:gd name="T25" fmla="*/ 3 h 45"/>
                  <a:gd name="T26" fmla="*/ 6 w 64"/>
                  <a:gd name="T27" fmla="*/ 0 h 45"/>
                  <a:gd name="T28" fmla="*/ 2 w 64"/>
                  <a:gd name="T29" fmla="*/ 1 h 4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64" h="45">
                    <a:moveTo>
                      <a:pt x="5" y="2"/>
                    </a:moveTo>
                    <a:lnTo>
                      <a:pt x="3" y="17"/>
                    </a:lnTo>
                    <a:lnTo>
                      <a:pt x="0" y="25"/>
                    </a:lnTo>
                    <a:lnTo>
                      <a:pt x="2" y="37"/>
                    </a:lnTo>
                    <a:lnTo>
                      <a:pt x="8" y="45"/>
                    </a:lnTo>
                    <a:lnTo>
                      <a:pt x="14" y="35"/>
                    </a:lnTo>
                    <a:lnTo>
                      <a:pt x="25" y="30"/>
                    </a:lnTo>
                    <a:lnTo>
                      <a:pt x="33" y="32"/>
                    </a:lnTo>
                    <a:lnTo>
                      <a:pt x="56" y="33"/>
                    </a:lnTo>
                    <a:lnTo>
                      <a:pt x="64" y="25"/>
                    </a:lnTo>
                    <a:lnTo>
                      <a:pt x="44" y="15"/>
                    </a:lnTo>
                    <a:lnTo>
                      <a:pt x="48" y="10"/>
                    </a:lnTo>
                    <a:lnTo>
                      <a:pt x="38" y="7"/>
                    </a:lnTo>
                    <a:lnTo>
                      <a:pt x="14" y="0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69" name="Freeform 199">
                <a:extLst>
                  <a:ext uri="{FF2B5EF4-FFF2-40B4-BE49-F238E27FC236}">
                    <a16:creationId xmlns:a16="http://schemas.microsoft.com/office/drawing/2014/main" id="{360EBCB0-166D-9CA1-5062-5D72C70BFB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89" y="3466"/>
                <a:ext cx="23" cy="17"/>
              </a:xfrm>
              <a:custGeom>
                <a:avLst/>
                <a:gdLst>
                  <a:gd name="T0" fmla="*/ 23 w 51"/>
                  <a:gd name="T1" fmla="*/ 1 h 38"/>
                  <a:gd name="T2" fmla="*/ 22 w 51"/>
                  <a:gd name="T3" fmla="*/ 8 h 38"/>
                  <a:gd name="T4" fmla="*/ 21 w 51"/>
                  <a:gd name="T5" fmla="*/ 11 h 38"/>
                  <a:gd name="T6" fmla="*/ 21 w 51"/>
                  <a:gd name="T7" fmla="*/ 17 h 38"/>
                  <a:gd name="T8" fmla="*/ 13 w 51"/>
                  <a:gd name="T9" fmla="*/ 17 h 38"/>
                  <a:gd name="T10" fmla="*/ 5 w 51"/>
                  <a:gd name="T11" fmla="*/ 17 h 38"/>
                  <a:gd name="T12" fmla="*/ 0 w 51"/>
                  <a:gd name="T13" fmla="*/ 13 h 38"/>
                  <a:gd name="T14" fmla="*/ 4 w 51"/>
                  <a:gd name="T15" fmla="*/ 12 h 38"/>
                  <a:gd name="T16" fmla="*/ 10 w 51"/>
                  <a:gd name="T17" fmla="*/ 12 h 38"/>
                  <a:gd name="T18" fmla="*/ 18 w 51"/>
                  <a:gd name="T19" fmla="*/ 12 h 38"/>
                  <a:gd name="T20" fmla="*/ 14 w 51"/>
                  <a:gd name="T21" fmla="*/ 5 h 38"/>
                  <a:gd name="T22" fmla="*/ 11 w 51"/>
                  <a:gd name="T23" fmla="*/ 1 h 38"/>
                  <a:gd name="T24" fmla="*/ 10 w 51"/>
                  <a:gd name="T25" fmla="*/ 0 h 38"/>
                  <a:gd name="T26" fmla="*/ 19 w 51"/>
                  <a:gd name="T27" fmla="*/ 1 h 38"/>
                  <a:gd name="T28" fmla="*/ 23 w 51"/>
                  <a:gd name="T29" fmla="*/ 1 h 3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1" h="38">
                    <a:moveTo>
                      <a:pt x="51" y="2"/>
                    </a:moveTo>
                    <a:lnTo>
                      <a:pt x="49" y="18"/>
                    </a:lnTo>
                    <a:lnTo>
                      <a:pt x="46" y="25"/>
                    </a:lnTo>
                    <a:lnTo>
                      <a:pt x="46" y="38"/>
                    </a:lnTo>
                    <a:lnTo>
                      <a:pt x="29" y="37"/>
                    </a:lnTo>
                    <a:lnTo>
                      <a:pt x="12" y="37"/>
                    </a:lnTo>
                    <a:lnTo>
                      <a:pt x="0" y="30"/>
                    </a:lnTo>
                    <a:lnTo>
                      <a:pt x="9" y="27"/>
                    </a:lnTo>
                    <a:lnTo>
                      <a:pt x="23" y="27"/>
                    </a:lnTo>
                    <a:lnTo>
                      <a:pt x="39" y="27"/>
                    </a:lnTo>
                    <a:lnTo>
                      <a:pt x="32" y="12"/>
                    </a:lnTo>
                    <a:lnTo>
                      <a:pt x="25" y="3"/>
                    </a:lnTo>
                    <a:lnTo>
                      <a:pt x="23" y="0"/>
                    </a:lnTo>
                    <a:lnTo>
                      <a:pt x="42" y="2"/>
                    </a:lnTo>
                    <a:lnTo>
                      <a:pt x="51" y="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70" name="Freeform 200">
                <a:extLst>
                  <a:ext uri="{FF2B5EF4-FFF2-40B4-BE49-F238E27FC236}">
                    <a16:creationId xmlns:a16="http://schemas.microsoft.com/office/drawing/2014/main" id="{9ACF9891-3841-868D-8AB1-BB5E8969AB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3" y="3518"/>
                <a:ext cx="2" cy="3"/>
              </a:xfrm>
              <a:custGeom>
                <a:avLst/>
                <a:gdLst>
                  <a:gd name="T0" fmla="*/ 1 w 5"/>
                  <a:gd name="T1" fmla="*/ 3 h 8"/>
                  <a:gd name="T2" fmla="*/ 0 w 5"/>
                  <a:gd name="T3" fmla="*/ 2 h 8"/>
                  <a:gd name="T4" fmla="*/ 2 w 5"/>
                  <a:gd name="T5" fmla="*/ 0 h 8"/>
                  <a:gd name="T6" fmla="*/ 1 w 5"/>
                  <a:gd name="T7" fmla="*/ 3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" h="8">
                    <a:moveTo>
                      <a:pt x="3" y="8"/>
                    </a:moveTo>
                    <a:lnTo>
                      <a:pt x="0" y="5"/>
                    </a:lnTo>
                    <a:lnTo>
                      <a:pt x="5" y="0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71" name="Freeform 201">
                <a:extLst>
                  <a:ext uri="{FF2B5EF4-FFF2-40B4-BE49-F238E27FC236}">
                    <a16:creationId xmlns:a16="http://schemas.microsoft.com/office/drawing/2014/main" id="{9F54F966-1BBB-59E3-274D-AEF0D83F07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3" y="3545"/>
                <a:ext cx="26" cy="27"/>
              </a:xfrm>
              <a:custGeom>
                <a:avLst/>
                <a:gdLst>
                  <a:gd name="T0" fmla="*/ 5 w 59"/>
                  <a:gd name="T1" fmla="*/ 14 h 61"/>
                  <a:gd name="T2" fmla="*/ 0 w 59"/>
                  <a:gd name="T3" fmla="*/ 7 h 61"/>
                  <a:gd name="T4" fmla="*/ 0 w 59"/>
                  <a:gd name="T5" fmla="*/ 3 h 61"/>
                  <a:gd name="T6" fmla="*/ 0 w 59"/>
                  <a:gd name="T7" fmla="*/ 1 h 61"/>
                  <a:gd name="T8" fmla="*/ 2 w 59"/>
                  <a:gd name="T9" fmla="*/ 0 h 61"/>
                  <a:gd name="T10" fmla="*/ 13 w 59"/>
                  <a:gd name="T11" fmla="*/ 3 h 61"/>
                  <a:gd name="T12" fmla="*/ 18 w 59"/>
                  <a:gd name="T13" fmla="*/ 1 h 61"/>
                  <a:gd name="T14" fmla="*/ 22 w 59"/>
                  <a:gd name="T15" fmla="*/ 7 h 61"/>
                  <a:gd name="T16" fmla="*/ 26 w 59"/>
                  <a:gd name="T17" fmla="*/ 13 h 61"/>
                  <a:gd name="T18" fmla="*/ 22 w 59"/>
                  <a:gd name="T19" fmla="*/ 15 h 61"/>
                  <a:gd name="T20" fmla="*/ 23 w 59"/>
                  <a:gd name="T21" fmla="*/ 20 h 61"/>
                  <a:gd name="T22" fmla="*/ 22 w 59"/>
                  <a:gd name="T23" fmla="*/ 27 h 61"/>
                  <a:gd name="T24" fmla="*/ 19 w 59"/>
                  <a:gd name="T25" fmla="*/ 21 h 61"/>
                  <a:gd name="T26" fmla="*/ 19 w 59"/>
                  <a:gd name="T27" fmla="*/ 23 h 61"/>
                  <a:gd name="T28" fmla="*/ 16 w 59"/>
                  <a:gd name="T29" fmla="*/ 21 h 61"/>
                  <a:gd name="T30" fmla="*/ 14 w 59"/>
                  <a:gd name="T31" fmla="*/ 15 h 61"/>
                  <a:gd name="T32" fmla="*/ 9 w 59"/>
                  <a:gd name="T33" fmla="*/ 12 h 61"/>
                  <a:gd name="T34" fmla="*/ 4 w 59"/>
                  <a:gd name="T35" fmla="*/ 7 h 61"/>
                  <a:gd name="T36" fmla="*/ 6 w 59"/>
                  <a:gd name="T37" fmla="*/ 12 h 61"/>
                  <a:gd name="T38" fmla="*/ 5 w 59"/>
                  <a:gd name="T39" fmla="*/ 14 h 6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61">
                    <a:moveTo>
                      <a:pt x="12" y="31"/>
                    </a:moveTo>
                    <a:lnTo>
                      <a:pt x="0" y="15"/>
                    </a:lnTo>
                    <a:lnTo>
                      <a:pt x="1" y="6"/>
                    </a:lnTo>
                    <a:lnTo>
                      <a:pt x="1" y="3"/>
                    </a:lnTo>
                    <a:lnTo>
                      <a:pt x="4" y="0"/>
                    </a:lnTo>
                    <a:lnTo>
                      <a:pt x="29" y="6"/>
                    </a:lnTo>
                    <a:lnTo>
                      <a:pt x="40" y="3"/>
                    </a:lnTo>
                    <a:lnTo>
                      <a:pt x="49" y="16"/>
                    </a:lnTo>
                    <a:lnTo>
                      <a:pt x="59" y="30"/>
                    </a:lnTo>
                    <a:lnTo>
                      <a:pt x="51" y="33"/>
                    </a:lnTo>
                    <a:lnTo>
                      <a:pt x="52" y="46"/>
                    </a:lnTo>
                    <a:lnTo>
                      <a:pt x="51" y="61"/>
                    </a:lnTo>
                    <a:lnTo>
                      <a:pt x="42" y="48"/>
                    </a:lnTo>
                    <a:lnTo>
                      <a:pt x="42" y="53"/>
                    </a:lnTo>
                    <a:lnTo>
                      <a:pt x="37" y="48"/>
                    </a:lnTo>
                    <a:lnTo>
                      <a:pt x="32" y="35"/>
                    </a:lnTo>
                    <a:lnTo>
                      <a:pt x="21" y="26"/>
                    </a:lnTo>
                    <a:lnTo>
                      <a:pt x="9" y="16"/>
                    </a:lnTo>
                    <a:lnTo>
                      <a:pt x="14" y="26"/>
                    </a:lnTo>
                    <a:lnTo>
                      <a:pt x="12" y="3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72" name="Freeform 202">
                <a:extLst>
                  <a:ext uri="{FF2B5EF4-FFF2-40B4-BE49-F238E27FC236}">
                    <a16:creationId xmlns:a16="http://schemas.microsoft.com/office/drawing/2014/main" id="{03287D08-FBD7-9524-4371-619E0891BE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4" y="3524"/>
                <a:ext cx="1" cy="3"/>
              </a:xfrm>
              <a:custGeom>
                <a:avLst/>
                <a:gdLst>
                  <a:gd name="T0" fmla="*/ 1 w 3"/>
                  <a:gd name="T1" fmla="*/ 3 h 6"/>
                  <a:gd name="T2" fmla="*/ 0 w 3"/>
                  <a:gd name="T3" fmla="*/ 3 h 6"/>
                  <a:gd name="T4" fmla="*/ 0 w 3"/>
                  <a:gd name="T5" fmla="*/ 0 h 6"/>
                  <a:gd name="T6" fmla="*/ 1 w 3"/>
                  <a:gd name="T7" fmla="*/ 3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6">
                    <a:moveTo>
                      <a:pt x="3" y="5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73" name="Freeform 203">
                <a:extLst>
                  <a:ext uri="{FF2B5EF4-FFF2-40B4-BE49-F238E27FC236}">
                    <a16:creationId xmlns:a16="http://schemas.microsoft.com/office/drawing/2014/main" id="{85F80D38-25C1-A0DF-1847-ABD62C9E0BA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0" y="3504"/>
                <a:ext cx="3" cy="3"/>
              </a:xfrm>
              <a:custGeom>
                <a:avLst/>
                <a:gdLst>
                  <a:gd name="T0" fmla="*/ 3 w 5"/>
                  <a:gd name="T1" fmla="*/ 2 h 7"/>
                  <a:gd name="T2" fmla="*/ 1 w 5"/>
                  <a:gd name="T3" fmla="*/ 3 h 7"/>
                  <a:gd name="T4" fmla="*/ 0 w 5"/>
                  <a:gd name="T5" fmla="*/ 0 h 7"/>
                  <a:gd name="T6" fmla="*/ 2 w 5"/>
                  <a:gd name="T7" fmla="*/ 0 h 7"/>
                  <a:gd name="T8" fmla="*/ 3 w 5"/>
                  <a:gd name="T9" fmla="*/ 2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5" y="5"/>
                    </a:moveTo>
                    <a:lnTo>
                      <a:pt x="2" y="7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74" name="Freeform 204">
                <a:extLst>
                  <a:ext uri="{FF2B5EF4-FFF2-40B4-BE49-F238E27FC236}">
                    <a16:creationId xmlns:a16="http://schemas.microsoft.com/office/drawing/2014/main" id="{54A2E4F2-A3AC-842A-CC82-A5E24848AA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2" y="3515"/>
                <a:ext cx="19" cy="11"/>
              </a:xfrm>
              <a:custGeom>
                <a:avLst/>
                <a:gdLst>
                  <a:gd name="T0" fmla="*/ 19 w 41"/>
                  <a:gd name="T1" fmla="*/ 9 h 27"/>
                  <a:gd name="T2" fmla="*/ 16 w 41"/>
                  <a:gd name="T3" fmla="*/ 11 h 27"/>
                  <a:gd name="T4" fmla="*/ 13 w 41"/>
                  <a:gd name="T5" fmla="*/ 10 h 27"/>
                  <a:gd name="T6" fmla="*/ 6 w 41"/>
                  <a:gd name="T7" fmla="*/ 7 h 27"/>
                  <a:gd name="T8" fmla="*/ 0 w 41"/>
                  <a:gd name="T9" fmla="*/ 6 h 27"/>
                  <a:gd name="T10" fmla="*/ 7 w 41"/>
                  <a:gd name="T11" fmla="*/ 0 h 27"/>
                  <a:gd name="T12" fmla="*/ 12 w 41"/>
                  <a:gd name="T13" fmla="*/ 4 h 27"/>
                  <a:gd name="T14" fmla="*/ 19 w 41"/>
                  <a:gd name="T15" fmla="*/ 5 h 27"/>
                  <a:gd name="T16" fmla="*/ 19 w 41"/>
                  <a:gd name="T17" fmla="*/ 9 h 2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1" h="27">
                    <a:moveTo>
                      <a:pt x="41" y="22"/>
                    </a:moveTo>
                    <a:lnTo>
                      <a:pt x="35" y="27"/>
                    </a:lnTo>
                    <a:lnTo>
                      <a:pt x="27" y="25"/>
                    </a:lnTo>
                    <a:lnTo>
                      <a:pt x="14" y="18"/>
                    </a:lnTo>
                    <a:lnTo>
                      <a:pt x="0" y="15"/>
                    </a:lnTo>
                    <a:lnTo>
                      <a:pt x="15" y="0"/>
                    </a:lnTo>
                    <a:lnTo>
                      <a:pt x="26" y="9"/>
                    </a:lnTo>
                    <a:lnTo>
                      <a:pt x="41" y="12"/>
                    </a:lnTo>
                    <a:lnTo>
                      <a:pt x="41" y="2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75" name="Freeform 205">
                <a:extLst>
                  <a:ext uri="{FF2B5EF4-FFF2-40B4-BE49-F238E27FC236}">
                    <a16:creationId xmlns:a16="http://schemas.microsoft.com/office/drawing/2014/main" id="{7868D54F-0448-29F8-09C8-0D81D3F9B1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6" y="3533"/>
                <a:ext cx="1" cy="3"/>
              </a:xfrm>
              <a:custGeom>
                <a:avLst/>
                <a:gdLst>
                  <a:gd name="T0" fmla="*/ 1 w 3"/>
                  <a:gd name="T1" fmla="*/ 2 h 7"/>
                  <a:gd name="T2" fmla="*/ 1 w 3"/>
                  <a:gd name="T3" fmla="*/ 1 h 7"/>
                  <a:gd name="T4" fmla="*/ 1 w 3"/>
                  <a:gd name="T5" fmla="*/ 0 h 7"/>
                  <a:gd name="T6" fmla="*/ 1 w 3"/>
                  <a:gd name="T7" fmla="*/ 0 h 7"/>
                  <a:gd name="T8" fmla="*/ 1 w 3"/>
                  <a:gd name="T9" fmla="*/ 1 h 7"/>
                  <a:gd name="T10" fmla="*/ 1 w 3"/>
                  <a:gd name="T11" fmla="*/ 2 h 7"/>
                  <a:gd name="T12" fmla="*/ 0 w 3"/>
                  <a:gd name="T13" fmla="*/ 2 h 7"/>
                  <a:gd name="T14" fmla="*/ 0 w 3"/>
                  <a:gd name="T15" fmla="*/ 2 h 7"/>
                  <a:gd name="T16" fmla="*/ 0 w 3"/>
                  <a:gd name="T17" fmla="*/ 3 h 7"/>
                  <a:gd name="T18" fmla="*/ 1 w 3"/>
                  <a:gd name="T19" fmla="*/ 3 h 7"/>
                  <a:gd name="T20" fmla="*/ 1 w 3"/>
                  <a:gd name="T21" fmla="*/ 2 h 7"/>
                  <a:gd name="T22" fmla="*/ 1 w 3"/>
                  <a:gd name="T23" fmla="*/ 2 h 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" h="7">
                    <a:moveTo>
                      <a:pt x="3" y="4"/>
                    </a:moveTo>
                    <a:lnTo>
                      <a:pt x="3" y="2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3" y="5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76" name="Rectangle 206">
                <a:extLst>
                  <a:ext uri="{FF2B5EF4-FFF2-40B4-BE49-F238E27FC236}">
                    <a16:creationId xmlns:a16="http://schemas.microsoft.com/office/drawing/2014/main" id="{0996568B-6003-F13B-3739-A54183AD71F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87" y="3533"/>
                <a:ext cx="2" cy="1"/>
              </a:xfrm>
              <a:prstGeom prst="rect">
                <a:avLst/>
              </a:prstGeom>
              <a:grpFill/>
              <a:ln w="1588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>
                <a:lvl1pPr>
                  <a:defRPr sz="1400" b="1">
                    <a:solidFill>
                      <a:schemeClr val="tx1"/>
                    </a:solidFill>
                    <a:latin typeface="DB Office" pitchFamily="34" charset="0"/>
                  </a:defRPr>
                </a:lvl1pPr>
                <a:lvl2pPr marL="742950" indent="-285750">
                  <a:defRPr sz="1400" b="1">
                    <a:solidFill>
                      <a:schemeClr val="tx1"/>
                    </a:solidFill>
                    <a:latin typeface="DB Office" pitchFamily="34" charset="0"/>
                  </a:defRPr>
                </a:lvl2pPr>
                <a:lvl3pPr marL="1143000" indent="-228600">
                  <a:defRPr sz="1400" b="1">
                    <a:solidFill>
                      <a:schemeClr val="tx1"/>
                    </a:solidFill>
                    <a:latin typeface="DB Office" pitchFamily="34" charset="0"/>
                  </a:defRPr>
                </a:lvl3pPr>
                <a:lvl4pPr marL="1600200" indent="-228600">
                  <a:defRPr sz="1400" b="1">
                    <a:solidFill>
                      <a:schemeClr val="tx1"/>
                    </a:solidFill>
                    <a:latin typeface="DB Office" pitchFamily="34" charset="0"/>
                  </a:defRPr>
                </a:lvl4pPr>
                <a:lvl5pPr marL="2057400" indent="-228600">
                  <a:defRPr sz="1400" b="1">
                    <a:solidFill>
                      <a:schemeClr val="tx1"/>
                    </a:solidFill>
                    <a:latin typeface="DB Office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DB Office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DB Office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DB Office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chemeClr val="tx1"/>
                    </a:solidFill>
                    <a:latin typeface="DB Office" pitchFamily="34" charset="0"/>
                  </a:defRPr>
                </a:lvl9pPr>
              </a:lstStyle>
              <a:p>
                <a:endParaRPr lang="en-US" altLang="de-DE" sz="1050"/>
              </a:p>
            </p:txBody>
          </p:sp>
          <p:sp>
            <p:nvSpPr>
              <p:cNvPr id="477" name="Freeform 207">
                <a:extLst>
                  <a:ext uri="{FF2B5EF4-FFF2-40B4-BE49-F238E27FC236}">
                    <a16:creationId xmlns:a16="http://schemas.microsoft.com/office/drawing/2014/main" id="{EF51FA49-964C-59B1-E9C6-7093BF89FD7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9" y="3502"/>
                <a:ext cx="49" cy="25"/>
              </a:xfrm>
              <a:custGeom>
                <a:avLst/>
                <a:gdLst>
                  <a:gd name="T0" fmla="*/ 26 w 113"/>
                  <a:gd name="T1" fmla="*/ 17 h 58"/>
                  <a:gd name="T2" fmla="*/ 23 w 113"/>
                  <a:gd name="T3" fmla="*/ 18 h 58"/>
                  <a:gd name="T4" fmla="*/ 20 w 113"/>
                  <a:gd name="T5" fmla="*/ 19 h 58"/>
                  <a:gd name="T6" fmla="*/ 17 w 113"/>
                  <a:gd name="T7" fmla="*/ 25 h 58"/>
                  <a:gd name="T8" fmla="*/ 15 w 113"/>
                  <a:gd name="T9" fmla="*/ 25 h 58"/>
                  <a:gd name="T10" fmla="*/ 14 w 113"/>
                  <a:gd name="T11" fmla="*/ 22 h 58"/>
                  <a:gd name="T12" fmla="*/ 11 w 113"/>
                  <a:gd name="T13" fmla="*/ 22 h 58"/>
                  <a:gd name="T14" fmla="*/ 11 w 113"/>
                  <a:gd name="T15" fmla="*/ 17 h 58"/>
                  <a:gd name="T16" fmla="*/ 5 w 113"/>
                  <a:gd name="T17" fmla="*/ 16 h 58"/>
                  <a:gd name="T18" fmla="*/ 0 w 113"/>
                  <a:gd name="T19" fmla="*/ 13 h 58"/>
                  <a:gd name="T20" fmla="*/ 5 w 113"/>
                  <a:gd name="T21" fmla="*/ 6 h 58"/>
                  <a:gd name="T22" fmla="*/ 10 w 113"/>
                  <a:gd name="T23" fmla="*/ 2 h 58"/>
                  <a:gd name="T24" fmla="*/ 11 w 113"/>
                  <a:gd name="T25" fmla="*/ 2 h 58"/>
                  <a:gd name="T26" fmla="*/ 19 w 113"/>
                  <a:gd name="T27" fmla="*/ 1 h 58"/>
                  <a:gd name="T28" fmla="*/ 26 w 113"/>
                  <a:gd name="T29" fmla="*/ 0 h 58"/>
                  <a:gd name="T30" fmla="*/ 32 w 113"/>
                  <a:gd name="T31" fmla="*/ 0 h 58"/>
                  <a:gd name="T32" fmla="*/ 39 w 113"/>
                  <a:gd name="T33" fmla="*/ 1 h 58"/>
                  <a:gd name="T34" fmla="*/ 44 w 113"/>
                  <a:gd name="T35" fmla="*/ 4 h 58"/>
                  <a:gd name="T36" fmla="*/ 42 w 113"/>
                  <a:gd name="T37" fmla="*/ 4 h 58"/>
                  <a:gd name="T38" fmla="*/ 43 w 113"/>
                  <a:gd name="T39" fmla="*/ 5 h 58"/>
                  <a:gd name="T40" fmla="*/ 46 w 113"/>
                  <a:gd name="T41" fmla="*/ 5 h 58"/>
                  <a:gd name="T42" fmla="*/ 49 w 113"/>
                  <a:gd name="T43" fmla="*/ 8 h 58"/>
                  <a:gd name="T44" fmla="*/ 42 w 113"/>
                  <a:gd name="T45" fmla="*/ 9 h 58"/>
                  <a:gd name="T46" fmla="*/ 36 w 113"/>
                  <a:gd name="T47" fmla="*/ 10 h 58"/>
                  <a:gd name="T48" fmla="*/ 26 w 113"/>
                  <a:gd name="T49" fmla="*/ 17 h 5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13" h="58">
                    <a:moveTo>
                      <a:pt x="60" y="40"/>
                    </a:moveTo>
                    <a:lnTo>
                      <a:pt x="53" y="42"/>
                    </a:lnTo>
                    <a:lnTo>
                      <a:pt x="47" y="45"/>
                    </a:lnTo>
                    <a:lnTo>
                      <a:pt x="39" y="58"/>
                    </a:lnTo>
                    <a:lnTo>
                      <a:pt x="34" y="58"/>
                    </a:lnTo>
                    <a:lnTo>
                      <a:pt x="33" y="52"/>
                    </a:lnTo>
                    <a:lnTo>
                      <a:pt x="26" y="50"/>
                    </a:lnTo>
                    <a:lnTo>
                      <a:pt x="26" y="40"/>
                    </a:lnTo>
                    <a:lnTo>
                      <a:pt x="11" y="37"/>
                    </a:lnTo>
                    <a:lnTo>
                      <a:pt x="0" y="30"/>
                    </a:lnTo>
                    <a:lnTo>
                      <a:pt x="11" y="14"/>
                    </a:lnTo>
                    <a:lnTo>
                      <a:pt x="23" y="4"/>
                    </a:lnTo>
                    <a:lnTo>
                      <a:pt x="26" y="4"/>
                    </a:lnTo>
                    <a:lnTo>
                      <a:pt x="43" y="2"/>
                    </a:lnTo>
                    <a:lnTo>
                      <a:pt x="60" y="0"/>
                    </a:lnTo>
                    <a:lnTo>
                      <a:pt x="74" y="0"/>
                    </a:lnTo>
                    <a:lnTo>
                      <a:pt x="90" y="2"/>
                    </a:lnTo>
                    <a:lnTo>
                      <a:pt x="101" y="10"/>
                    </a:lnTo>
                    <a:lnTo>
                      <a:pt x="98" y="9"/>
                    </a:lnTo>
                    <a:lnTo>
                      <a:pt x="99" y="12"/>
                    </a:lnTo>
                    <a:lnTo>
                      <a:pt x="107" y="12"/>
                    </a:lnTo>
                    <a:lnTo>
                      <a:pt x="113" y="19"/>
                    </a:lnTo>
                    <a:lnTo>
                      <a:pt x="98" y="20"/>
                    </a:lnTo>
                    <a:lnTo>
                      <a:pt x="84" y="24"/>
                    </a:lnTo>
                    <a:lnTo>
                      <a:pt x="60" y="4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78" name="Freeform 208">
                <a:extLst>
                  <a:ext uri="{FF2B5EF4-FFF2-40B4-BE49-F238E27FC236}">
                    <a16:creationId xmlns:a16="http://schemas.microsoft.com/office/drawing/2014/main" id="{95891289-F328-37EB-548A-9A137548FE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2" y="3511"/>
                <a:ext cx="3" cy="3"/>
              </a:xfrm>
              <a:custGeom>
                <a:avLst/>
                <a:gdLst>
                  <a:gd name="T0" fmla="*/ 3 w 7"/>
                  <a:gd name="T1" fmla="*/ 2 h 7"/>
                  <a:gd name="T2" fmla="*/ 0 w 7"/>
                  <a:gd name="T3" fmla="*/ 0 h 7"/>
                  <a:gd name="T4" fmla="*/ 3 w 7"/>
                  <a:gd name="T5" fmla="*/ 3 h 7"/>
                  <a:gd name="T6" fmla="*/ 3 w 7"/>
                  <a:gd name="T7" fmla="*/ 2 h 7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7">
                    <a:moveTo>
                      <a:pt x="7" y="5"/>
                    </a:moveTo>
                    <a:lnTo>
                      <a:pt x="0" y="0"/>
                    </a:lnTo>
                    <a:lnTo>
                      <a:pt x="7" y="7"/>
                    </a:lnTo>
                    <a:lnTo>
                      <a:pt x="7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79" name="Freeform 209">
                <a:extLst>
                  <a:ext uri="{FF2B5EF4-FFF2-40B4-BE49-F238E27FC236}">
                    <a16:creationId xmlns:a16="http://schemas.microsoft.com/office/drawing/2014/main" id="{B250140C-4299-FDE0-01A7-756004995B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1" y="3510"/>
                <a:ext cx="37" cy="37"/>
              </a:xfrm>
              <a:custGeom>
                <a:avLst/>
                <a:gdLst>
                  <a:gd name="T0" fmla="*/ 14 w 85"/>
                  <a:gd name="T1" fmla="*/ 9 h 86"/>
                  <a:gd name="T2" fmla="*/ 11 w 85"/>
                  <a:gd name="T3" fmla="*/ 10 h 86"/>
                  <a:gd name="T4" fmla="*/ 8 w 85"/>
                  <a:gd name="T5" fmla="*/ 12 h 86"/>
                  <a:gd name="T6" fmla="*/ 5 w 85"/>
                  <a:gd name="T7" fmla="*/ 18 h 86"/>
                  <a:gd name="T8" fmla="*/ 3 w 85"/>
                  <a:gd name="T9" fmla="*/ 18 h 86"/>
                  <a:gd name="T10" fmla="*/ 0 w 85"/>
                  <a:gd name="T11" fmla="*/ 19 h 86"/>
                  <a:gd name="T12" fmla="*/ 7 w 85"/>
                  <a:gd name="T13" fmla="*/ 26 h 86"/>
                  <a:gd name="T14" fmla="*/ 14 w 85"/>
                  <a:gd name="T15" fmla="*/ 34 h 86"/>
                  <a:gd name="T16" fmla="*/ 25 w 85"/>
                  <a:gd name="T17" fmla="*/ 37 h 86"/>
                  <a:gd name="T18" fmla="*/ 30 w 85"/>
                  <a:gd name="T19" fmla="*/ 35 h 86"/>
                  <a:gd name="T20" fmla="*/ 30 w 85"/>
                  <a:gd name="T21" fmla="*/ 30 h 86"/>
                  <a:gd name="T22" fmla="*/ 30 w 85"/>
                  <a:gd name="T23" fmla="*/ 25 h 86"/>
                  <a:gd name="T24" fmla="*/ 32 w 85"/>
                  <a:gd name="T25" fmla="*/ 21 h 86"/>
                  <a:gd name="T26" fmla="*/ 32 w 85"/>
                  <a:gd name="T27" fmla="*/ 22 h 86"/>
                  <a:gd name="T28" fmla="*/ 33 w 85"/>
                  <a:gd name="T29" fmla="*/ 15 h 86"/>
                  <a:gd name="T30" fmla="*/ 35 w 85"/>
                  <a:gd name="T31" fmla="*/ 8 h 86"/>
                  <a:gd name="T32" fmla="*/ 35 w 85"/>
                  <a:gd name="T33" fmla="*/ 2 h 86"/>
                  <a:gd name="T34" fmla="*/ 37 w 85"/>
                  <a:gd name="T35" fmla="*/ 0 h 86"/>
                  <a:gd name="T36" fmla="*/ 30 w 85"/>
                  <a:gd name="T37" fmla="*/ 1 h 86"/>
                  <a:gd name="T38" fmla="*/ 24 w 85"/>
                  <a:gd name="T39" fmla="*/ 2 h 86"/>
                  <a:gd name="T40" fmla="*/ 14 w 85"/>
                  <a:gd name="T41" fmla="*/ 9 h 8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85" h="86">
                    <a:moveTo>
                      <a:pt x="32" y="21"/>
                    </a:moveTo>
                    <a:lnTo>
                      <a:pt x="25" y="24"/>
                    </a:lnTo>
                    <a:lnTo>
                      <a:pt x="19" y="28"/>
                    </a:lnTo>
                    <a:lnTo>
                      <a:pt x="11" y="41"/>
                    </a:lnTo>
                    <a:lnTo>
                      <a:pt x="6" y="41"/>
                    </a:lnTo>
                    <a:lnTo>
                      <a:pt x="0" y="43"/>
                    </a:lnTo>
                    <a:lnTo>
                      <a:pt x="15" y="61"/>
                    </a:lnTo>
                    <a:lnTo>
                      <a:pt x="32" y="79"/>
                    </a:lnTo>
                    <a:lnTo>
                      <a:pt x="57" y="86"/>
                    </a:lnTo>
                    <a:lnTo>
                      <a:pt x="70" y="82"/>
                    </a:lnTo>
                    <a:lnTo>
                      <a:pt x="70" y="69"/>
                    </a:lnTo>
                    <a:lnTo>
                      <a:pt x="70" y="59"/>
                    </a:lnTo>
                    <a:lnTo>
                      <a:pt x="73" y="48"/>
                    </a:lnTo>
                    <a:lnTo>
                      <a:pt x="74" y="51"/>
                    </a:lnTo>
                    <a:lnTo>
                      <a:pt x="76" y="36"/>
                    </a:lnTo>
                    <a:lnTo>
                      <a:pt x="80" y="18"/>
                    </a:lnTo>
                    <a:lnTo>
                      <a:pt x="80" y="5"/>
                    </a:lnTo>
                    <a:lnTo>
                      <a:pt x="85" y="0"/>
                    </a:lnTo>
                    <a:lnTo>
                      <a:pt x="70" y="3"/>
                    </a:lnTo>
                    <a:lnTo>
                      <a:pt x="56" y="5"/>
                    </a:lnTo>
                    <a:lnTo>
                      <a:pt x="32" y="2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80" name="Freeform 210">
                <a:extLst>
                  <a:ext uri="{FF2B5EF4-FFF2-40B4-BE49-F238E27FC236}">
                    <a16:creationId xmlns:a16="http://schemas.microsoft.com/office/drawing/2014/main" id="{37088C6C-5531-8194-F060-E1926FBAC4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0" y="3524"/>
                <a:ext cx="2" cy="2"/>
              </a:xfrm>
              <a:custGeom>
                <a:avLst/>
                <a:gdLst>
                  <a:gd name="T0" fmla="*/ 2 w 3"/>
                  <a:gd name="T1" fmla="*/ 2 h 5"/>
                  <a:gd name="T2" fmla="*/ 2 w 3"/>
                  <a:gd name="T3" fmla="*/ 0 h 5"/>
                  <a:gd name="T4" fmla="*/ 0 w 3"/>
                  <a:gd name="T5" fmla="*/ 0 h 5"/>
                  <a:gd name="T6" fmla="*/ 2 w 3"/>
                  <a:gd name="T7" fmla="*/ 2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81" name="Freeform 211">
                <a:extLst>
                  <a:ext uri="{FF2B5EF4-FFF2-40B4-BE49-F238E27FC236}">
                    <a16:creationId xmlns:a16="http://schemas.microsoft.com/office/drawing/2014/main" id="{C9C9C064-4209-2572-D436-989E42355CD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3" y="3489"/>
                <a:ext cx="1" cy="1"/>
              </a:xfrm>
              <a:custGeom>
                <a:avLst/>
                <a:gdLst>
                  <a:gd name="T0" fmla="*/ 1 w 2"/>
                  <a:gd name="T1" fmla="*/ 1 h 2"/>
                  <a:gd name="T2" fmla="*/ 0 w 2"/>
                  <a:gd name="T3" fmla="*/ 0 h 2"/>
                  <a:gd name="T4" fmla="*/ 1 w 2"/>
                  <a:gd name="T5" fmla="*/ 0 h 2"/>
                  <a:gd name="T6" fmla="*/ 1 w 2"/>
                  <a:gd name="T7" fmla="*/ 1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82" name="Freeform 212">
                <a:extLst>
                  <a:ext uri="{FF2B5EF4-FFF2-40B4-BE49-F238E27FC236}">
                    <a16:creationId xmlns:a16="http://schemas.microsoft.com/office/drawing/2014/main" id="{4D48F8E4-B6B6-5443-8B8D-E3A8DA4992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1" y="3489"/>
                <a:ext cx="2" cy="0"/>
              </a:xfrm>
              <a:custGeom>
                <a:avLst/>
                <a:gdLst>
                  <a:gd name="T0" fmla="*/ 2 w 4"/>
                  <a:gd name="T1" fmla="*/ 1 h 1"/>
                  <a:gd name="T2" fmla="*/ 0 w 4"/>
                  <a:gd name="T3" fmla="*/ 0 h 1"/>
                  <a:gd name="T4" fmla="*/ 2 w 4"/>
                  <a:gd name="T5" fmla="*/ 0 h 1"/>
                  <a:gd name="T6" fmla="*/ 2 w 4"/>
                  <a:gd name="T7" fmla="*/ 1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83" name="Freeform 213">
                <a:extLst>
                  <a:ext uri="{FF2B5EF4-FFF2-40B4-BE49-F238E27FC236}">
                    <a16:creationId xmlns:a16="http://schemas.microsoft.com/office/drawing/2014/main" id="{87D2C1BA-FD00-671E-A410-AA95ECD59D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9" y="3498"/>
                <a:ext cx="1" cy="2"/>
              </a:xfrm>
              <a:custGeom>
                <a:avLst/>
                <a:gdLst>
                  <a:gd name="T0" fmla="*/ 1 w 3"/>
                  <a:gd name="T1" fmla="*/ 0 h 5"/>
                  <a:gd name="T2" fmla="*/ 1 w 3"/>
                  <a:gd name="T3" fmla="*/ 1 h 5"/>
                  <a:gd name="T4" fmla="*/ 0 w 3"/>
                  <a:gd name="T5" fmla="*/ 2 h 5"/>
                  <a:gd name="T6" fmla="*/ 1 w 3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2" y="0"/>
                    </a:moveTo>
                    <a:lnTo>
                      <a:pt x="3" y="2"/>
                    </a:lnTo>
                    <a:lnTo>
                      <a:pt x="0" y="5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84" name="Freeform 214">
                <a:extLst>
                  <a:ext uri="{FF2B5EF4-FFF2-40B4-BE49-F238E27FC236}">
                    <a16:creationId xmlns:a16="http://schemas.microsoft.com/office/drawing/2014/main" id="{4E828501-E8FA-CE50-DA84-1D62A25D90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9" y="3479"/>
                <a:ext cx="2" cy="2"/>
              </a:xfrm>
              <a:custGeom>
                <a:avLst/>
                <a:gdLst>
                  <a:gd name="T0" fmla="*/ 2 w 5"/>
                  <a:gd name="T1" fmla="*/ 1 h 3"/>
                  <a:gd name="T2" fmla="*/ 2 w 5"/>
                  <a:gd name="T3" fmla="*/ 0 h 3"/>
                  <a:gd name="T4" fmla="*/ 2 w 5"/>
                  <a:gd name="T5" fmla="*/ 1 h 3"/>
                  <a:gd name="T6" fmla="*/ 2 w 5"/>
                  <a:gd name="T7" fmla="*/ 0 h 3"/>
                  <a:gd name="T8" fmla="*/ 1 w 5"/>
                  <a:gd name="T9" fmla="*/ 0 h 3"/>
                  <a:gd name="T10" fmla="*/ 1 w 5"/>
                  <a:gd name="T11" fmla="*/ 1 h 3"/>
                  <a:gd name="T12" fmla="*/ 1 w 5"/>
                  <a:gd name="T13" fmla="*/ 1 h 3"/>
                  <a:gd name="T14" fmla="*/ 1 w 5"/>
                  <a:gd name="T15" fmla="*/ 2 h 3"/>
                  <a:gd name="T16" fmla="*/ 0 w 5"/>
                  <a:gd name="T17" fmla="*/ 2 h 3"/>
                  <a:gd name="T18" fmla="*/ 1 w 5"/>
                  <a:gd name="T19" fmla="*/ 2 h 3"/>
                  <a:gd name="T20" fmla="*/ 1 w 5"/>
                  <a:gd name="T21" fmla="*/ 2 h 3"/>
                  <a:gd name="T22" fmla="*/ 1 w 5"/>
                  <a:gd name="T23" fmla="*/ 1 h 3"/>
                  <a:gd name="T24" fmla="*/ 2 w 5"/>
                  <a:gd name="T25" fmla="*/ 1 h 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" h="3">
                    <a:moveTo>
                      <a:pt x="5" y="2"/>
                    </a:moveTo>
                    <a:lnTo>
                      <a:pt x="5" y="0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85" name="Freeform 215">
                <a:extLst>
                  <a:ext uri="{FF2B5EF4-FFF2-40B4-BE49-F238E27FC236}">
                    <a16:creationId xmlns:a16="http://schemas.microsoft.com/office/drawing/2014/main" id="{2A405BF9-40C2-8F6F-898F-97E5C390AFF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9" y="3489"/>
                <a:ext cx="1" cy="1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1 h 2"/>
                  <a:gd name="T4" fmla="*/ 0 w 2"/>
                  <a:gd name="T5" fmla="*/ 1 h 2"/>
                  <a:gd name="T6" fmla="*/ 1 w 2"/>
                  <a:gd name="T7" fmla="*/ 1 h 2"/>
                  <a:gd name="T8" fmla="*/ 0 w 2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86" name="Freeform 216">
                <a:extLst>
                  <a:ext uri="{FF2B5EF4-FFF2-40B4-BE49-F238E27FC236}">
                    <a16:creationId xmlns:a16="http://schemas.microsoft.com/office/drawing/2014/main" id="{22FFFE4E-F0D6-C9DF-A5B0-B4BA0E472BD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9" y="3485"/>
                <a:ext cx="1" cy="1"/>
              </a:xfrm>
              <a:custGeom>
                <a:avLst/>
                <a:gdLst>
                  <a:gd name="T0" fmla="*/ 0 w 1"/>
                  <a:gd name="T1" fmla="*/ 1 h 4"/>
                  <a:gd name="T2" fmla="*/ 0 w 1"/>
                  <a:gd name="T3" fmla="*/ 0 h 4"/>
                  <a:gd name="T4" fmla="*/ 0 w 1"/>
                  <a:gd name="T5" fmla="*/ 1 h 4"/>
                  <a:gd name="T6" fmla="*/ 0 w 1"/>
                  <a:gd name="T7" fmla="*/ 0 h 4"/>
                  <a:gd name="T8" fmla="*/ 0 w 1"/>
                  <a:gd name="T9" fmla="*/ 1 h 4"/>
                  <a:gd name="T10" fmla="*/ 0 w 1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87" name="Freeform 217">
                <a:extLst>
                  <a:ext uri="{FF2B5EF4-FFF2-40B4-BE49-F238E27FC236}">
                    <a16:creationId xmlns:a16="http://schemas.microsoft.com/office/drawing/2014/main" id="{B889C110-8DAD-9914-1455-4820C6F4D2A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1" y="3477"/>
                <a:ext cx="11" cy="25"/>
              </a:xfrm>
              <a:custGeom>
                <a:avLst/>
                <a:gdLst>
                  <a:gd name="T0" fmla="*/ 7 w 24"/>
                  <a:gd name="T1" fmla="*/ 20 h 54"/>
                  <a:gd name="T2" fmla="*/ 2 w 24"/>
                  <a:gd name="T3" fmla="*/ 25 h 54"/>
                  <a:gd name="T4" fmla="*/ 0 w 24"/>
                  <a:gd name="T5" fmla="*/ 25 h 54"/>
                  <a:gd name="T6" fmla="*/ 1 w 24"/>
                  <a:gd name="T7" fmla="*/ 16 h 54"/>
                  <a:gd name="T8" fmla="*/ 3 w 24"/>
                  <a:gd name="T9" fmla="*/ 6 h 54"/>
                  <a:gd name="T10" fmla="*/ 11 w 24"/>
                  <a:gd name="T11" fmla="*/ 0 h 54"/>
                  <a:gd name="T12" fmla="*/ 11 w 24"/>
                  <a:gd name="T13" fmla="*/ 2 h 54"/>
                  <a:gd name="T14" fmla="*/ 9 w 24"/>
                  <a:gd name="T15" fmla="*/ 12 h 54"/>
                  <a:gd name="T16" fmla="*/ 7 w 24"/>
                  <a:gd name="T17" fmla="*/ 2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4" h="54">
                    <a:moveTo>
                      <a:pt x="15" y="44"/>
                    </a:moveTo>
                    <a:lnTo>
                      <a:pt x="4" y="54"/>
                    </a:lnTo>
                    <a:lnTo>
                      <a:pt x="0" y="54"/>
                    </a:lnTo>
                    <a:lnTo>
                      <a:pt x="3" y="34"/>
                    </a:lnTo>
                    <a:lnTo>
                      <a:pt x="7" y="13"/>
                    </a:lnTo>
                    <a:lnTo>
                      <a:pt x="23" y="0"/>
                    </a:lnTo>
                    <a:lnTo>
                      <a:pt x="24" y="5"/>
                    </a:lnTo>
                    <a:lnTo>
                      <a:pt x="20" y="25"/>
                    </a:lnTo>
                    <a:lnTo>
                      <a:pt x="15" y="4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88" name="Freeform 218">
                <a:extLst>
                  <a:ext uri="{FF2B5EF4-FFF2-40B4-BE49-F238E27FC236}">
                    <a16:creationId xmlns:a16="http://schemas.microsoft.com/office/drawing/2014/main" id="{1D182313-D920-7695-834E-998C2B2E47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5" y="3484"/>
                <a:ext cx="34" cy="37"/>
              </a:xfrm>
              <a:custGeom>
                <a:avLst/>
                <a:gdLst>
                  <a:gd name="T0" fmla="*/ 4 w 76"/>
                  <a:gd name="T1" fmla="*/ 32 h 86"/>
                  <a:gd name="T2" fmla="*/ 0 w 76"/>
                  <a:gd name="T3" fmla="*/ 30 h 86"/>
                  <a:gd name="T4" fmla="*/ 1 w 76"/>
                  <a:gd name="T5" fmla="*/ 23 h 86"/>
                  <a:gd name="T6" fmla="*/ 6 w 76"/>
                  <a:gd name="T7" fmla="*/ 15 h 86"/>
                  <a:gd name="T8" fmla="*/ 17 w 76"/>
                  <a:gd name="T9" fmla="*/ 15 h 86"/>
                  <a:gd name="T10" fmla="*/ 11 w 76"/>
                  <a:gd name="T11" fmla="*/ 6 h 86"/>
                  <a:gd name="T12" fmla="*/ 13 w 76"/>
                  <a:gd name="T13" fmla="*/ 6 h 86"/>
                  <a:gd name="T14" fmla="*/ 14 w 76"/>
                  <a:gd name="T15" fmla="*/ 0 h 86"/>
                  <a:gd name="T16" fmla="*/ 21 w 76"/>
                  <a:gd name="T17" fmla="*/ 0 h 86"/>
                  <a:gd name="T18" fmla="*/ 29 w 76"/>
                  <a:gd name="T19" fmla="*/ 0 h 86"/>
                  <a:gd name="T20" fmla="*/ 27 w 76"/>
                  <a:gd name="T21" fmla="*/ 9 h 86"/>
                  <a:gd name="T22" fmla="*/ 26 w 76"/>
                  <a:gd name="T23" fmla="*/ 18 h 86"/>
                  <a:gd name="T24" fmla="*/ 29 w 76"/>
                  <a:gd name="T25" fmla="*/ 18 h 86"/>
                  <a:gd name="T26" fmla="*/ 32 w 76"/>
                  <a:gd name="T27" fmla="*/ 18 h 86"/>
                  <a:gd name="T28" fmla="*/ 34 w 76"/>
                  <a:gd name="T29" fmla="*/ 19 h 86"/>
                  <a:gd name="T30" fmla="*/ 29 w 76"/>
                  <a:gd name="T31" fmla="*/ 24 h 86"/>
                  <a:gd name="T32" fmla="*/ 24 w 76"/>
                  <a:gd name="T33" fmla="*/ 31 h 86"/>
                  <a:gd name="T34" fmla="*/ 17 w 76"/>
                  <a:gd name="T35" fmla="*/ 37 h 86"/>
                  <a:gd name="T36" fmla="*/ 10 w 76"/>
                  <a:gd name="T37" fmla="*/ 34 h 86"/>
                  <a:gd name="T38" fmla="*/ 4 w 76"/>
                  <a:gd name="T39" fmla="*/ 32 h 8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76" h="86">
                    <a:moveTo>
                      <a:pt x="8" y="75"/>
                    </a:moveTo>
                    <a:lnTo>
                      <a:pt x="0" y="70"/>
                    </a:lnTo>
                    <a:lnTo>
                      <a:pt x="2" y="53"/>
                    </a:lnTo>
                    <a:lnTo>
                      <a:pt x="14" y="36"/>
                    </a:lnTo>
                    <a:lnTo>
                      <a:pt x="38" y="35"/>
                    </a:lnTo>
                    <a:lnTo>
                      <a:pt x="25" y="13"/>
                    </a:lnTo>
                    <a:lnTo>
                      <a:pt x="30" y="13"/>
                    </a:lnTo>
                    <a:lnTo>
                      <a:pt x="31" y="0"/>
                    </a:lnTo>
                    <a:lnTo>
                      <a:pt x="48" y="0"/>
                    </a:lnTo>
                    <a:lnTo>
                      <a:pt x="65" y="0"/>
                    </a:lnTo>
                    <a:lnTo>
                      <a:pt x="61" y="21"/>
                    </a:lnTo>
                    <a:lnTo>
                      <a:pt x="58" y="41"/>
                    </a:lnTo>
                    <a:lnTo>
                      <a:pt x="64" y="41"/>
                    </a:lnTo>
                    <a:lnTo>
                      <a:pt x="72" y="41"/>
                    </a:lnTo>
                    <a:lnTo>
                      <a:pt x="76" y="45"/>
                    </a:lnTo>
                    <a:lnTo>
                      <a:pt x="64" y="55"/>
                    </a:lnTo>
                    <a:lnTo>
                      <a:pt x="53" y="73"/>
                    </a:lnTo>
                    <a:lnTo>
                      <a:pt x="38" y="86"/>
                    </a:lnTo>
                    <a:lnTo>
                      <a:pt x="22" y="80"/>
                    </a:lnTo>
                    <a:lnTo>
                      <a:pt x="8" y="7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89" name="Freeform 219">
                <a:extLst>
                  <a:ext uri="{FF2B5EF4-FFF2-40B4-BE49-F238E27FC236}">
                    <a16:creationId xmlns:a16="http://schemas.microsoft.com/office/drawing/2014/main" id="{323859C1-2BD5-8EBD-9636-3376DF9F43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9" y="3477"/>
                <a:ext cx="18" cy="7"/>
              </a:xfrm>
              <a:custGeom>
                <a:avLst/>
                <a:gdLst>
                  <a:gd name="T0" fmla="*/ 7 w 41"/>
                  <a:gd name="T1" fmla="*/ 0 h 13"/>
                  <a:gd name="T2" fmla="*/ 0 w 41"/>
                  <a:gd name="T3" fmla="*/ 3 h 13"/>
                  <a:gd name="T4" fmla="*/ 10 w 41"/>
                  <a:gd name="T5" fmla="*/ 7 h 13"/>
                  <a:gd name="T6" fmla="*/ 18 w 41"/>
                  <a:gd name="T7" fmla="*/ 6 h 13"/>
                  <a:gd name="T8" fmla="*/ 7 w 41"/>
                  <a:gd name="T9" fmla="*/ 0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1" h="13">
                    <a:moveTo>
                      <a:pt x="16" y="0"/>
                    </a:moveTo>
                    <a:lnTo>
                      <a:pt x="0" y="6"/>
                    </a:lnTo>
                    <a:lnTo>
                      <a:pt x="22" y="13"/>
                    </a:lnTo>
                    <a:lnTo>
                      <a:pt x="41" y="11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90" name="Freeform 220">
                <a:extLst>
                  <a:ext uri="{FF2B5EF4-FFF2-40B4-BE49-F238E27FC236}">
                    <a16:creationId xmlns:a16="http://schemas.microsoft.com/office/drawing/2014/main" id="{905FB6E1-868D-A257-DCD1-CCB61F1C11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6" y="3477"/>
                <a:ext cx="14" cy="6"/>
              </a:xfrm>
              <a:custGeom>
                <a:avLst/>
                <a:gdLst>
                  <a:gd name="T0" fmla="*/ 14 w 29"/>
                  <a:gd name="T1" fmla="*/ 3 h 11"/>
                  <a:gd name="T2" fmla="*/ 14 w 29"/>
                  <a:gd name="T3" fmla="*/ 3 h 11"/>
                  <a:gd name="T4" fmla="*/ 4 w 29"/>
                  <a:gd name="T5" fmla="*/ 6 h 11"/>
                  <a:gd name="T6" fmla="*/ 0 w 29"/>
                  <a:gd name="T7" fmla="*/ 4 h 11"/>
                  <a:gd name="T8" fmla="*/ 1 w 29"/>
                  <a:gd name="T9" fmla="*/ 0 h 11"/>
                  <a:gd name="T10" fmla="*/ 14 w 29"/>
                  <a:gd name="T11" fmla="*/ 3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9" h="11">
                    <a:moveTo>
                      <a:pt x="29" y="6"/>
                    </a:moveTo>
                    <a:lnTo>
                      <a:pt x="28" y="6"/>
                    </a:lnTo>
                    <a:lnTo>
                      <a:pt x="8" y="11"/>
                    </a:lnTo>
                    <a:lnTo>
                      <a:pt x="0" y="8"/>
                    </a:lnTo>
                    <a:lnTo>
                      <a:pt x="3" y="0"/>
                    </a:lnTo>
                    <a:lnTo>
                      <a:pt x="29" y="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91" name="Freeform 221">
                <a:extLst>
                  <a:ext uri="{FF2B5EF4-FFF2-40B4-BE49-F238E27FC236}">
                    <a16:creationId xmlns:a16="http://schemas.microsoft.com/office/drawing/2014/main" id="{32EFD90F-0D4C-3FC3-5365-EF3B7AAEA29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65" y="3484"/>
                <a:ext cx="3" cy="1"/>
              </a:xfrm>
              <a:custGeom>
                <a:avLst/>
                <a:gdLst>
                  <a:gd name="T0" fmla="*/ 3 w 6"/>
                  <a:gd name="T1" fmla="*/ 1 h 3"/>
                  <a:gd name="T2" fmla="*/ 2 w 6"/>
                  <a:gd name="T3" fmla="*/ 0 h 3"/>
                  <a:gd name="T4" fmla="*/ 0 w 6"/>
                  <a:gd name="T5" fmla="*/ 1 h 3"/>
                  <a:gd name="T6" fmla="*/ 3 w 6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3">
                    <a:moveTo>
                      <a:pt x="6" y="2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92" name="Freeform 222">
                <a:extLst>
                  <a:ext uri="{FF2B5EF4-FFF2-40B4-BE49-F238E27FC236}">
                    <a16:creationId xmlns:a16="http://schemas.microsoft.com/office/drawing/2014/main" id="{128BBA64-8476-5F0F-05AB-1AA2E994FE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4" y="3351"/>
                <a:ext cx="212" cy="163"/>
              </a:xfrm>
              <a:custGeom>
                <a:avLst/>
                <a:gdLst>
                  <a:gd name="T0" fmla="*/ 27 w 480"/>
                  <a:gd name="T1" fmla="*/ 78 h 373"/>
                  <a:gd name="T2" fmla="*/ 18 w 480"/>
                  <a:gd name="T3" fmla="*/ 56 h 373"/>
                  <a:gd name="T4" fmla="*/ 7 w 480"/>
                  <a:gd name="T5" fmla="*/ 48 h 373"/>
                  <a:gd name="T6" fmla="*/ 11 w 480"/>
                  <a:gd name="T7" fmla="*/ 35 h 373"/>
                  <a:gd name="T8" fmla="*/ 1 w 480"/>
                  <a:gd name="T9" fmla="*/ 12 h 373"/>
                  <a:gd name="T10" fmla="*/ 19 w 480"/>
                  <a:gd name="T11" fmla="*/ 0 h 373"/>
                  <a:gd name="T12" fmla="*/ 36 w 480"/>
                  <a:gd name="T13" fmla="*/ 8 h 373"/>
                  <a:gd name="T14" fmla="*/ 65 w 480"/>
                  <a:gd name="T15" fmla="*/ 12 h 373"/>
                  <a:gd name="T16" fmla="*/ 86 w 480"/>
                  <a:gd name="T17" fmla="*/ 16 h 373"/>
                  <a:gd name="T18" fmla="*/ 98 w 480"/>
                  <a:gd name="T19" fmla="*/ 33 h 373"/>
                  <a:gd name="T20" fmla="*/ 117 w 480"/>
                  <a:gd name="T21" fmla="*/ 35 h 373"/>
                  <a:gd name="T22" fmla="*/ 129 w 480"/>
                  <a:gd name="T23" fmla="*/ 59 h 373"/>
                  <a:gd name="T24" fmla="*/ 129 w 480"/>
                  <a:gd name="T25" fmla="*/ 84 h 373"/>
                  <a:gd name="T26" fmla="*/ 133 w 480"/>
                  <a:gd name="T27" fmla="*/ 113 h 373"/>
                  <a:gd name="T28" fmla="*/ 138 w 480"/>
                  <a:gd name="T29" fmla="*/ 125 h 373"/>
                  <a:gd name="T30" fmla="*/ 162 w 480"/>
                  <a:gd name="T31" fmla="*/ 127 h 373"/>
                  <a:gd name="T32" fmla="*/ 174 w 480"/>
                  <a:gd name="T33" fmla="*/ 126 h 373"/>
                  <a:gd name="T34" fmla="*/ 182 w 480"/>
                  <a:gd name="T35" fmla="*/ 106 h 373"/>
                  <a:gd name="T36" fmla="*/ 206 w 480"/>
                  <a:gd name="T37" fmla="*/ 100 h 373"/>
                  <a:gd name="T38" fmla="*/ 212 w 480"/>
                  <a:gd name="T39" fmla="*/ 104 h 373"/>
                  <a:gd name="T40" fmla="*/ 203 w 480"/>
                  <a:gd name="T41" fmla="*/ 118 h 373"/>
                  <a:gd name="T42" fmla="*/ 197 w 480"/>
                  <a:gd name="T43" fmla="*/ 126 h 373"/>
                  <a:gd name="T44" fmla="*/ 182 w 480"/>
                  <a:gd name="T45" fmla="*/ 133 h 373"/>
                  <a:gd name="T46" fmla="*/ 171 w 480"/>
                  <a:gd name="T47" fmla="*/ 139 h 373"/>
                  <a:gd name="T48" fmla="*/ 162 w 480"/>
                  <a:gd name="T49" fmla="*/ 156 h 373"/>
                  <a:gd name="T50" fmla="*/ 145 w 480"/>
                  <a:gd name="T51" fmla="*/ 147 h 373"/>
                  <a:gd name="T52" fmla="*/ 141 w 480"/>
                  <a:gd name="T53" fmla="*/ 147 h 373"/>
                  <a:gd name="T54" fmla="*/ 126 w 480"/>
                  <a:gd name="T55" fmla="*/ 153 h 373"/>
                  <a:gd name="T56" fmla="*/ 100 w 480"/>
                  <a:gd name="T57" fmla="*/ 140 h 373"/>
                  <a:gd name="T58" fmla="*/ 81 w 480"/>
                  <a:gd name="T59" fmla="*/ 129 h 373"/>
                  <a:gd name="T60" fmla="*/ 64 w 480"/>
                  <a:gd name="T61" fmla="*/ 116 h 373"/>
                  <a:gd name="T62" fmla="*/ 65 w 480"/>
                  <a:gd name="T63" fmla="*/ 106 h 373"/>
                  <a:gd name="T64" fmla="*/ 61 w 480"/>
                  <a:gd name="T65" fmla="*/ 86 h 373"/>
                  <a:gd name="T66" fmla="*/ 55 w 480"/>
                  <a:gd name="T67" fmla="*/ 74 h 373"/>
                  <a:gd name="T68" fmla="*/ 50 w 480"/>
                  <a:gd name="T69" fmla="*/ 68 h 373"/>
                  <a:gd name="T70" fmla="*/ 42 w 480"/>
                  <a:gd name="T71" fmla="*/ 61 h 373"/>
                  <a:gd name="T72" fmla="*/ 36 w 480"/>
                  <a:gd name="T73" fmla="*/ 45 h 373"/>
                  <a:gd name="T74" fmla="*/ 29 w 480"/>
                  <a:gd name="T75" fmla="*/ 31 h 373"/>
                  <a:gd name="T76" fmla="*/ 20 w 480"/>
                  <a:gd name="T77" fmla="*/ 10 h 373"/>
                  <a:gd name="T78" fmla="*/ 13 w 480"/>
                  <a:gd name="T79" fmla="*/ 25 h 373"/>
                  <a:gd name="T80" fmla="*/ 23 w 480"/>
                  <a:gd name="T81" fmla="*/ 47 h 373"/>
                  <a:gd name="T82" fmla="*/ 27 w 480"/>
                  <a:gd name="T83" fmla="*/ 63 h 373"/>
                  <a:gd name="T84" fmla="*/ 36 w 480"/>
                  <a:gd name="T85" fmla="*/ 80 h 3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480" h="373">
                    <a:moveTo>
                      <a:pt x="83" y="192"/>
                    </a:moveTo>
                    <a:lnTo>
                      <a:pt x="73" y="199"/>
                    </a:lnTo>
                    <a:lnTo>
                      <a:pt x="62" y="179"/>
                    </a:lnTo>
                    <a:lnTo>
                      <a:pt x="45" y="162"/>
                    </a:lnTo>
                    <a:lnTo>
                      <a:pt x="46" y="145"/>
                    </a:lnTo>
                    <a:lnTo>
                      <a:pt x="40" y="129"/>
                    </a:lnTo>
                    <a:lnTo>
                      <a:pt x="35" y="117"/>
                    </a:lnTo>
                    <a:lnTo>
                      <a:pt x="23" y="117"/>
                    </a:lnTo>
                    <a:lnTo>
                      <a:pt x="15" y="109"/>
                    </a:lnTo>
                    <a:lnTo>
                      <a:pt x="8" y="99"/>
                    </a:lnTo>
                    <a:lnTo>
                      <a:pt x="22" y="102"/>
                    </a:lnTo>
                    <a:lnTo>
                      <a:pt x="25" y="81"/>
                    </a:lnTo>
                    <a:lnTo>
                      <a:pt x="15" y="66"/>
                    </a:lnTo>
                    <a:lnTo>
                      <a:pt x="5" y="53"/>
                    </a:lnTo>
                    <a:lnTo>
                      <a:pt x="3" y="28"/>
                    </a:lnTo>
                    <a:lnTo>
                      <a:pt x="0" y="1"/>
                    </a:lnTo>
                    <a:lnTo>
                      <a:pt x="22" y="1"/>
                    </a:lnTo>
                    <a:lnTo>
                      <a:pt x="42" y="0"/>
                    </a:lnTo>
                    <a:lnTo>
                      <a:pt x="56" y="6"/>
                    </a:lnTo>
                    <a:lnTo>
                      <a:pt x="70" y="13"/>
                    </a:lnTo>
                    <a:lnTo>
                      <a:pt x="82" y="19"/>
                    </a:lnTo>
                    <a:lnTo>
                      <a:pt x="96" y="28"/>
                    </a:lnTo>
                    <a:lnTo>
                      <a:pt x="121" y="28"/>
                    </a:lnTo>
                    <a:lnTo>
                      <a:pt x="147" y="28"/>
                    </a:lnTo>
                    <a:lnTo>
                      <a:pt x="150" y="18"/>
                    </a:lnTo>
                    <a:lnTo>
                      <a:pt x="179" y="18"/>
                    </a:lnTo>
                    <a:lnTo>
                      <a:pt x="195" y="36"/>
                    </a:lnTo>
                    <a:lnTo>
                      <a:pt x="198" y="58"/>
                    </a:lnTo>
                    <a:lnTo>
                      <a:pt x="209" y="66"/>
                    </a:lnTo>
                    <a:lnTo>
                      <a:pt x="221" y="76"/>
                    </a:lnTo>
                    <a:lnTo>
                      <a:pt x="232" y="59"/>
                    </a:lnTo>
                    <a:lnTo>
                      <a:pt x="255" y="61"/>
                    </a:lnTo>
                    <a:lnTo>
                      <a:pt x="264" y="81"/>
                    </a:lnTo>
                    <a:lnTo>
                      <a:pt x="272" y="99"/>
                    </a:lnTo>
                    <a:lnTo>
                      <a:pt x="278" y="124"/>
                    </a:lnTo>
                    <a:lnTo>
                      <a:pt x="291" y="134"/>
                    </a:lnTo>
                    <a:lnTo>
                      <a:pt x="311" y="137"/>
                    </a:lnTo>
                    <a:lnTo>
                      <a:pt x="300" y="165"/>
                    </a:lnTo>
                    <a:lnTo>
                      <a:pt x="291" y="192"/>
                    </a:lnTo>
                    <a:lnTo>
                      <a:pt x="288" y="218"/>
                    </a:lnTo>
                    <a:lnTo>
                      <a:pt x="292" y="240"/>
                    </a:lnTo>
                    <a:lnTo>
                      <a:pt x="300" y="258"/>
                    </a:lnTo>
                    <a:lnTo>
                      <a:pt x="305" y="271"/>
                    </a:lnTo>
                    <a:lnTo>
                      <a:pt x="309" y="285"/>
                    </a:lnTo>
                    <a:lnTo>
                      <a:pt x="312" y="285"/>
                    </a:lnTo>
                    <a:lnTo>
                      <a:pt x="329" y="295"/>
                    </a:lnTo>
                    <a:lnTo>
                      <a:pt x="346" y="293"/>
                    </a:lnTo>
                    <a:lnTo>
                      <a:pt x="367" y="290"/>
                    </a:lnTo>
                    <a:lnTo>
                      <a:pt x="379" y="290"/>
                    </a:lnTo>
                    <a:lnTo>
                      <a:pt x="387" y="290"/>
                    </a:lnTo>
                    <a:lnTo>
                      <a:pt x="393" y="288"/>
                    </a:lnTo>
                    <a:lnTo>
                      <a:pt x="391" y="283"/>
                    </a:lnTo>
                    <a:lnTo>
                      <a:pt x="405" y="266"/>
                    </a:lnTo>
                    <a:lnTo>
                      <a:pt x="413" y="243"/>
                    </a:lnTo>
                    <a:lnTo>
                      <a:pt x="432" y="233"/>
                    </a:lnTo>
                    <a:lnTo>
                      <a:pt x="450" y="232"/>
                    </a:lnTo>
                    <a:lnTo>
                      <a:pt x="467" y="228"/>
                    </a:lnTo>
                    <a:lnTo>
                      <a:pt x="472" y="228"/>
                    </a:lnTo>
                    <a:lnTo>
                      <a:pt x="478" y="233"/>
                    </a:lnTo>
                    <a:lnTo>
                      <a:pt x="480" y="237"/>
                    </a:lnTo>
                    <a:lnTo>
                      <a:pt x="463" y="261"/>
                    </a:lnTo>
                    <a:lnTo>
                      <a:pt x="459" y="270"/>
                    </a:lnTo>
                    <a:lnTo>
                      <a:pt x="459" y="271"/>
                    </a:lnTo>
                    <a:lnTo>
                      <a:pt x="459" y="275"/>
                    </a:lnTo>
                    <a:lnTo>
                      <a:pt x="452" y="293"/>
                    </a:lnTo>
                    <a:lnTo>
                      <a:pt x="447" y="288"/>
                    </a:lnTo>
                    <a:lnTo>
                      <a:pt x="444" y="290"/>
                    </a:lnTo>
                    <a:lnTo>
                      <a:pt x="428" y="305"/>
                    </a:lnTo>
                    <a:lnTo>
                      <a:pt x="411" y="305"/>
                    </a:lnTo>
                    <a:lnTo>
                      <a:pt x="394" y="305"/>
                    </a:lnTo>
                    <a:lnTo>
                      <a:pt x="393" y="318"/>
                    </a:lnTo>
                    <a:lnTo>
                      <a:pt x="388" y="318"/>
                    </a:lnTo>
                    <a:lnTo>
                      <a:pt x="401" y="338"/>
                    </a:lnTo>
                    <a:lnTo>
                      <a:pt x="377" y="341"/>
                    </a:lnTo>
                    <a:lnTo>
                      <a:pt x="367" y="358"/>
                    </a:lnTo>
                    <a:lnTo>
                      <a:pt x="363" y="373"/>
                    </a:lnTo>
                    <a:lnTo>
                      <a:pt x="346" y="354"/>
                    </a:lnTo>
                    <a:lnTo>
                      <a:pt x="329" y="336"/>
                    </a:lnTo>
                    <a:lnTo>
                      <a:pt x="337" y="341"/>
                    </a:lnTo>
                    <a:lnTo>
                      <a:pt x="326" y="336"/>
                    </a:lnTo>
                    <a:lnTo>
                      <a:pt x="319" y="336"/>
                    </a:lnTo>
                    <a:lnTo>
                      <a:pt x="320" y="338"/>
                    </a:lnTo>
                    <a:lnTo>
                      <a:pt x="305" y="344"/>
                    </a:lnTo>
                    <a:lnTo>
                      <a:pt x="286" y="349"/>
                    </a:lnTo>
                    <a:lnTo>
                      <a:pt x="264" y="339"/>
                    </a:lnTo>
                    <a:lnTo>
                      <a:pt x="246" y="329"/>
                    </a:lnTo>
                    <a:lnTo>
                      <a:pt x="227" y="320"/>
                    </a:lnTo>
                    <a:lnTo>
                      <a:pt x="207" y="311"/>
                    </a:lnTo>
                    <a:lnTo>
                      <a:pt x="195" y="303"/>
                    </a:lnTo>
                    <a:lnTo>
                      <a:pt x="184" y="296"/>
                    </a:lnTo>
                    <a:lnTo>
                      <a:pt x="170" y="290"/>
                    </a:lnTo>
                    <a:lnTo>
                      <a:pt x="158" y="276"/>
                    </a:lnTo>
                    <a:lnTo>
                      <a:pt x="144" y="265"/>
                    </a:lnTo>
                    <a:lnTo>
                      <a:pt x="142" y="250"/>
                    </a:lnTo>
                    <a:lnTo>
                      <a:pt x="148" y="247"/>
                    </a:lnTo>
                    <a:lnTo>
                      <a:pt x="147" y="242"/>
                    </a:lnTo>
                    <a:lnTo>
                      <a:pt x="152" y="228"/>
                    </a:lnTo>
                    <a:lnTo>
                      <a:pt x="144" y="213"/>
                    </a:lnTo>
                    <a:lnTo>
                      <a:pt x="139" y="197"/>
                    </a:lnTo>
                    <a:lnTo>
                      <a:pt x="128" y="182"/>
                    </a:lnTo>
                    <a:lnTo>
                      <a:pt x="116" y="169"/>
                    </a:lnTo>
                    <a:lnTo>
                      <a:pt x="124" y="169"/>
                    </a:lnTo>
                    <a:lnTo>
                      <a:pt x="114" y="159"/>
                    </a:lnTo>
                    <a:lnTo>
                      <a:pt x="111" y="155"/>
                    </a:lnTo>
                    <a:lnTo>
                      <a:pt x="113" y="155"/>
                    </a:lnTo>
                    <a:lnTo>
                      <a:pt x="100" y="147"/>
                    </a:lnTo>
                    <a:lnTo>
                      <a:pt x="104" y="144"/>
                    </a:lnTo>
                    <a:lnTo>
                      <a:pt x="96" y="140"/>
                    </a:lnTo>
                    <a:lnTo>
                      <a:pt x="102" y="129"/>
                    </a:lnTo>
                    <a:lnTo>
                      <a:pt x="96" y="122"/>
                    </a:lnTo>
                    <a:lnTo>
                      <a:pt x="82" y="102"/>
                    </a:lnTo>
                    <a:lnTo>
                      <a:pt x="82" y="97"/>
                    </a:lnTo>
                    <a:lnTo>
                      <a:pt x="73" y="87"/>
                    </a:lnTo>
                    <a:lnTo>
                      <a:pt x="65" y="71"/>
                    </a:lnTo>
                    <a:lnTo>
                      <a:pt x="59" y="53"/>
                    </a:lnTo>
                    <a:lnTo>
                      <a:pt x="59" y="28"/>
                    </a:lnTo>
                    <a:lnTo>
                      <a:pt x="46" y="23"/>
                    </a:lnTo>
                    <a:lnTo>
                      <a:pt x="32" y="15"/>
                    </a:lnTo>
                    <a:lnTo>
                      <a:pt x="31" y="36"/>
                    </a:lnTo>
                    <a:lnTo>
                      <a:pt x="29" y="58"/>
                    </a:lnTo>
                    <a:lnTo>
                      <a:pt x="39" y="76"/>
                    </a:lnTo>
                    <a:lnTo>
                      <a:pt x="46" y="92"/>
                    </a:lnTo>
                    <a:lnTo>
                      <a:pt x="52" y="107"/>
                    </a:lnTo>
                    <a:lnTo>
                      <a:pt x="59" y="122"/>
                    </a:lnTo>
                    <a:lnTo>
                      <a:pt x="59" y="121"/>
                    </a:lnTo>
                    <a:lnTo>
                      <a:pt x="62" y="144"/>
                    </a:lnTo>
                    <a:lnTo>
                      <a:pt x="66" y="169"/>
                    </a:lnTo>
                    <a:lnTo>
                      <a:pt x="73" y="172"/>
                    </a:lnTo>
                    <a:lnTo>
                      <a:pt x="82" y="184"/>
                    </a:lnTo>
                    <a:lnTo>
                      <a:pt x="83" y="19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93" name="Freeform 223">
                <a:extLst>
                  <a:ext uri="{FF2B5EF4-FFF2-40B4-BE49-F238E27FC236}">
                    <a16:creationId xmlns:a16="http://schemas.microsoft.com/office/drawing/2014/main" id="{0C8FA6E8-0500-BFEE-D5B0-157A0BD9D7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7" y="3418"/>
                <a:ext cx="5" cy="7"/>
              </a:xfrm>
              <a:custGeom>
                <a:avLst/>
                <a:gdLst>
                  <a:gd name="T0" fmla="*/ 5 w 9"/>
                  <a:gd name="T1" fmla="*/ 6 h 17"/>
                  <a:gd name="T2" fmla="*/ 3 w 9"/>
                  <a:gd name="T3" fmla="*/ 0 h 17"/>
                  <a:gd name="T4" fmla="*/ 0 w 9"/>
                  <a:gd name="T5" fmla="*/ 6 h 17"/>
                  <a:gd name="T6" fmla="*/ 1 w 9"/>
                  <a:gd name="T7" fmla="*/ 7 h 17"/>
                  <a:gd name="T8" fmla="*/ 5 w 9"/>
                  <a:gd name="T9" fmla="*/ 6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" h="17">
                    <a:moveTo>
                      <a:pt x="9" y="15"/>
                    </a:moveTo>
                    <a:lnTo>
                      <a:pt x="5" y="0"/>
                    </a:lnTo>
                    <a:lnTo>
                      <a:pt x="0" y="15"/>
                    </a:lnTo>
                    <a:lnTo>
                      <a:pt x="1" y="17"/>
                    </a:lnTo>
                    <a:lnTo>
                      <a:pt x="9" y="1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94" name="Freeform 224">
                <a:extLst>
                  <a:ext uri="{FF2B5EF4-FFF2-40B4-BE49-F238E27FC236}">
                    <a16:creationId xmlns:a16="http://schemas.microsoft.com/office/drawing/2014/main" id="{718ADA72-79E4-D5B6-3FDF-3E515C8FCF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" y="3401"/>
                <a:ext cx="5" cy="9"/>
              </a:xfrm>
              <a:custGeom>
                <a:avLst/>
                <a:gdLst>
                  <a:gd name="T0" fmla="*/ 2 w 11"/>
                  <a:gd name="T1" fmla="*/ 9 h 20"/>
                  <a:gd name="T2" fmla="*/ 3 w 11"/>
                  <a:gd name="T3" fmla="*/ 5 h 20"/>
                  <a:gd name="T4" fmla="*/ 0 w 11"/>
                  <a:gd name="T5" fmla="*/ 0 h 20"/>
                  <a:gd name="T6" fmla="*/ 5 w 11"/>
                  <a:gd name="T7" fmla="*/ 7 h 20"/>
                  <a:gd name="T8" fmla="*/ 2 w 11"/>
                  <a:gd name="T9" fmla="*/ 9 h 2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" h="20">
                    <a:moveTo>
                      <a:pt x="5" y="20"/>
                    </a:moveTo>
                    <a:lnTo>
                      <a:pt x="6" y="11"/>
                    </a:lnTo>
                    <a:lnTo>
                      <a:pt x="0" y="0"/>
                    </a:lnTo>
                    <a:lnTo>
                      <a:pt x="11" y="15"/>
                    </a:lnTo>
                    <a:lnTo>
                      <a:pt x="5" y="2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95" name="Freeform 225">
                <a:extLst>
                  <a:ext uri="{FF2B5EF4-FFF2-40B4-BE49-F238E27FC236}">
                    <a16:creationId xmlns:a16="http://schemas.microsoft.com/office/drawing/2014/main" id="{EF68E89D-3A72-326F-2273-1BB2E475F6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81" y="3416"/>
                <a:ext cx="4" cy="6"/>
              </a:xfrm>
              <a:custGeom>
                <a:avLst/>
                <a:gdLst>
                  <a:gd name="T0" fmla="*/ 2 w 8"/>
                  <a:gd name="T1" fmla="*/ 6 h 15"/>
                  <a:gd name="T2" fmla="*/ 4 w 8"/>
                  <a:gd name="T3" fmla="*/ 3 h 15"/>
                  <a:gd name="T4" fmla="*/ 0 w 8"/>
                  <a:gd name="T5" fmla="*/ 0 h 15"/>
                  <a:gd name="T6" fmla="*/ 2 w 8"/>
                  <a:gd name="T7" fmla="*/ 2 h 15"/>
                  <a:gd name="T8" fmla="*/ 4 w 8"/>
                  <a:gd name="T9" fmla="*/ 3 h 15"/>
                  <a:gd name="T10" fmla="*/ 2 w 8"/>
                  <a:gd name="T11" fmla="*/ 5 h 15"/>
                  <a:gd name="T12" fmla="*/ 2 w 8"/>
                  <a:gd name="T13" fmla="*/ 6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" h="15">
                    <a:moveTo>
                      <a:pt x="3" y="15"/>
                    </a:moveTo>
                    <a:lnTo>
                      <a:pt x="8" y="7"/>
                    </a:lnTo>
                    <a:lnTo>
                      <a:pt x="0" y="0"/>
                    </a:lnTo>
                    <a:lnTo>
                      <a:pt x="3" y="5"/>
                    </a:lnTo>
                    <a:lnTo>
                      <a:pt x="7" y="7"/>
                    </a:lnTo>
                    <a:lnTo>
                      <a:pt x="3" y="13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96" name="Freeform 226">
                <a:extLst>
                  <a:ext uri="{FF2B5EF4-FFF2-40B4-BE49-F238E27FC236}">
                    <a16:creationId xmlns:a16="http://schemas.microsoft.com/office/drawing/2014/main" id="{03E8CC43-C1DD-710A-0CCF-A530F89FCD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1" y="3426"/>
                <a:ext cx="1" cy="4"/>
              </a:xfrm>
              <a:custGeom>
                <a:avLst/>
                <a:gdLst>
                  <a:gd name="T0" fmla="*/ 1 w 3"/>
                  <a:gd name="T1" fmla="*/ 4 h 8"/>
                  <a:gd name="T2" fmla="*/ 0 w 3"/>
                  <a:gd name="T3" fmla="*/ 1 h 8"/>
                  <a:gd name="T4" fmla="*/ 0 w 3"/>
                  <a:gd name="T5" fmla="*/ 0 h 8"/>
                  <a:gd name="T6" fmla="*/ 0 w 3"/>
                  <a:gd name="T7" fmla="*/ 4 h 8"/>
                  <a:gd name="T8" fmla="*/ 1 w 3"/>
                  <a:gd name="T9" fmla="*/ 4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" h="8">
                    <a:moveTo>
                      <a:pt x="3" y="7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97" name="Freeform 227">
                <a:extLst>
                  <a:ext uri="{FF2B5EF4-FFF2-40B4-BE49-F238E27FC236}">
                    <a16:creationId xmlns:a16="http://schemas.microsoft.com/office/drawing/2014/main" id="{1A80F97B-A875-0646-02E7-D3555DC3F7E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50" y="3741"/>
                <a:ext cx="318" cy="255"/>
              </a:xfrm>
              <a:custGeom>
                <a:avLst/>
                <a:gdLst>
                  <a:gd name="T0" fmla="*/ 179 w 719"/>
                  <a:gd name="T1" fmla="*/ 6 h 582"/>
                  <a:gd name="T2" fmla="*/ 183 w 719"/>
                  <a:gd name="T3" fmla="*/ 12 h 582"/>
                  <a:gd name="T4" fmla="*/ 168 w 719"/>
                  <a:gd name="T5" fmla="*/ 16 h 582"/>
                  <a:gd name="T6" fmla="*/ 162 w 719"/>
                  <a:gd name="T7" fmla="*/ 24 h 582"/>
                  <a:gd name="T8" fmla="*/ 159 w 719"/>
                  <a:gd name="T9" fmla="*/ 35 h 582"/>
                  <a:gd name="T10" fmla="*/ 152 w 719"/>
                  <a:gd name="T11" fmla="*/ 39 h 582"/>
                  <a:gd name="T12" fmla="*/ 142 w 719"/>
                  <a:gd name="T13" fmla="*/ 42 h 582"/>
                  <a:gd name="T14" fmla="*/ 135 w 719"/>
                  <a:gd name="T15" fmla="*/ 28 h 582"/>
                  <a:gd name="T16" fmla="*/ 128 w 719"/>
                  <a:gd name="T17" fmla="*/ 30 h 582"/>
                  <a:gd name="T18" fmla="*/ 121 w 719"/>
                  <a:gd name="T19" fmla="*/ 40 h 582"/>
                  <a:gd name="T20" fmla="*/ 114 w 719"/>
                  <a:gd name="T21" fmla="*/ 45 h 582"/>
                  <a:gd name="T22" fmla="*/ 113 w 719"/>
                  <a:gd name="T23" fmla="*/ 50 h 582"/>
                  <a:gd name="T24" fmla="*/ 107 w 719"/>
                  <a:gd name="T25" fmla="*/ 50 h 582"/>
                  <a:gd name="T26" fmla="*/ 105 w 719"/>
                  <a:gd name="T27" fmla="*/ 65 h 582"/>
                  <a:gd name="T28" fmla="*/ 92 w 719"/>
                  <a:gd name="T29" fmla="*/ 60 h 582"/>
                  <a:gd name="T30" fmla="*/ 73 w 719"/>
                  <a:gd name="T31" fmla="*/ 83 h 582"/>
                  <a:gd name="T32" fmla="*/ 47 w 719"/>
                  <a:gd name="T33" fmla="*/ 88 h 582"/>
                  <a:gd name="T34" fmla="*/ 22 w 719"/>
                  <a:gd name="T35" fmla="*/ 99 h 582"/>
                  <a:gd name="T36" fmla="*/ 14 w 719"/>
                  <a:gd name="T37" fmla="*/ 132 h 582"/>
                  <a:gd name="T38" fmla="*/ 10 w 719"/>
                  <a:gd name="T39" fmla="*/ 134 h 582"/>
                  <a:gd name="T40" fmla="*/ 9 w 719"/>
                  <a:gd name="T41" fmla="*/ 148 h 582"/>
                  <a:gd name="T42" fmla="*/ 11 w 719"/>
                  <a:gd name="T43" fmla="*/ 177 h 582"/>
                  <a:gd name="T44" fmla="*/ 3 w 719"/>
                  <a:gd name="T45" fmla="*/ 206 h 582"/>
                  <a:gd name="T46" fmla="*/ 10 w 719"/>
                  <a:gd name="T47" fmla="*/ 220 h 582"/>
                  <a:gd name="T48" fmla="*/ 36 w 719"/>
                  <a:gd name="T49" fmla="*/ 209 h 582"/>
                  <a:gd name="T50" fmla="*/ 71 w 719"/>
                  <a:gd name="T51" fmla="*/ 201 h 582"/>
                  <a:gd name="T52" fmla="*/ 111 w 719"/>
                  <a:gd name="T53" fmla="*/ 190 h 582"/>
                  <a:gd name="T54" fmla="*/ 146 w 719"/>
                  <a:gd name="T55" fmla="*/ 193 h 582"/>
                  <a:gd name="T56" fmla="*/ 152 w 719"/>
                  <a:gd name="T57" fmla="*/ 209 h 582"/>
                  <a:gd name="T58" fmla="*/ 156 w 719"/>
                  <a:gd name="T59" fmla="*/ 216 h 582"/>
                  <a:gd name="T60" fmla="*/ 175 w 719"/>
                  <a:gd name="T61" fmla="*/ 203 h 582"/>
                  <a:gd name="T62" fmla="*/ 166 w 719"/>
                  <a:gd name="T63" fmla="*/ 221 h 582"/>
                  <a:gd name="T64" fmla="*/ 173 w 719"/>
                  <a:gd name="T65" fmla="*/ 223 h 582"/>
                  <a:gd name="T66" fmla="*/ 174 w 719"/>
                  <a:gd name="T67" fmla="*/ 245 h 582"/>
                  <a:gd name="T68" fmla="*/ 204 w 719"/>
                  <a:gd name="T69" fmla="*/ 248 h 582"/>
                  <a:gd name="T70" fmla="*/ 207 w 719"/>
                  <a:gd name="T71" fmla="*/ 249 h 582"/>
                  <a:gd name="T72" fmla="*/ 215 w 719"/>
                  <a:gd name="T73" fmla="*/ 252 h 582"/>
                  <a:gd name="T74" fmla="*/ 250 w 719"/>
                  <a:gd name="T75" fmla="*/ 236 h 582"/>
                  <a:gd name="T76" fmla="*/ 277 w 719"/>
                  <a:gd name="T77" fmla="*/ 205 h 582"/>
                  <a:gd name="T78" fmla="*/ 303 w 719"/>
                  <a:gd name="T79" fmla="*/ 179 h 582"/>
                  <a:gd name="T80" fmla="*/ 314 w 719"/>
                  <a:gd name="T81" fmla="*/ 150 h 582"/>
                  <a:gd name="T82" fmla="*/ 314 w 719"/>
                  <a:gd name="T83" fmla="*/ 126 h 582"/>
                  <a:gd name="T84" fmla="*/ 307 w 719"/>
                  <a:gd name="T85" fmla="*/ 106 h 582"/>
                  <a:gd name="T86" fmla="*/ 299 w 719"/>
                  <a:gd name="T87" fmla="*/ 97 h 582"/>
                  <a:gd name="T88" fmla="*/ 291 w 719"/>
                  <a:gd name="T89" fmla="*/ 78 h 582"/>
                  <a:gd name="T90" fmla="*/ 279 w 719"/>
                  <a:gd name="T91" fmla="*/ 49 h 582"/>
                  <a:gd name="T92" fmla="*/ 269 w 719"/>
                  <a:gd name="T93" fmla="*/ 33 h 582"/>
                  <a:gd name="T94" fmla="*/ 265 w 719"/>
                  <a:gd name="T95" fmla="*/ 7 h 582"/>
                  <a:gd name="T96" fmla="*/ 257 w 719"/>
                  <a:gd name="T97" fmla="*/ 11 h 582"/>
                  <a:gd name="T98" fmla="*/ 254 w 719"/>
                  <a:gd name="T99" fmla="*/ 22 h 582"/>
                  <a:gd name="T100" fmla="*/ 250 w 719"/>
                  <a:gd name="T101" fmla="*/ 40 h 582"/>
                  <a:gd name="T102" fmla="*/ 228 w 719"/>
                  <a:gd name="T103" fmla="*/ 58 h 582"/>
                  <a:gd name="T104" fmla="*/ 202 w 719"/>
                  <a:gd name="T105" fmla="*/ 35 h 582"/>
                  <a:gd name="T106" fmla="*/ 213 w 719"/>
                  <a:gd name="T107" fmla="*/ 20 h 582"/>
                  <a:gd name="T108" fmla="*/ 209 w 719"/>
                  <a:gd name="T109" fmla="*/ 13 h 582"/>
                  <a:gd name="T110" fmla="*/ 195 w 719"/>
                  <a:gd name="T111" fmla="*/ 12 h 58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719" h="582">
                    <a:moveTo>
                      <a:pt x="421" y="13"/>
                    </a:moveTo>
                    <a:lnTo>
                      <a:pt x="413" y="13"/>
                    </a:lnTo>
                    <a:lnTo>
                      <a:pt x="408" y="10"/>
                    </a:lnTo>
                    <a:lnTo>
                      <a:pt x="405" y="13"/>
                    </a:lnTo>
                    <a:lnTo>
                      <a:pt x="400" y="12"/>
                    </a:lnTo>
                    <a:lnTo>
                      <a:pt x="408" y="17"/>
                    </a:lnTo>
                    <a:lnTo>
                      <a:pt x="416" y="20"/>
                    </a:lnTo>
                    <a:lnTo>
                      <a:pt x="413" y="28"/>
                    </a:lnTo>
                    <a:lnTo>
                      <a:pt x="407" y="32"/>
                    </a:lnTo>
                    <a:lnTo>
                      <a:pt x="390" y="28"/>
                    </a:lnTo>
                    <a:lnTo>
                      <a:pt x="385" y="32"/>
                    </a:lnTo>
                    <a:lnTo>
                      <a:pt x="380" y="37"/>
                    </a:lnTo>
                    <a:lnTo>
                      <a:pt x="376" y="35"/>
                    </a:lnTo>
                    <a:lnTo>
                      <a:pt x="374" y="40"/>
                    </a:lnTo>
                    <a:lnTo>
                      <a:pt x="366" y="50"/>
                    </a:lnTo>
                    <a:lnTo>
                      <a:pt x="366" y="55"/>
                    </a:lnTo>
                    <a:lnTo>
                      <a:pt x="359" y="61"/>
                    </a:lnTo>
                    <a:lnTo>
                      <a:pt x="351" y="76"/>
                    </a:lnTo>
                    <a:lnTo>
                      <a:pt x="356" y="78"/>
                    </a:lnTo>
                    <a:lnTo>
                      <a:pt x="359" y="81"/>
                    </a:lnTo>
                    <a:lnTo>
                      <a:pt x="353" y="88"/>
                    </a:lnTo>
                    <a:lnTo>
                      <a:pt x="359" y="96"/>
                    </a:lnTo>
                    <a:lnTo>
                      <a:pt x="345" y="86"/>
                    </a:lnTo>
                    <a:lnTo>
                      <a:pt x="343" y="88"/>
                    </a:lnTo>
                    <a:lnTo>
                      <a:pt x="331" y="83"/>
                    </a:lnTo>
                    <a:lnTo>
                      <a:pt x="328" y="95"/>
                    </a:lnTo>
                    <a:lnTo>
                      <a:pt x="325" y="95"/>
                    </a:lnTo>
                    <a:lnTo>
                      <a:pt x="320" y="96"/>
                    </a:lnTo>
                    <a:lnTo>
                      <a:pt x="322" y="91"/>
                    </a:lnTo>
                    <a:lnTo>
                      <a:pt x="326" y="78"/>
                    </a:lnTo>
                    <a:lnTo>
                      <a:pt x="308" y="61"/>
                    </a:lnTo>
                    <a:lnTo>
                      <a:pt x="306" y="65"/>
                    </a:lnTo>
                    <a:lnTo>
                      <a:pt x="298" y="70"/>
                    </a:lnTo>
                    <a:lnTo>
                      <a:pt x="297" y="66"/>
                    </a:lnTo>
                    <a:lnTo>
                      <a:pt x="292" y="68"/>
                    </a:lnTo>
                    <a:lnTo>
                      <a:pt x="289" y="68"/>
                    </a:lnTo>
                    <a:lnTo>
                      <a:pt x="286" y="78"/>
                    </a:lnTo>
                    <a:lnTo>
                      <a:pt x="283" y="73"/>
                    </a:lnTo>
                    <a:lnTo>
                      <a:pt x="274" y="83"/>
                    </a:lnTo>
                    <a:lnTo>
                      <a:pt x="274" y="91"/>
                    </a:lnTo>
                    <a:lnTo>
                      <a:pt x="266" y="88"/>
                    </a:lnTo>
                    <a:lnTo>
                      <a:pt x="271" y="98"/>
                    </a:lnTo>
                    <a:lnTo>
                      <a:pt x="263" y="95"/>
                    </a:lnTo>
                    <a:lnTo>
                      <a:pt x="257" y="103"/>
                    </a:lnTo>
                    <a:lnTo>
                      <a:pt x="258" y="104"/>
                    </a:lnTo>
                    <a:lnTo>
                      <a:pt x="261" y="104"/>
                    </a:lnTo>
                    <a:lnTo>
                      <a:pt x="255" y="108"/>
                    </a:lnTo>
                    <a:lnTo>
                      <a:pt x="255" y="114"/>
                    </a:lnTo>
                    <a:lnTo>
                      <a:pt x="260" y="114"/>
                    </a:lnTo>
                    <a:lnTo>
                      <a:pt x="250" y="114"/>
                    </a:lnTo>
                    <a:lnTo>
                      <a:pt x="246" y="114"/>
                    </a:lnTo>
                    <a:lnTo>
                      <a:pt x="241" y="114"/>
                    </a:lnTo>
                    <a:lnTo>
                      <a:pt x="238" y="118"/>
                    </a:lnTo>
                    <a:lnTo>
                      <a:pt x="241" y="128"/>
                    </a:lnTo>
                    <a:lnTo>
                      <a:pt x="238" y="129"/>
                    </a:lnTo>
                    <a:lnTo>
                      <a:pt x="238" y="148"/>
                    </a:lnTo>
                    <a:lnTo>
                      <a:pt x="232" y="133"/>
                    </a:lnTo>
                    <a:lnTo>
                      <a:pt x="227" y="116"/>
                    </a:lnTo>
                    <a:lnTo>
                      <a:pt x="221" y="123"/>
                    </a:lnTo>
                    <a:lnTo>
                      <a:pt x="209" y="138"/>
                    </a:lnTo>
                    <a:lnTo>
                      <a:pt x="209" y="153"/>
                    </a:lnTo>
                    <a:lnTo>
                      <a:pt x="190" y="171"/>
                    </a:lnTo>
                    <a:lnTo>
                      <a:pt x="178" y="179"/>
                    </a:lnTo>
                    <a:lnTo>
                      <a:pt x="164" y="189"/>
                    </a:lnTo>
                    <a:lnTo>
                      <a:pt x="144" y="192"/>
                    </a:lnTo>
                    <a:lnTo>
                      <a:pt x="127" y="197"/>
                    </a:lnTo>
                    <a:lnTo>
                      <a:pt x="110" y="204"/>
                    </a:lnTo>
                    <a:lnTo>
                      <a:pt x="107" y="201"/>
                    </a:lnTo>
                    <a:lnTo>
                      <a:pt x="80" y="217"/>
                    </a:lnTo>
                    <a:lnTo>
                      <a:pt x="55" y="234"/>
                    </a:lnTo>
                    <a:lnTo>
                      <a:pt x="49" y="240"/>
                    </a:lnTo>
                    <a:lnTo>
                      <a:pt x="49" y="227"/>
                    </a:lnTo>
                    <a:lnTo>
                      <a:pt x="42" y="249"/>
                    </a:lnTo>
                    <a:lnTo>
                      <a:pt x="32" y="269"/>
                    </a:lnTo>
                    <a:lnTo>
                      <a:pt x="29" y="287"/>
                    </a:lnTo>
                    <a:lnTo>
                      <a:pt x="32" y="302"/>
                    </a:lnTo>
                    <a:lnTo>
                      <a:pt x="34" y="317"/>
                    </a:lnTo>
                    <a:lnTo>
                      <a:pt x="29" y="320"/>
                    </a:lnTo>
                    <a:lnTo>
                      <a:pt x="29" y="315"/>
                    </a:lnTo>
                    <a:lnTo>
                      <a:pt x="23" y="305"/>
                    </a:lnTo>
                    <a:lnTo>
                      <a:pt x="24" y="327"/>
                    </a:lnTo>
                    <a:lnTo>
                      <a:pt x="18" y="317"/>
                    </a:lnTo>
                    <a:lnTo>
                      <a:pt x="20" y="337"/>
                    </a:lnTo>
                    <a:lnTo>
                      <a:pt x="23" y="355"/>
                    </a:lnTo>
                    <a:lnTo>
                      <a:pt x="24" y="371"/>
                    </a:lnTo>
                    <a:lnTo>
                      <a:pt x="28" y="390"/>
                    </a:lnTo>
                    <a:lnTo>
                      <a:pt x="24" y="405"/>
                    </a:lnTo>
                    <a:lnTo>
                      <a:pt x="24" y="419"/>
                    </a:lnTo>
                    <a:lnTo>
                      <a:pt x="23" y="434"/>
                    </a:lnTo>
                    <a:lnTo>
                      <a:pt x="21" y="449"/>
                    </a:lnTo>
                    <a:lnTo>
                      <a:pt x="7" y="471"/>
                    </a:lnTo>
                    <a:lnTo>
                      <a:pt x="0" y="473"/>
                    </a:lnTo>
                    <a:lnTo>
                      <a:pt x="0" y="486"/>
                    </a:lnTo>
                    <a:lnTo>
                      <a:pt x="11" y="492"/>
                    </a:lnTo>
                    <a:lnTo>
                      <a:pt x="23" y="501"/>
                    </a:lnTo>
                    <a:lnTo>
                      <a:pt x="46" y="499"/>
                    </a:lnTo>
                    <a:lnTo>
                      <a:pt x="66" y="489"/>
                    </a:lnTo>
                    <a:lnTo>
                      <a:pt x="71" y="486"/>
                    </a:lnTo>
                    <a:lnTo>
                      <a:pt x="82" y="477"/>
                    </a:lnTo>
                    <a:lnTo>
                      <a:pt x="102" y="477"/>
                    </a:lnTo>
                    <a:lnTo>
                      <a:pt x="120" y="477"/>
                    </a:lnTo>
                    <a:lnTo>
                      <a:pt x="144" y="476"/>
                    </a:lnTo>
                    <a:lnTo>
                      <a:pt x="161" y="459"/>
                    </a:lnTo>
                    <a:lnTo>
                      <a:pt x="184" y="453"/>
                    </a:lnTo>
                    <a:lnTo>
                      <a:pt x="206" y="444"/>
                    </a:lnTo>
                    <a:lnTo>
                      <a:pt x="227" y="439"/>
                    </a:lnTo>
                    <a:lnTo>
                      <a:pt x="250" y="434"/>
                    </a:lnTo>
                    <a:lnTo>
                      <a:pt x="272" y="431"/>
                    </a:lnTo>
                    <a:lnTo>
                      <a:pt x="294" y="429"/>
                    </a:lnTo>
                    <a:lnTo>
                      <a:pt x="306" y="433"/>
                    </a:lnTo>
                    <a:lnTo>
                      <a:pt x="329" y="441"/>
                    </a:lnTo>
                    <a:lnTo>
                      <a:pt x="335" y="448"/>
                    </a:lnTo>
                    <a:lnTo>
                      <a:pt x="337" y="453"/>
                    </a:lnTo>
                    <a:lnTo>
                      <a:pt x="339" y="461"/>
                    </a:lnTo>
                    <a:lnTo>
                      <a:pt x="343" y="476"/>
                    </a:lnTo>
                    <a:lnTo>
                      <a:pt x="343" y="489"/>
                    </a:lnTo>
                    <a:lnTo>
                      <a:pt x="339" y="489"/>
                    </a:lnTo>
                    <a:lnTo>
                      <a:pt x="348" y="496"/>
                    </a:lnTo>
                    <a:lnTo>
                      <a:pt x="353" y="492"/>
                    </a:lnTo>
                    <a:lnTo>
                      <a:pt x="373" y="476"/>
                    </a:lnTo>
                    <a:lnTo>
                      <a:pt x="393" y="459"/>
                    </a:lnTo>
                    <a:lnTo>
                      <a:pt x="402" y="449"/>
                    </a:lnTo>
                    <a:lnTo>
                      <a:pt x="396" y="464"/>
                    </a:lnTo>
                    <a:lnTo>
                      <a:pt x="383" y="481"/>
                    </a:lnTo>
                    <a:lnTo>
                      <a:pt x="371" y="497"/>
                    </a:lnTo>
                    <a:lnTo>
                      <a:pt x="363" y="504"/>
                    </a:lnTo>
                    <a:lnTo>
                      <a:pt x="376" y="504"/>
                    </a:lnTo>
                    <a:lnTo>
                      <a:pt x="390" y="482"/>
                    </a:lnTo>
                    <a:lnTo>
                      <a:pt x="396" y="492"/>
                    </a:lnTo>
                    <a:lnTo>
                      <a:pt x="380" y="509"/>
                    </a:lnTo>
                    <a:lnTo>
                      <a:pt x="391" y="509"/>
                    </a:lnTo>
                    <a:lnTo>
                      <a:pt x="394" y="511"/>
                    </a:lnTo>
                    <a:lnTo>
                      <a:pt x="399" y="519"/>
                    </a:lnTo>
                    <a:lnTo>
                      <a:pt x="391" y="539"/>
                    </a:lnTo>
                    <a:lnTo>
                      <a:pt x="393" y="560"/>
                    </a:lnTo>
                    <a:lnTo>
                      <a:pt x="410" y="565"/>
                    </a:lnTo>
                    <a:lnTo>
                      <a:pt x="422" y="572"/>
                    </a:lnTo>
                    <a:lnTo>
                      <a:pt x="435" y="575"/>
                    </a:lnTo>
                    <a:lnTo>
                      <a:pt x="461" y="565"/>
                    </a:lnTo>
                    <a:lnTo>
                      <a:pt x="459" y="564"/>
                    </a:lnTo>
                    <a:lnTo>
                      <a:pt x="470" y="560"/>
                    </a:lnTo>
                    <a:lnTo>
                      <a:pt x="464" y="569"/>
                    </a:lnTo>
                    <a:lnTo>
                      <a:pt x="467" y="569"/>
                    </a:lnTo>
                    <a:lnTo>
                      <a:pt x="475" y="569"/>
                    </a:lnTo>
                    <a:lnTo>
                      <a:pt x="478" y="579"/>
                    </a:lnTo>
                    <a:lnTo>
                      <a:pt x="481" y="582"/>
                    </a:lnTo>
                    <a:lnTo>
                      <a:pt x="487" y="575"/>
                    </a:lnTo>
                    <a:lnTo>
                      <a:pt x="520" y="557"/>
                    </a:lnTo>
                    <a:lnTo>
                      <a:pt x="535" y="557"/>
                    </a:lnTo>
                    <a:lnTo>
                      <a:pt x="557" y="550"/>
                    </a:lnTo>
                    <a:lnTo>
                      <a:pt x="566" y="539"/>
                    </a:lnTo>
                    <a:lnTo>
                      <a:pt x="585" y="517"/>
                    </a:lnTo>
                    <a:lnTo>
                      <a:pt x="603" y="497"/>
                    </a:lnTo>
                    <a:lnTo>
                      <a:pt x="620" y="476"/>
                    </a:lnTo>
                    <a:lnTo>
                      <a:pt x="626" y="469"/>
                    </a:lnTo>
                    <a:lnTo>
                      <a:pt x="646" y="453"/>
                    </a:lnTo>
                    <a:lnTo>
                      <a:pt x="654" y="448"/>
                    </a:lnTo>
                    <a:lnTo>
                      <a:pt x="668" y="429"/>
                    </a:lnTo>
                    <a:lnTo>
                      <a:pt x="684" y="408"/>
                    </a:lnTo>
                    <a:lnTo>
                      <a:pt x="696" y="390"/>
                    </a:lnTo>
                    <a:lnTo>
                      <a:pt x="708" y="370"/>
                    </a:lnTo>
                    <a:lnTo>
                      <a:pt x="710" y="356"/>
                    </a:lnTo>
                    <a:lnTo>
                      <a:pt x="710" y="343"/>
                    </a:lnTo>
                    <a:lnTo>
                      <a:pt x="715" y="327"/>
                    </a:lnTo>
                    <a:lnTo>
                      <a:pt x="719" y="310"/>
                    </a:lnTo>
                    <a:lnTo>
                      <a:pt x="718" y="297"/>
                    </a:lnTo>
                    <a:lnTo>
                      <a:pt x="711" y="287"/>
                    </a:lnTo>
                    <a:lnTo>
                      <a:pt x="704" y="275"/>
                    </a:lnTo>
                    <a:lnTo>
                      <a:pt x="691" y="262"/>
                    </a:lnTo>
                    <a:lnTo>
                      <a:pt x="696" y="237"/>
                    </a:lnTo>
                    <a:lnTo>
                      <a:pt x="694" y="242"/>
                    </a:lnTo>
                    <a:lnTo>
                      <a:pt x="685" y="235"/>
                    </a:lnTo>
                    <a:lnTo>
                      <a:pt x="684" y="244"/>
                    </a:lnTo>
                    <a:lnTo>
                      <a:pt x="677" y="237"/>
                    </a:lnTo>
                    <a:lnTo>
                      <a:pt x="677" y="221"/>
                    </a:lnTo>
                    <a:lnTo>
                      <a:pt x="671" y="204"/>
                    </a:lnTo>
                    <a:lnTo>
                      <a:pt x="673" y="199"/>
                    </a:lnTo>
                    <a:lnTo>
                      <a:pt x="668" y="194"/>
                    </a:lnTo>
                    <a:lnTo>
                      <a:pt x="657" y="179"/>
                    </a:lnTo>
                    <a:lnTo>
                      <a:pt x="636" y="164"/>
                    </a:lnTo>
                    <a:lnTo>
                      <a:pt x="636" y="146"/>
                    </a:lnTo>
                    <a:lnTo>
                      <a:pt x="634" y="126"/>
                    </a:lnTo>
                    <a:lnTo>
                      <a:pt x="631" y="111"/>
                    </a:lnTo>
                    <a:lnTo>
                      <a:pt x="634" y="91"/>
                    </a:lnTo>
                    <a:lnTo>
                      <a:pt x="629" y="83"/>
                    </a:lnTo>
                    <a:lnTo>
                      <a:pt x="620" y="73"/>
                    </a:lnTo>
                    <a:lnTo>
                      <a:pt x="608" y="75"/>
                    </a:lnTo>
                    <a:lnTo>
                      <a:pt x="606" y="60"/>
                    </a:lnTo>
                    <a:lnTo>
                      <a:pt x="606" y="45"/>
                    </a:lnTo>
                    <a:lnTo>
                      <a:pt x="603" y="27"/>
                    </a:lnTo>
                    <a:lnTo>
                      <a:pt x="599" y="17"/>
                    </a:lnTo>
                    <a:lnTo>
                      <a:pt x="595" y="5"/>
                    </a:lnTo>
                    <a:lnTo>
                      <a:pt x="594" y="0"/>
                    </a:lnTo>
                    <a:lnTo>
                      <a:pt x="585" y="17"/>
                    </a:lnTo>
                    <a:lnTo>
                      <a:pt x="580" y="25"/>
                    </a:lnTo>
                    <a:lnTo>
                      <a:pt x="575" y="37"/>
                    </a:lnTo>
                    <a:lnTo>
                      <a:pt x="578" y="40"/>
                    </a:lnTo>
                    <a:lnTo>
                      <a:pt x="574" y="50"/>
                    </a:lnTo>
                    <a:lnTo>
                      <a:pt x="572" y="58"/>
                    </a:lnTo>
                    <a:lnTo>
                      <a:pt x="569" y="58"/>
                    </a:lnTo>
                    <a:lnTo>
                      <a:pt x="569" y="75"/>
                    </a:lnTo>
                    <a:lnTo>
                      <a:pt x="566" y="91"/>
                    </a:lnTo>
                    <a:lnTo>
                      <a:pt x="552" y="114"/>
                    </a:lnTo>
                    <a:lnTo>
                      <a:pt x="541" y="138"/>
                    </a:lnTo>
                    <a:lnTo>
                      <a:pt x="527" y="141"/>
                    </a:lnTo>
                    <a:lnTo>
                      <a:pt x="515" y="133"/>
                    </a:lnTo>
                    <a:lnTo>
                      <a:pt x="496" y="118"/>
                    </a:lnTo>
                    <a:lnTo>
                      <a:pt x="478" y="106"/>
                    </a:lnTo>
                    <a:lnTo>
                      <a:pt x="467" y="93"/>
                    </a:lnTo>
                    <a:lnTo>
                      <a:pt x="456" y="81"/>
                    </a:lnTo>
                    <a:lnTo>
                      <a:pt x="469" y="61"/>
                    </a:lnTo>
                    <a:lnTo>
                      <a:pt x="475" y="50"/>
                    </a:lnTo>
                    <a:lnTo>
                      <a:pt x="478" y="51"/>
                    </a:lnTo>
                    <a:lnTo>
                      <a:pt x="482" y="45"/>
                    </a:lnTo>
                    <a:lnTo>
                      <a:pt x="492" y="32"/>
                    </a:lnTo>
                    <a:lnTo>
                      <a:pt x="482" y="25"/>
                    </a:lnTo>
                    <a:lnTo>
                      <a:pt x="475" y="35"/>
                    </a:lnTo>
                    <a:lnTo>
                      <a:pt x="473" y="30"/>
                    </a:lnTo>
                    <a:lnTo>
                      <a:pt x="467" y="30"/>
                    </a:lnTo>
                    <a:lnTo>
                      <a:pt x="470" y="27"/>
                    </a:lnTo>
                    <a:lnTo>
                      <a:pt x="455" y="30"/>
                    </a:lnTo>
                    <a:lnTo>
                      <a:pt x="442" y="27"/>
                    </a:lnTo>
                    <a:lnTo>
                      <a:pt x="433" y="22"/>
                    </a:lnTo>
                    <a:lnTo>
                      <a:pt x="421" y="1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98" name="Freeform 228">
                <a:extLst>
                  <a:ext uri="{FF2B5EF4-FFF2-40B4-BE49-F238E27FC236}">
                    <a16:creationId xmlns:a16="http://schemas.microsoft.com/office/drawing/2014/main" id="{FF2FE6AC-C237-60F2-E38C-7F0E4FA7A9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37" y="4011"/>
                <a:ext cx="31" cy="25"/>
              </a:xfrm>
              <a:custGeom>
                <a:avLst/>
                <a:gdLst>
                  <a:gd name="T0" fmla="*/ 12 w 69"/>
                  <a:gd name="T1" fmla="*/ 19 h 58"/>
                  <a:gd name="T2" fmla="*/ 3 w 69"/>
                  <a:gd name="T3" fmla="*/ 25 h 58"/>
                  <a:gd name="T4" fmla="*/ 0 w 69"/>
                  <a:gd name="T5" fmla="*/ 22 h 58"/>
                  <a:gd name="T6" fmla="*/ 0 w 69"/>
                  <a:gd name="T7" fmla="*/ 22 h 58"/>
                  <a:gd name="T8" fmla="*/ 0 w 69"/>
                  <a:gd name="T9" fmla="*/ 14 h 58"/>
                  <a:gd name="T10" fmla="*/ 0 w 69"/>
                  <a:gd name="T11" fmla="*/ 13 h 58"/>
                  <a:gd name="T12" fmla="*/ 2 w 69"/>
                  <a:gd name="T13" fmla="*/ 13 h 58"/>
                  <a:gd name="T14" fmla="*/ 3 w 69"/>
                  <a:gd name="T15" fmla="*/ 8 h 58"/>
                  <a:gd name="T16" fmla="*/ 4 w 69"/>
                  <a:gd name="T17" fmla="*/ 1 h 58"/>
                  <a:gd name="T18" fmla="*/ 7 w 69"/>
                  <a:gd name="T19" fmla="*/ 0 h 58"/>
                  <a:gd name="T20" fmla="*/ 12 w 69"/>
                  <a:gd name="T21" fmla="*/ 2 h 58"/>
                  <a:gd name="T22" fmla="*/ 19 w 69"/>
                  <a:gd name="T23" fmla="*/ 6 h 58"/>
                  <a:gd name="T24" fmla="*/ 22 w 69"/>
                  <a:gd name="T25" fmla="*/ 2 h 58"/>
                  <a:gd name="T26" fmla="*/ 31 w 69"/>
                  <a:gd name="T27" fmla="*/ 1 h 58"/>
                  <a:gd name="T28" fmla="*/ 24 w 69"/>
                  <a:gd name="T29" fmla="*/ 12 h 58"/>
                  <a:gd name="T30" fmla="*/ 23 w 69"/>
                  <a:gd name="T31" fmla="*/ 12 h 58"/>
                  <a:gd name="T32" fmla="*/ 13 w 69"/>
                  <a:gd name="T33" fmla="*/ 21 h 58"/>
                  <a:gd name="T34" fmla="*/ 14 w 69"/>
                  <a:gd name="T35" fmla="*/ 19 h 58"/>
                  <a:gd name="T36" fmla="*/ 12 w 69"/>
                  <a:gd name="T37" fmla="*/ 19 h 58"/>
                  <a:gd name="T38" fmla="*/ 12 w 69"/>
                  <a:gd name="T39" fmla="*/ 19 h 5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69" h="58">
                    <a:moveTo>
                      <a:pt x="27" y="44"/>
                    </a:moveTo>
                    <a:lnTo>
                      <a:pt x="7" y="58"/>
                    </a:lnTo>
                    <a:lnTo>
                      <a:pt x="0" y="51"/>
                    </a:lnTo>
                    <a:lnTo>
                      <a:pt x="1" y="51"/>
                    </a:lnTo>
                    <a:lnTo>
                      <a:pt x="0" y="33"/>
                    </a:lnTo>
                    <a:lnTo>
                      <a:pt x="1" y="30"/>
                    </a:lnTo>
                    <a:lnTo>
                      <a:pt x="4" y="31"/>
                    </a:lnTo>
                    <a:lnTo>
                      <a:pt x="6" y="18"/>
                    </a:lnTo>
                    <a:lnTo>
                      <a:pt x="9" y="3"/>
                    </a:lnTo>
                    <a:lnTo>
                      <a:pt x="15" y="0"/>
                    </a:lnTo>
                    <a:lnTo>
                      <a:pt x="27" y="5"/>
                    </a:lnTo>
                    <a:lnTo>
                      <a:pt x="43" y="13"/>
                    </a:lnTo>
                    <a:lnTo>
                      <a:pt x="48" y="5"/>
                    </a:lnTo>
                    <a:lnTo>
                      <a:pt x="69" y="3"/>
                    </a:lnTo>
                    <a:lnTo>
                      <a:pt x="54" y="28"/>
                    </a:lnTo>
                    <a:lnTo>
                      <a:pt x="51" y="28"/>
                    </a:lnTo>
                    <a:lnTo>
                      <a:pt x="29" y="48"/>
                    </a:lnTo>
                    <a:lnTo>
                      <a:pt x="32" y="44"/>
                    </a:lnTo>
                    <a:lnTo>
                      <a:pt x="27" y="4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99" name="Freeform 229">
                <a:extLst>
                  <a:ext uri="{FF2B5EF4-FFF2-40B4-BE49-F238E27FC236}">
                    <a16:creationId xmlns:a16="http://schemas.microsoft.com/office/drawing/2014/main" id="{B080DC55-5F66-DDF0-0A65-AE62B17DB6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79" y="3800"/>
                <a:ext cx="10" cy="8"/>
              </a:xfrm>
              <a:custGeom>
                <a:avLst/>
                <a:gdLst>
                  <a:gd name="T0" fmla="*/ 10 w 21"/>
                  <a:gd name="T1" fmla="*/ 7 h 19"/>
                  <a:gd name="T2" fmla="*/ 0 w 21"/>
                  <a:gd name="T3" fmla="*/ 8 h 19"/>
                  <a:gd name="T4" fmla="*/ 0 w 21"/>
                  <a:gd name="T5" fmla="*/ 4 h 19"/>
                  <a:gd name="T6" fmla="*/ 8 w 21"/>
                  <a:gd name="T7" fmla="*/ 0 h 19"/>
                  <a:gd name="T8" fmla="*/ 10 w 21"/>
                  <a:gd name="T9" fmla="*/ 6 h 19"/>
                  <a:gd name="T10" fmla="*/ 10 w 21"/>
                  <a:gd name="T11" fmla="*/ 7 h 1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" h="19">
                    <a:moveTo>
                      <a:pt x="21" y="17"/>
                    </a:moveTo>
                    <a:lnTo>
                      <a:pt x="0" y="19"/>
                    </a:lnTo>
                    <a:lnTo>
                      <a:pt x="0" y="9"/>
                    </a:lnTo>
                    <a:lnTo>
                      <a:pt x="17" y="0"/>
                    </a:lnTo>
                    <a:lnTo>
                      <a:pt x="21" y="15"/>
                    </a:lnTo>
                    <a:lnTo>
                      <a:pt x="21" y="1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00" name="Freeform 230">
                <a:extLst>
                  <a:ext uri="{FF2B5EF4-FFF2-40B4-BE49-F238E27FC236}">
                    <a16:creationId xmlns:a16="http://schemas.microsoft.com/office/drawing/2014/main" id="{5CABDFBD-FB31-6F83-D09E-86C4ED3084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91" y="3790"/>
                <a:ext cx="11" cy="6"/>
              </a:xfrm>
              <a:custGeom>
                <a:avLst/>
                <a:gdLst>
                  <a:gd name="T0" fmla="*/ 8 w 25"/>
                  <a:gd name="T1" fmla="*/ 4 h 11"/>
                  <a:gd name="T2" fmla="*/ 11 w 25"/>
                  <a:gd name="T3" fmla="*/ 0 h 11"/>
                  <a:gd name="T4" fmla="*/ 0 w 25"/>
                  <a:gd name="T5" fmla="*/ 3 h 11"/>
                  <a:gd name="T6" fmla="*/ 0 w 25"/>
                  <a:gd name="T7" fmla="*/ 6 h 11"/>
                  <a:gd name="T8" fmla="*/ 8 w 25"/>
                  <a:gd name="T9" fmla="*/ 4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5" h="11">
                    <a:moveTo>
                      <a:pt x="19" y="8"/>
                    </a:moveTo>
                    <a:lnTo>
                      <a:pt x="25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19" y="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01" name="Freeform 231">
                <a:extLst>
                  <a:ext uri="{FF2B5EF4-FFF2-40B4-BE49-F238E27FC236}">
                    <a16:creationId xmlns:a16="http://schemas.microsoft.com/office/drawing/2014/main" id="{2BA08089-D860-D7CF-AE2D-136399D549E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70" y="3827"/>
                <a:ext cx="17" cy="18"/>
              </a:xfrm>
              <a:custGeom>
                <a:avLst/>
                <a:gdLst>
                  <a:gd name="T0" fmla="*/ 17 w 39"/>
                  <a:gd name="T1" fmla="*/ 18 h 43"/>
                  <a:gd name="T2" fmla="*/ 12 w 39"/>
                  <a:gd name="T3" fmla="*/ 17 h 43"/>
                  <a:gd name="T4" fmla="*/ 6 w 39"/>
                  <a:gd name="T5" fmla="*/ 11 h 43"/>
                  <a:gd name="T6" fmla="*/ 1 w 39"/>
                  <a:gd name="T7" fmla="*/ 5 h 43"/>
                  <a:gd name="T8" fmla="*/ 0 w 39"/>
                  <a:gd name="T9" fmla="*/ 0 h 43"/>
                  <a:gd name="T10" fmla="*/ 4 w 39"/>
                  <a:gd name="T11" fmla="*/ 4 h 43"/>
                  <a:gd name="T12" fmla="*/ 8 w 39"/>
                  <a:gd name="T13" fmla="*/ 8 h 43"/>
                  <a:gd name="T14" fmla="*/ 13 w 39"/>
                  <a:gd name="T15" fmla="*/ 13 h 43"/>
                  <a:gd name="T16" fmla="*/ 17 w 39"/>
                  <a:gd name="T17" fmla="*/ 18 h 4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9" h="43">
                    <a:moveTo>
                      <a:pt x="39" y="43"/>
                    </a:moveTo>
                    <a:lnTo>
                      <a:pt x="28" y="41"/>
                    </a:lnTo>
                    <a:lnTo>
                      <a:pt x="14" y="27"/>
                    </a:lnTo>
                    <a:lnTo>
                      <a:pt x="2" y="13"/>
                    </a:lnTo>
                    <a:lnTo>
                      <a:pt x="0" y="0"/>
                    </a:lnTo>
                    <a:lnTo>
                      <a:pt x="9" y="10"/>
                    </a:lnTo>
                    <a:lnTo>
                      <a:pt x="19" y="20"/>
                    </a:lnTo>
                    <a:lnTo>
                      <a:pt x="30" y="32"/>
                    </a:lnTo>
                    <a:lnTo>
                      <a:pt x="39" y="4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02" name="Freeform 232">
                <a:extLst>
                  <a:ext uri="{FF2B5EF4-FFF2-40B4-BE49-F238E27FC236}">
                    <a16:creationId xmlns:a16="http://schemas.microsoft.com/office/drawing/2014/main" id="{CBD1C7EF-24C8-E6F5-8568-C55F21BC47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66" y="4009"/>
                <a:ext cx="91" cy="54"/>
              </a:xfrm>
              <a:custGeom>
                <a:avLst/>
                <a:gdLst>
                  <a:gd name="T0" fmla="*/ 59 w 204"/>
                  <a:gd name="T1" fmla="*/ 30 h 124"/>
                  <a:gd name="T2" fmla="*/ 56 w 204"/>
                  <a:gd name="T3" fmla="*/ 24 h 124"/>
                  <a:gd name="T4" fmla="*/ 55 w 204"/>
                  <a:gd name="T5" fmla="*/ 24 h 124"/>
                  <a:gd name="T6" fmla="*/ 53 w 204"/>
                  <a:gd name="T7" fmla="*/ 24 h 124"/>
                  <a:gd name="T8" fmla="*/ 56 w 204"/>
                  <a:gd name="T9" fmla="*/ 30 h 124"/>
                  <a:gd name="T10" fmla="*/ 50 w 204"/>
                  <a:gd name="T11" fmla="*/ 32 h 124"/>
                  <a:gd name="T12" fmla="*/ 46 w 204"/>
                  <a:gd name="T13" fmla="*/ 32 h 124"/>
                  <a:gd name="T14" fmla="*/ 45 w 204"/>
                  <a:gd name="T15" fmla="*/ 35 h 124"/>
                  <a:gd name="T16" fmla="*/ 42 w 204"/>
                  <a:gd name="T17" fmla="*/ 39 h 124"/>
                  <a:gd name="T18" fmla="*/ 41 w 204"/>
                  <a:gd name="T19" fmla="*/ 40 h 124"/>
                  <a:gd name="T20" fmla="*/ 31 w 204"/>
                  <a:gd name="T21" fmla="*/ 47 h 124"/>
                  <a:gd name="T22" fmla="*/ 13 w 204"/>
                  <a:gd name="T23" fmla="*/ 54 h 124"/>
                  <a:gd name="T24" fmla="*/ 9 w 204"/>
                  <a:gd name="T25" fmla="*/ 53 h 124"/>
                  <a:gd name="T26" fmla="*/ 3 w 204"/>
                  <a:gd name="T27" fmla="*/ 51 h 124"/>
                  <a:gd name="T28" fmla="*/ 0 w 204"/>
                  <a:gd name="T29" fmla="*/ 49 h 124"/>
                  <a:gd name="T30" fmla="*/ 1 w 204"/>
                  <a:gd name="T31" fmla="*/ 48 h 124"/>
                  <a:gd name="T32" fmla="*/ 0 w 204"/>
                  <a:gd name="T33" fmla="*/ 48 h 124"/>
                  <a:gd name="T34" fmla="*/ 4 w 204"/>
                  <a:gd name="T35" fmla="*/ 45 h 124"/>
                  <a:gd name="T36" fmla="*/ 5 w 204"/>
                  <a:gd name="T37" fmla="*/ 45 h 124"/>
                  <a:gd name="T38" fmla="*/ 8 w 204"/>
                  <a:gd name="T39" fmla="*/ 43 h 124"/>
                  <a:gd name="T40" fmla="*/ 9 w 204"/>
                  <a:gd name="T41" fmla="*/ 43 h 124"/>
                  <a:gd name="T42" fmla="*/ 12 w 204"/>
                  <a:gd name="T43" fmla="*/ 40 h 124"/>
                  <a:gd name="T44" fmla="*/ 14 w 204"/>
                  <a:gd name="T45" fmla="*/ 38 h 124"/>
                  <a:gd name="T46" fmla="*/ 20 w 204"/>
                  <a:gd name="T47" fmla="*/ 36 h 124"/>
                  <a:gd name="T48" fmla="*/ 30 w 204"/>
                  <a:gd name="T49" fmla="*/ 30 h 124"/>
                  <a:gd name="T50" fmla="*/ 33 w 204"/>
                  <a:gd name="T51" fmla="*/ 30 h 124"/>
                  <a:gd name="T52" fmla="*/ 48 w 204"/>
                  <a:gd name="T53" fmla="*/ 24 h 124"/>
                  <a:gd name="T54" fmla="*/ 55 w 204"/>
                  <a:gd name="T55" fmla="*/ 20 h 124"/>
                  <a:gd name="T56" fmla="*/ 63 w 204"/>
                  <a:gd name="T57" fmla="*/ 16 h 124"/>
                  <a:gd name="T58" fmla="*/ 61 w 204"/>
                  <a:gd name="T59" fmla="*/ 16 h 124"/>
                  <a:gd name="T60" fmla="*/ 67 w 204"/>
                  <a:gd name="T61" fmla="*/ 11 h 124"/>
                  <a:gd name="T62" fmla="*/ 83 w 204"/>
                  <a:gd name="T63" fmla="*/ 1 h 124"/>
                  <a:gd name="T64" fmla="*/ 86 w 204"/>
                  <a:gd name="T65" fmla="*/ 0 h 124"/>
                  <a:gd name="T66" fmla="*/ 83 w 204"/>
                  <a:gd name="T67" fmla="*/ 2 h 124"/>
                  <a:gd name="T68" fmla="*/ 82 w 204"/>
                  <a:gd name="T69" fmla="*/ 6 h 124"/>
                  <a:gd name="T70" fmla="*/ 89 w 204"/>
                  <a:gd name="T71" fmla="*/ 3 h 124"/>
                  <a:gd name="T72" fmla="*/ 88 w 204"/>
                  <a:gd name="T73" fmla="*/ 6 h 124"/>
                  <a:gd name="T74" fmla="*/ 89 w 204"/>
                  <a:gd name="T75" fmla="*/ 6 h 124"/>
                  <a:gd name="T76" fmla="*/ 89 w 204"/>
                  <a:gd name="T77" fmla="*/ 7 h 124"/>
                  <a:gd name="T78" fmla="*/ 91 w 204"/>
                  <a:gd name="T79" fmla="*/ 6 h 124"/>
                  <a:gd name="T80" fmla="*/ 87 w 204"/>
                  <a:gd name="T81" fmla="*/ 10 h 124"/>
                  <a:gd name="T82" fmla="*/ 76 w 204"/>
                  <a:gd name="T83" fmla="*/ 17 h 124"/>
                  <a:gd name="T84" fmla="*/ 67 w 204"/>
                  <a:gd name="T85" fmla="*/ 22 h 124"/>
                  <a:gd name="T86" fmla="*/ 62 w 204"/>
                  <a:gd name="T87" fmla="*/ 24 h 124"/>
                  <a:gd name="T88" fmla="*/ 62 w 204"/>
                  <a:gd name="T89" fmla="*/ 26 h 124"/>
                  <a:gd name="T90" fmla="*/ 59 w 204"/>
                  <a:gd name="T91" fmla="*/ 26 h 124"/>
                  <a:gd name="T92" fmla="*/ 62 w 204"/>
                  <a:gd name="T93" fmla="*/ 27 h 124"/>
                  <a:gd name="T94" fmla="*/ 62 w 204"/>
                  <a:gd name="T95" fmla="*/ 30 h 124"/>
                  <a:gd name="T96" fmla="*/ 59 w 204"/>
                  <a:gd name="T97" fmla="*/ 30 h 12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204" h="124">
                    <a:moveTo>
                      <a:pt x="133" y="68"/>
                    </a:moveTo>
                    <a:lnTo>
                      <a:pt x="125" y="54"/>
                    </a:lnTo>
                    <a:lnTo>
                      <a:pt x="123" y="54"/>
                    </a:lnTo>
                    <a:lnTo>
                      <a:pt x="119" y="56"/>
                    </a:lnTo>
                    <a:lnTo>
                      <a:pt x="126" y="69"/>
                    </a:lnTo>
                    <a:lnTo>
                      <a:pt x="111" y="73"/>
                    </a:lnTo>
                    <a:lnTo>
                      <a:pt x="103" y="74"/>
                    </a:lnTo>
                    <a:lnTo>
                      <a:pt x="100" y="81"/>
                    </a:lnTo>
                    <a:lnTo>
                      <a:pt x="94" y="89"/>
                    </a:lnTo>
                    <a:lnTo>
                      <a:pt x="92" y="91"/>
                    </a:lnTo>
                    <a:lnTo>
                      <a:pt x="69" y="109"/>
                    </a:lnTo>
                    <a:lnTo>
                      <a:pt x="29" y="124"/>
                    </a:lnTo>
                    <a:lnTo>
                      <a:pt x="21" y="121"/>
                    </a:lnTo>
                    <a:lnTo>
                      <a:pt x="7" y="117"/>
                    </a:lnTo>
                    <a:lnTo>
                      <a:pt x="1" y="112"/>
                    </a:lnTo>
                    <a:lnTo>
                      <a:pt x="3" y="111"/>
                    </a:lnTo>
                    <a:lnTo>
                      <a:pt x="0" y="111"/>
                    </a:lnTo>
                    <a:lnTo>
                      <a:pt x="9" y="104"/>
                    </a:lnTo>
                    <a:lnTo>
                      <a:pt x="12" y="103"/>
                    </a:lnTo>
                    <a:lnTo>
                      <a:pt x="18" y="98"/>
                    </a:lnTo>
                    <a:lnTo>
                      <a:pt x="20" y="99"/>
                    </a:lnTo>
                    <a:lnTo>
                      <a:pt x="27" y="91"/>
                    </a:lnTo>
                    <a:lnTo>
                      <a:pt x="32" y="88"/>
                    </a:lnTo>
                    <a:lnTo>
                      <a:pt x="44" y="83"/>
                    </a:lnTo>
                    <a:lnTo>
                      <a:pt x="68" y="69"/>
                    </a:lnTo>
                    <a:lnTo>
                      <a:pt x="75" y="69"/>
                    </a:lnTo>
                    <a:lnTo>
                      <a:pt x="108" y="54"/>
                    </a:lnTo>
                    <a:lnTo>
                      <a:pt x="123" y="46"/>
                    </a:lnTo>
                    <a:lnTo>
                      <a:pt x="142" y="36"/>
                    </a:lnTo>
                    <a:lnTo>
                      <a:pt x="137" y="36"/>
                    </a:lnTo>
                    <a:lnTo>
                      <a:pt x="151" y="26"/>
                    </a:lnTo>
                    <a:lnTo>
                      <a:pt x="185" y="3"/>
                    </a:lnTo>
                    <a:lnTo>
                      <a:pt x="193" y="0"/>
                    </a:lnTo>
                    <a:lnTo>
                      <a:pt x="185" y="5"/>
                    </a:lnTo>
                    <a:lnTo>
                      <a:pt x="184" y="13"/>
                    </a:lnTo>
                    <a:lnTo>
                      <a:pt x="199" y="8"/>
                    </a:lnTo>
                    <a:lnTo>
                      <a:pt x="198" y="13"/>
                    </a:lnTo>
                    <a:lnTo>
                      <a:pt x="199" y="13"/>
                    </a:lnTo>
                    <a:lnTo>
                      <a:pt x="199" y="15"/>
                    </a:lnTo>
                    <a:lnTo>
                      <a:pt x="204" y="13"/>
                    </a:lnTo>
                    <a:lnTo>
                      <a:pt x="195" y="23"/>
                    </a:lnTo>
                    <a:lnTo>
                      <a:pt x="171" y="38"/>
                    </a:lnTo>
                    <a:lnTo>
                      <a:pt x="151" y="51"/>
                    </a:lnTo>
                    <a:lnTo>
                      <a:pt x="140" y="56"/>
                    </a:lnTo>
                    <a:lnTo>
                      <a:pt x="140" y="59"/>
                    </a:lnTo>
                    <a:lnTo>
                      <a:pt x="133" y="59"/>
                    </a:lnTo>
                    <a:lnTo>
                      <a:pt x="139" y="63"/>
                    </a:lnTo>
                    <a:lnTo>
                      <a:pt x="140" y="68"/>
                    </a:lnTo>
                    <a:lnTo>
                      <a:pt x="133" y="6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03" name="Freeform 233">
                <a:extLst>
                  <a:ext uri="{FF2B5EF4-FFF2-40B4-BE49-F238E27FC236}">
                    <a16:creationId xmlns:a16="http://schemas.microsoft.com/office/drawing/2014/main" id="{C94929AA-9EB2-F018-4ACA-E633FD9EA9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59" y="3955"/>
                <a:ext cx="51" cy="64"/>
              </a:xfrm>
              <a:custGeom>
                <a:avLst/>
                <a:gdLst>
                  <a:gd name="T0" fmla="*/ 5 w 114"/>
                  <a:gd name="T1" fmla="*/ 44 h 148"/>
                  <a:gd name="T2" fmla="*/ 9 w 114"/>
                  <a:gd name="T3" fmla="*/ 47 h 148"/>
                  <a:gd name="T4" fmla="*/ 11 w 114"/>
                  <a:gd name="T5" fmla="*/ 52 h 148"/>
                  <a:gd name="T6" fmla="*/ 0 w 114"/>
                  <a:gd name="T7" fmla="*/ 62 h 148"/>
                  <a:gd name="T8" fmla="*/ 1 w 114"/>
                  <a:gd name="T9" fmla="*/ 64 h 148"/>
                  <a:gd name="T10" fmla="*/ 13 w 114"/>
                  <a:gd name="T11" fmla="*/ 58 h 148"/>
                  <a:gd name="T12" fmla="*/ 24 w 114"/>
                  <a:gd name="T13" fmla="*/ 50 h 148"/>
                  <a:gd name="T14" fmla="*/ 29 w 114"/>
                  <a:gd name="T15" fmla="*/ 44 h 148"/>
                  <a:gd name="T16" fmla="*/ 38 w 114"/>
                  <a:gd name="T17" fmla="*/ 42 h 148"/>
                  <a:gd name="T18" fmla="*/ 42 w 114"/>
                  <a:gd name="T19" fmla="*/ 38 h 148"/>
                  <a:gd name="T20" fmla="*/ 51 w 114"/>
                  <a:gd name="T21" fmla="*/ 29 h 148"/>
                  <a:gd name="T22" fmla="*/ 51 w 114"/>
                  <a:gd name="T23" fmla="*/ 28 h 148"/>
                  <a:gd name="T24" fmla="*/ 42 w 114"/>
                  <a:gd name="T25" fmla="*/ 32 h 148"/>
                  <a:gd name="T26" fmla="*/ 34 w 114"/>
                  <a:gd name="T27" fmla="*/ 28 h 148"/>
                  <a:gd name="T28" fmla="*/ 36 w 114"/>
                  <a:gd name="T29" fmla="*/ 19 h 148"/>
                  <a:gd name="T30" fmla="*/ 33 w 114"/>
                  <a:gd name="T31" fmla="*/ 25 h 148"/>
                  <a:gd name="T32" fmla="*/ 28 w 114"/>
                  <a:gd name="T33" fmla="*/ 22 h 148"/>
                  <a:gd name="T34" fmla="*/ 30 w 114"/>
                  <a:gd name="T35" fmla="*/ 18 h 148"/>
                  <a:gd name="T36" fmla="*/ 32 w 114"/>
                  <a:gd name="T37" fmla="*/ 13 h 148"/>
                  <a:gd name="T38" fmla="*/ 34 w 114"/>
                  <a:gd name="T39" fmla="*/ 8 h 148"/>
                  <a:gd name="T40" fmla="*/ 33 w 114"/>
                  <a:gd name="T41" fmla="*/ 8 h 148"/>
                  <a:gd name="T42" fmla="*/ 29 w 114"/>
                  <a:gd name="T43" fmla="*/ 4 h 148"/>
                  <a:gd name="T44" fmla="*/ 28 w 114"/>
                  <a:gd name="T45" fmla="*/ 1 h 148"/>
                  <a:gd name="T46" fmla="*/ 28 w 114"/>
                  <a:gd name="T47" fmla="*/ 0 h 148"/>
                  <a:gd name="T48" fmla="*/ 26 w 114"/>
                  <a:gd name="T49" fmla="*/ 6 h 148"/>
                  <a:gd name="T50" fmla="*/ 28 w 114"/>
                  <a:gd name="T51" fmla="*/ 10 h 148"/>
                  <a:gd name="T52" fmla="*/ 26 w 114"/>
                  <a:gd name="T53" fmla="*/ 17 h 148"/>
                  <a:gd name="T54" fmla="*/ 27 w 114"/>
                  <a:gd name="T55" fmla="*/ 14 h 148"/>
                  <a:gd name="T56" fmla="*/ 28 w 114"/>
                  <a:gd name="T57" fmla="*/ 15 h 148"/>
                  <a:gd name="T58" fmla="*/ 28 w 114"/>
                  <a:gd name="T59" fmla="*/ 17 h 148"/>
                  <a:gd name="T60" fmla="*/ 27 w 114"/>
                  <a:gd name="T61" fmla="*/ 19 h 148"/>
                  <a:gd name="T62" fmla="*/ 25 w 114"/>
                  <a:gd name="T63" fmla="*/ 23 h 148"/>
                  <a:gd name="T64" fmla="*/ 28 w 114"/>
                  <a:gd name="T65" fmla="*/ 22 h 148"/>
                  <a:gd name="T66" fmla="*/ 26 w 114"/>
                  <a:gd name="T67" fmla="*/ 25 h 148"/>
                  <a:gd name="T68" fmla="*/ 24 w 114"/>
                  <a:gd name="T69" fmla="*/ 28 h 148"/>
                  <a:gd name="T70" fmla="*/ 17 w 114"/>
                  <a:gd name="T71" fmla="*/ 38 h 148"/>
                  <a:gd name="T72" fmla="*/ 5 w 114"/>
                  <a:gd name="T73" fmla="*/ 44 h 14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14" h="148">
                    <a:moveTo>
                      <a:pt x="12" y="102"/>
                    </a:moveTo>
                    <a:lnTo>
                      <a:pt x="20" y="108"/>
                    </a:lnTo>
                    <a:lnTo>
                      <a:pt x="25" y="120"/>
                    </a:lnTo>
                    <a:lnTo>
                      <a:pt x="0" y="143"/>
                    </a:lnTo>
                    <a:lnTo>
                      <a:pt x="3" y="148"/>
                    </a:lnTo>
                    <a:lnTo>
                      <a:pt x="28" y="133"/>
                    </a:lnTo>
                    <a:lnTo>
                      <a:pt x="54" y="116"/>
                    </a:lnTo>
                    <a:lnTo>
                      <a:pt x="65" y="102"/>
                    </a:lnTo>
                    <a:lnTo>
                      <a:pt x="85" y="97"/>
                    </a:lnTo>
                    <a:lnTo>
                      <a:pt x="93" y="88"/>
                    </a:lnTo>
                    <a:lnTo>
                      <a:pt x="114" y="68"/>
                    </a:lnTo>
                    <a:lnTo>
                      <a:pt x="113" y="65"/>
                    </a:lnTo>
                    <a:lnTo>
                      <a:pt x="93" y="73"/>
                    </a:lnTo>
                    <a:lnTo>
                      <a:pt x="76" y="65"/>
                    </a:lnTo>
                    <a:lnTo>
                      <a:pt x="80" y="44"/>
                    </a:lnTo>
                    <a:lnTo>
                      <a:pt x="73" y="57"/>
                    </a:lnTo>
                    <a:lnTo>
                      <a:pt x="63" y="50"/>
                    </a:lnTo>
                    <a:lnTo>
                      <a:pt x="67" y="42"/>
                    </a:lnTo>
                    <a:lnTo>
                      <a:pt x="71" y="29"/>
                    </a:lnTo>
                    <a:lnTo>
                      <a:pt x="76" y="19"/>
                    </a:lnTo>
                    <a:lnTo>
                      <a:pt x="73" y="19"/>
                    </a:lnTo>
                    <a:lnTo>
                      <a:pt x="65" y="9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59" y="14"/>
                    </a:lnTo>
                    <a:lnTo>
                      <a:pt x="62" y="22"/>
                    </a:lnTo>
                    <a:lnTo>
                      <a:pt x="57" y="40"/>
                    </a:lnTo>
                    <a:lnTo>
                      <a:pt x="60" y="32"/>
                    </a:lnTo>
                    <a:lnTo>
                      <a:pt x="62" y="35"/>
                    </a:lnTo>
                    <a:lnTo>
                      <a:pt x="62" y="39"/>
                    </a:lnTo>
                    <a:lnTo>
                      <a:pt x="60" y="44"/>
                    </a:lnTo>
                    <a:lnTo>
                      <a:pt x="56" y="53"/>
                    </a:lnTo>
                    <a:lnTo>
                      <a:pt x="62" y="52"/>
                    </a:lnTo>
                    <a:lnTo>
                      <a:pt x="57" y="57"/>
                    </a:lnTo>
                    <a:lnTo>
                      <a:pt x="53" y="65"/>
                    </a:lnTo>
                    <a:lnTo>
                      <a:pt x="37" y="88"/>
                    </a:lnTo>
                    <a:lnTo>
                      <a:pt x="12" y="10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04" name="Freeform 234">
                <a:extLst>
                  <a:ext uri="{FF2B5EF4-FFF2-40B4-BE49-F238E27FC236}">
                    <a16:creationId xmlns:a16="http://schemas.microsoft.com/office/drawing/2014/main" id="{89E6A42F-9B66-7F92-4D62-4FA9BC49F4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52" y="3727"/>
                <a:ext cx="9" cy="7"/>
              </a:xfrm>
              <a:custGeom>
                <a:avLst/>
                <a:gdLst>
                  <a:gd name="T0" fmla="*/ 9 w 20"/>
                  <a:gd name="T1" fmla="*/ 7 h 13"/>
                  <a:gd name="T2" fmla="*/ 9 w 20"/>
                  <a:gd name="T3" fmla="*/ 6 h 13"/>
                  <a:gd name="T4" fmla="*/ 1 w 20"/>
                  <a:gd name="T5" fmla="*/ 0 h 13"/>
                  <a:gd name="T6" fmla="*/ 0 w 20"/>
                  <a:gd name="T7" fmla="*/ 3 h 13"/>
                  <a:gd name="T8" fmla="*/ 9 w 20"/>
                  <a:gd name="T9" fmla="*/ 7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" h="13">
                    <a:moveTo>
                      <a:pt x="19" y="13"/>
                    </a:moveTo>
                    <a:lnTo>
                      <a:pt x="20" y="11"/>
                    </a:lnTo>
                    <a:lnTo>
                      <a:pt x="3" y="0"/>
                    </a:lnTo>
                    <a:lnTo>
                      <a:pt x="0" y="6"/>
                    </a:lnTo>
                    <a:lnTo>
                      <a:pt x="19" y="1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05" name="Freeform 235">
                <a:extLst>
                  <a:ext uri="{FF2B5EF4-FFF2-40B4-BE49-F238E27FC236}">
                    <a16:creationId xmlns:a16="http://schemas.microsoft.com/office/drawing/2014/main" id="{3B43A9AB-0FDF-ED34-8B76-C95A25D7F2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30" y="3705"/>
                <a:ext cx="7" cy="5"/>
              </a:xfrm>
              <a:custGeom>
                <a:avLst/>
                <a:gdLst>
                  <a:gd name="T0" fmla="*/ 0 w 16"/>
                  <a:gd name="T1" fmla="*/ 0 h 13"/>
                  <a:gd name="T2" fmla="*/ 7 w 16"/>
                  <a:gd name="T3" fmla="*/ 5 h 13"/>
                  <a:gd name="T4" fmla="*/ 2 w 16"/>
                  <a:gd name="T5" fmla="*/ 3 h 13"/>
                  <a:gd name="T6" fmla="*/ 0 w 16"/>
                  <a:gd name="T7" fmla="*/ 0 h 1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" h="13">
                    <a:moveTo>
                      <a:pt x="0" y="0"/>
                    </a:moveTo>
                    <a:lnTo>
                      <a:pt x="16" y="13"/>
                    </a:lnTo>
                    <a:lnTo>
                      <a:pt x="5" y="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06" name="Freeform 236">
                <a:extLst>
                  <a:ext uri="{FF2B5EF4-FFF2-40B4-BE49-F238E27FC236}">
                    <a16:creationId xmlns:a16="http://schemas.microsoft.com/office/drawing/2014/main" id="{36CB5419-0D76-0FC6-B8C1-527C5F97F5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64" y="3736"/>
                <a:ext cx="7" cy="6"/>
              </a:xfrm>
              <a:custGeom>
                <a:avLst/>
                <a:gdLst>
                  <a:gd name="T0" fmla="*/ 7 w 15"/>
                  <a:gd name="T1" fmla="*/ 6 h 14"/>
                  <a:gd name="T2" fmla="*/ 0 w 15"/>
                  <a:gd name="T3" fmla="*/ 2 h 14"/>
                  <a:gd name="T4" fmla="*/ 0 w 15"/>
                  <a:gd name="T5" fmla="*/ 0 h 14"/>
                  <a:gd name="T6" fmla="*/ 7 w 15"/>
                  <a:gd name="T7" fmla="*/ 4 h 14"/>
                  <a:gd name="T8" fmla="*/ 7 w 15"/>
                  <a:gd name="T9" fmla="*/ 6 h 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" h="14">
                    <a:moveTo>
                      <a:pt x="15" y="14"/>
                    </a:moveTo>
                    <a:lnTo>
                      <a:pt x="1" y="4"/>
                    </a:lnTo>
                    <a:lnTo>
                      <a:pt x="0" y="0"/>
                    </a:lnTo>
                    <a:lnTo>
                      <a:pt x="15" y="10"/>
                    </a:lnTo>
                    <a:lnTo>
                      <a:pt x="15" y="1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07" name="Freeform 237">
                <a:extLst>
                  <a:ext uri="{FF2B5EF4-FFF2-40B4-BE49-F238E27FC236}">
                    <a16:creationId xmlns:a16="http://schemas.microsoft.com/office/drawing/2014/main" id="{594FF243-3971-DC3A-BC62-9529D7DFC34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34" y="3717"/>
                <a:ext cx="4" cy="4"/>
              </a:xfrm>
              <a:custGeom>
                <a:avLst/>
                <a:gdLst>
                  <a:gd name="T0" fmla="*/ 4 w 11"/>
                  <a:gd name="T1" fmla="*/ 4 h 10"/>
                  <a:gd name="T2" fmla="*/ 3 w 11"/>
                  <a:gd name="T3" fmla="*/ 0 h 10"/>
                  <a:gd name="T4" fmla="*/ 0 w 11"/>
                  <a:gd name="T5" fmla="*/ 1 h 10"/>
                  <a:gd name="T6" fmla="*/ 2 w 11"/>
                  <a:gd name="T7" fmla="*/ 2 h 10"/>
                  <a:gd name="T8" fmla="*/ 4 w 11"/>
                  <a:gd name="T9" fmla="*/ 4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" h="10">
                    <a:moveTo>
                      <a:pt x="11" y="10"/>
                    </a:moveTo>
                    <a:lnTo>
                      <a:pt x="8" y="0"/>
                    </a:lnTo>
                    <a:lnTo>
                      <a:pt x="0" y="3"/>
                    </a:lnTo>
                    <a:lnTo>
                      <a:pt x="5" y="5"/>
                    </a:lnTo>
                    <a:lnTo>
                      <a:pt x="11" y="1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08" name="Freeform 238">
                <a:extLst>
                  <a:ext uri="{FF2B5EF4-FFF2-40B4-BE49-F238E27FC236}">
                    <a16:creationId xmlns:a16="http://schemas.microsoft.com/office/drawing/2014/main" id="{C00A8E07-47D4-623D-D757-35F713EE09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61" y="3719"/>
                <a:ext cx="4" cy="12"/>
              </a:xfrm>
              <a:custGeom>
                <a:avLst/>
                <a:gdLst>
                  <a:gd name="T0" fmla="*/ 1 w 9"/>
                  <a:gd name="T1" fmla="*/ 0 h 26"/>
                  <a:gd name="T2" fmla="*/ 4 w 9"/>
                  <a:gd name="T3" fmla="*/ 12 h 26"/>
                  <a:gd name="T4" fmla="*/ 0 w 9"/>
                  <a:gd name="T5" fmla="*/ 3 h 26"/>
                  <a:gd name="T6" fmla="*/ 1 w 9"/>
                  <a:gd name="T7" fmla="*/ 0 h 2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" h="26">
                    <a:moveTo>
                      <a:pt x="2" y="0"/>
                    </a:moveTo>
                    <a:lnTo>
                      <a:pt x="9" y="26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09" name="Freeform 239">
                <a:extLst>
                  <a:ext uri="{FF2B5EF4-FFF2-40B4-BE49-F238E27FC236}">
                    <a16:creationId xmlns:a16="http://schemas.microsoft.com/office/drawing/2014/main" id="{4E983969-2AAD-2677-ADC6-9BF9AFBF26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45" y="3713"/>
                <a:ext cx="10" cy="9"/>
              </a:xfrm>
              <a:custGeom>
                <a:avLst/>
                <a:gdLst>
                  <a:gd name="T0" fmla="*/ 10 w 22"/>
                  <a:gd name="T1" fmla="*/ 9 h 21"/>
                  <a:gd name="T2" fmla="*/ 10 w 22"/>
                  <a:gd name="T3" fmla="*/ 9 h 21"/>
                  <a:gd name="T4" fmla="*/ 5 w 22"/>
                  <a:gd name="T5" fmla="*/ 4 h 21"/>
                  <a:gd name="T6" fmla="*/ 0 w 22"/>
                  <a:gd name="T7" fmla="*/ 0 h 21"/>
                  <a:gd name="T8" fmla="*/ 5 w 22"/>
                  <a:gd name="T9" fmla="*/ 4 h 21"/>
                  <a:gd name="T10" fmla="*/ 10 w 22"/>
                  <a:gd name="T11" fmla="*/ 9 h 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2" h="21">
                    <a:moveTo>
                      <a:pt x="21" y="21"/>
                    </a:moveTo>
                    <a:lnTo>
                      <a:pt x="22" y="21"/>
                    </a:lnTo>
                    <a:lnTo>
                      <a:pt x="11" y="10"/>
                    </a:lnTo>
                    <a:lnTo>
                      <a:pt x="0" y="0"/>
                    </a:lnTo>
                    <a:lnTo>
                      <a:pt x="10" y="10"/>
                    </a:lnTo>
                    <a:lnTo>
                      <a:pt x="21" y="2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10" name="Freeform 240">
                <a:extLst>
                  <a:ext uri="{FF2B5EF4-FFF2-40B4-BE49-F238E27FC236}">
                    <a16:creationId xmlns:a16="http://schemas.microsoft.com/office/drawing/2014/main" id="{74DD2DB7-83F1-BDCF-46C6-98DF065E35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00" y="3777"/>
                <a:ext cx="4" cy="7"/>
              </a:xfrm>
              <a:custGeom>
                <a:avLst/>
                <a:gdLst>
                  <a:gd name="T0" fmla="*/ 3 w 9"/>
                  <a:gd name="T1" fmla="*/ 6 h 17"/>
                  <a:gd name="T2" fmla="*/ 4 w 9"/>
                  <a:gd name="T3" fmla="*/ 3 h 17"/>
                  <a:gd name="T4" fmla="*/ 3 w 9"/>
                  <a:gd name="T5" fmla="*/ 3 h 17"/>
                  <a:gd name="T6" fmla="*/ 1 w 9"/>
                  <a:gd name="T7" fmla="*/ 0 h 17"/>
                  <a:gd name="T8" fmla="*/ 0 w 9"/>
                  <a:gd name="T9" fmla="*/ 7 h 17"/>
                  <a:gd name="T10" fmla="*/ 3 w 9"/>
                  <a:gd name="T11" fmla="*/ 6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" h="17">
                    <a:moveTo>
                      <a:pt x="7" y="15"/>
                    </a:moveTo>
                    <a:lnTo>
                      <a:pt x="9" y="7"/>
                    </a:lnTo>
                    <a:lnTo>
                      <a:pt x="7" y="7"/>
                    </a:lnTo>
                    <a:lnTo>
                      <a:pt x="3" y="0"/>
                    </a:lnTo>
                    <a:lnTo>
                      <a:pt x="0" y="17"/>
                    </a:lnTo>
                    <a:lnTo>
                      <a:pt x="7" y="1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11" name="Freeform 241">
                <a:extLst>
                  <a:ext uri="{FF2B5EF4-FFF2-40B4-BE49-F238E27FC236}">
                    <a16:creationId xmlns:a16="http://schemas.microsoft.com/office/drawing/2014/main" id="{B649FB62-6522-6EA3-F943-2ED4E5F66C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03" y="3788"/>
                <a:ext cx="3" cy="5"/>
              </a:xfrm>
              <a:custGeom>
                <a:avLst/>
                <a:gdLst>
                  <a:gd name="T0" fmla="*/ 3 w 8"/>
                  <a:gd name="T1" fmla="*/ 5 h 12"/>
                  <a:gd name="T2" fmla="*/ 0 w 8"/>
                  <a:gd name="T3" fmla="*/ 4 h 12"/>
                  <a:gd name="T4" fmla="*/ 0 w 8"/>
                  <a:gd name="T5" fmla="*/ 0 h 12"/>
                  <a:gd name="T6" fmla="*/ 3 w 8"/>
                  <a:gd name="T7" fmla="*/ 5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2">
                    <a:moveTo>
                      <a:pt x="8" y="12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12" name="Freeform 242">
                <a:extLst>
                  <a:ext uri="{FF2B5EF4-FFF2-40B4-BE49-F238E27FC236}">
                    <a16:creationId xmlns:a16="http://schemas.microsoft.com/office/drawing/2014/main" id="{CDF063DB-69DB-88D8-9EF3-F0D2524B4A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08" y="3789"/>
                <a:ext cx="1" cy="2"/>
              </a:xfrm>
              <a:custGeom>
                <a:avLst/>
                <a:gdLst>
                  <a:gd name="T0" fmla="*/ 1 w 3"/>
                  <a:gd name="T1" fmla="*/ 0 h 5"/>
                  <a:gd name="T2" fmla="*/ 0 w 3"/>
                  <a:gd name="T3" fmla="*/ 2 h 5"/>
                  <a:gd name="T4" fmla="*/ 0 w 3"/>
                  <a:gd name="T5" fmla="*/ 2 h 5"/>
                  <a:gd name="T6" fmla="*/ 1 w 3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lnTo>
                      <a:pt x="1" y="5"/>
                    </a:lnTo>
                    <a:lnTo>
                      <a:pt x="0" y="5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13" name="Freeform 243">
                <a:extLst>
                  <a:ext uri="{FF2B5EF4-FFF2-40B4-BE49-F238E27FC236}">
                    <a16:creationId xmlns:a16="http://schemas.microsoft.com/office/drawing/2014/main" id="{783B06EF-814A-7FCF-F474-F057C14E6F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70" y="4103"/>
                <a:ext cx="11" cy="10"/>
              </a:xfrm>
              <a:custGeom>
                <a:avLst/>
                <a:gdLst>
                  <a:gd name="T0" fmla="*/ 11 w 26"/>
                  <a:gd name="T1" fmla="*/ 4 h 20"/>
                  <a:gd name="T2" fmla="*/ 8 w 26"/>
                  <a:gd name="T3" fmla="*/ 3 h 20"/>
                  <a:gd name="T4" fmla="*/ 6 w 26"/>
                  <a:gd name="T5" fmla="*/ 3 h 20"/>
                  <a:gd name="T6" fmla="*/ 6 w 26"/>
                  <a:gd name="T7" fmla="*/ 3 h 20"/>
                  <a:gd name="T8" fmla="*/ 2 w 26"/>
                  <a:gd name="T9" fmla="*/ 0 h 20"/>
                  <a:gd name="T10" fmla="*/ 2 w 26"/>
                  <a:gd name="T11" fmla="*/ 4 h 20"/>
                  <a:gd name="T12" fmla="*/ 0 w 26"/>
                  <a:gd name="T13" fmla="*/ 7 h 20"/>
                  <a:gd name="T14" fmla="*/ 2 w 26"/>
                  <a:gd name="T15" fmla="*/ 10 h 20"/>
                  <a:gd name="T16" fmla="*/ 3 w 26"/>
                  <a:gd name="T17" fmla="*/ 8 h 20"/>
                  <a:gd name="T18" fmla="*/ 5 w 26"/>
                  <a:gd name="T19" fmla="*/ 8 h 20"/>
                  <a:gd name="T20" fmla="*/ 5 w 26"/>
                  <a:gd name="T21" fmla="*/ 7 h 20"/>
                  <a:gd name="T22" fmla="*/ 11 w 26"/>
                  <a:gd name="T23" fmla="*/ 4 h 2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6" h="20">
                    <a:moveTo>
                      <a:pt x="26" y="7"/>
                    </a:moveTo>
                    <a:lnTo>
                      <a:pt x="20" y="5"/>
                    </a:lnTo>
                    <a:lnTo>
                      <a:pt x="15" y="5"/>
                    </a:lnTo>
                    <a:lnTo>
                      <a:pt x="14" y="5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0" y="13"/>
                    </a:lnTo>
                    <a:lnTo>
                      <a:pt x="5" y="20"/>
                    </a:lnTo>
                    <a:lnTo>
                      <a:pt x="8" y="15"/>
                    </a:lnTo>
                    <a:lnTo>
                      <a:pt x="12" y="15"/>
                    </a:lnTo>
                    <a:lnTo>
                      <a:pt x="12" y="13"/>
                    </a:lnTo>
                    <a:lnTo>
                      <a:pt x="26" y="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14" name="Freeform 244">
                <a:extLst>
                  <a:ext uri="{FF2B5EF4-FFF2-40B4-BE49-F238E27FC236}">
                    <a16:creationId xmlns:a16="http://schemas.microsoft.com/office/drawing/2014/main" id="{EEF02E78-C6B9-667A-8576-D1B3F13FEF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62" y="4104"/>
                <a:ext cx="8" cy="6"/>
              </a:xfrm>
              <a:custGeom>
                <a:avLst/>
                <a:gdLst>
                  <a:gd name="T0" fmla="*/ 3 w 19"/>
                  <a:gd name="T1" fmla="*/ 2 h 13"/>
                  <a:gd name="T2" fmla="*/ 1 w 19"/>
                  <a:gd name="T3" fmla="*/ 0 h 13"/>
                  <a:gd name="T4" fmla="*/ 8 w 19"/>
                  <a:gd name="T5" fmla="*/ 0 h 13"/>
                  <a:gd name="T6" fmla="*/ 4 w 19"/>
                  <a:gd name="T7" fmla="*/ 5 h 13"/>
                  <a:gd name="T8" fmla="*/ 0 w 19"/>
                  <a:gd name="T9" fmla="*/ 6 h 13"/>
                  <a:gd name="T10" fmla="*/ 3 w 19"/>
                  <a:gd name="T11" fmla="*/ 4 h 13"/>
                  <a:gd name="T12" fmla="*/ 2 w 19"/>
                  <a:gd name="T13" fmla="*/ 3 h 13"/>
                  <a:gd name="T14" fmla="*/ 3 w 19"/>
                  <a:gd name="T15" fmla="*/ 2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9" h="13">
                    <a:moveTo>
                      <a:pt x="6" y="5"/>
                    </a:moveTo>
                    <a:lnTo>
                      <a:pt x="2" y="1"/>
                    </a:lnTo>
                    <a:lnTo>
                      <a:pt x="19" y="0"/>
                    </a:lnTo>
                    <a:lnTo>
                      <a:pt x="10" y="11"/>
                    </a:lnTo>
                    <a:lnTo>
                      <a:pt x="0" y="13"/>
                    </a:lnTo>
                    <a:lnTo>
                      <a:pt x="6" y="8"/>
                    </a:lnTo>
                    <a:lnTo>
                      <a:pt x="5" y="6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15" name="Freeform 245">
                <a:extLst>
                  <a:ext uri="{FF2B5EF4-FFF2-40B4-BE49-F238E27FC236}">
                    <a16:creationId xmlns:a16="http://schemas.microsoft.com/office/drawing/2014/main" id="{ED8BADD7-CE7D-05E8-F56A-B13A971EE5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71" y="3798"/>
                <a:ext cx="107" cy="107"/>
              </a:xfrm>
              <a:custGeom>
                <a:avLst/>
                <a:gdLst>
                  <a:gd name="T0" fmla="*/ 63 w 242"/>
                  <a:gd name="T1" fmla="*/ 69 h 245"/>
                  <a:gd name="T2" fmla="*/ 64 w 242"/>
                  <a:gd name="T3" fmla="*/ 57 h 245"/>
                  <a:gd name="T4" fmla="*/ 65 w 242"/>
                  <a:gd name="T5" fmla="*/ 45 h 245"/>
                  <a:gd name="T6" fmla="*/ 72 w 242"/>
                  <a:gd name="T7" fmla="*/ 45 h 245"/>
                  <a:gd name="T8" fmla="*/ 72 w 242"/>
                  <a:gd name="T9" fmla="*/ 37 h 245"/>
                  <a:gd name="T10" fmla="*/ 73 w 242"/>
                  <a:gd name="T11" fmla="*/ 29 h 245"/>
                  <a:gd name="T12" fmla="*/ 73 w 242"/>
                  <a:gd name="T13" fmla="*/ 20 h 245"/>
                  <a:gd name="T14" fmla="*/ 73 w 242"/>
                  <a:gd name="T15" fmla="*/ 12 h 245"/>
                  <a:gd name="T16" fmla="*/ 82 w 242"/>
                  <a:gd name="T17" fmla="*/ 11 h 245"/>
                  <a:gd name="T18" fmla="*/ 92 w 242"/>
                  <a:gd name="T19" fmla="*/ 10 h 245"/>
                  <a:gd name="T20" fmla="*/ 95 w 242"/>
                  <a:gd name="T21" fmla="*/ 13 h 245"/>
                  <a:gd name="T22" fmla="*/ 101 w 242"/>
                  <a:gd name="T23" fmla="*/ 9 h 245"/>
                  <a:gd name="T24" fmla="*/ 107 w 242"/>
                  <a:gd name="T25" fmla="*/ 8 h 245"/>
                  <a:gd name="T26" fmla="*/ 99 w 242"/>
                  <a:gd name="T27" fmla="*/ 4 h 245"/>
                  <a:gd name="T28" fmla="*/ 92 w 242"/>
                  <a:gd name="T29" fmla="*/ 6 h 245"/>
                  <a:gd name="T30" fmla="*/ 81 w 242"/>
                  <a:gd name="T31" fmla="*/ 7 h 245"/>
                  <a:gd name="T32" fmla="*/ 69 w 242"/>
                  <a:gd name="T33" fmla="*/ 9 h 245"/>
                  <a:gd name="T34" fmla="*/ 62 w 242"/>
                  <a:gd name="T35" fmla="*/ 7 h 245"/>
                  <a:gd name="T36" fmla="*/ 54 w 242"/>
                  <a:gd name="T37" fmla="*/ 5 h 245"/>
                  <a:gd name="T38" fmla="*/ 53 w 242"/>
                  <a:gd name="T39" fmla="*/ 3 h 245"/>
                  <a:gd name="T40" fmla="*/ 44 w 242"/>
                  <a:gd name="T41" fmla="*/ 3 h 245"/>
                  <a:gd name="T42" fmla="*/ 35 w 242"/>
                  <a:gd name="T43" fmla="*/ 3 h 245"/>
                  <a:gd name="T44" fmla="*/ 26 w 242"/>
                  <a:gd name="T45" fmla="*/ 3 h 245"/>
                  <a:gd name="T46" fmla="*/ 17 w 242"/>
                  <a:gd name="T47" fmla="*/ 3 h 245"/>
                  <a:gd name="T48" fmla="*/ 11 w 242"/>
                  <a:gd name="T49" fmla="*/ 0 h 245"/>
                  <a:gd name="T50" fmla="*/ 1 w 242"/>
                  <a:gd name="T51" fmla="*/ 2 h 245"/>
                  <a:gd name="T52" fmla="*/ 0 w 242"/>
                  <a:gd name="T53" fmla="*/ 8 h 245"/>
                  <a:gd name="T54" fmla="*/ 6 w 242"/>
                  <a:gd name="T55" fmla="*/ 19 h 245"/>
                  <a:gd name="T56" fmla="*/ 11 w 242"/>
                  <a:gd name="T57" fmla="*/ 29 h 245"/>
                  <a:gd name="T58" fmla="*/ 16 w 242"/>
                  <a:gd name="T59" fmla="*/ 41 h 245"/>
                  <a:gd name="T60" fmla="*/ 21 w 242"/>
                  <a:gd name="T61" fmla="*/ 51 h 245"/>
                  <a:gd name="T62" fmla="*/ 23 w 242"/>
                  <a:gd name="T63" fmla="*/ 55 h 245"/>
                  <a:gd name="T64" fmla="*/ 21 w 242"/>
                  <a:gd name="T65" fmla="*/ 55 h 245"/>
                  <a:gd name="T66" fmla="*/ 21 w 242"/>
                  <a:gd name="T67" fmla="*/ 64 h 245"/>
                  <a:gd name="T68" fmla="*/ 23 w 242"/>
                  <a:gd name="T69" fmla="*/ 74 h 245"/>
                  <a:gd name="T70" fmla="*/ 25 w 242"/>
                  <a:gd name="T71" fmla="*/ 83 h 245"/>
                  <a:gd name="T72" fmla="*/ 26 w 242"/>
                  <a:gd name="T73" fmla="*/ 92 h 245"/>
                  <a:gd name="T74" fmla="*/ 31 w 242"/>
                  <a:gd name="T75" fmla="*/ 97 h 245"/>
                  <a:gd name="T76" fmla="*/ 35 w 242"/>
                  <a:gd name="T77" fmla="*/ 104 h 245"/>
                  <a:gd name="T78" fmla="*/ 39 w 242"/>
                  <a:gd name="T79" fmla="*/ 99 h 245"/>
                  <a:gd name="T80" fmla="*/ 42 w 242"/>
                  <a:gd name="T81" fmla="*/ 105 h 245"/>
                  <a:gd name="T82" fmla="*/ 54 w 242"/>
                  <a:gd name="T83" fmla="*/ 107 h 245"/>
                  <a:gd name="T84" fmla="*/ 61 w 242"/>
                  <a:gd name="T85" fmla="*/ 104 h 245"/>
                  <a:gd name="T86" fmla="*/ 62 w 242"/>
                  <a:gd name="T87" fmla="*/ 95 h 245"/>
                  <a:gd name="T88" fmla="*/ 62 w 242"/>
                  <a:gd name="T89" fmla="*/ 87 h 245"/>
                  <a:gd name="T90" fmla="*/ 62 w 242"/>
                  <a:gd name="T91" fmla="*/ 78 h 245"/>
                  <a:gd name="T92" fmla="*/ 63 w 242"/>
                  <a:gd name="T93" fmla="*/ 69 h 24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242" h="245">
                    <a:moveTo>
                      <a:pt x="143" y="159"/>
                    </a:moveTo>
                    <a:lnTo>
                      <a:pt x="144" y="131"/>
                    </a:lnTo>
                    <a:lnTo>
                      <a:pt x="146" y="102"/>
                    </a:lnTo>
                    <a:lnTo>
                      <a:pt x="163" y="102"/>
                    </a:lnTo>
                    <a:lnTo>
                      <a:pt x="163" y="84"/>
                    </a:lnTo>
                    <a:lnTo>
                      <a:pt x="164" y="66"/>
                    </a:lnTo>
                    <a:lnTo>
                      <a:pt x="164" y="46"/>
                    </a:lnTo>
                    <a:lnTo>
                      <a:pt x="164" y="28"/>
                    </a:lnTo>
                    <a:lnTo>
                      <a:pt x="186" y="25"/>
                    </a:lnTo>
                    <a:lnTo>
                      <a:pt x="208" y="23"/>
                    </a:lnTo>
                    <a:lnTo>
                      <a:pt x="214" y="30"/>
                    </a:lnTo>
                    <a:lnTo>
                      <a:pt x="228" y="21"/>
                    </a:lnTo>
                    <a:lnTo>
                      <a:pt x="242" y="18"/>
                    </a:lnTo>
                    <a:lnTo>
                      <a:pt x="223" y="10"/>
                    </a:lnTo>
                    <a:lnTo>
                      <a:pt x="209" y="13"/>
                    </a:lnTo>
                    <a:lnTo>
                      <a:pt x="183" y="16"/>
                    </a:lnTo>
                    <a:lnTo>
                      <a:pt x="157" y="20"/>
                    </a:lnTo>
                    <a:lnTo>
                      <a:pt x="140" y="16"/>
                    </a:lnTo>
                    <a:lnTo>
                      <a:pt x="123" y="11"/>
                    </a:lnTo>
                    <a:lnTo>
                      <a:pt x="120" y="6"/>
                    </a:lnTo>
                    <a:lnTo>
                      <a:pt x="99" y="6"/>
                    </a:lnTo>
                    <a:lnTo>
                      <a:pt x="79" y="6"/>
                    </a:lnTo>
                    <a:lnTo>
                      <a:pt x="58" y="6"/>
                    </a:lnTo>
                    <a:lnTo>
                      <a:pt x="38" y="6"/>
                    </a:lnTo>
                    <a:lnTo>
                      <a:pt x="24" y="0"/>
                    </a:lnTo>
                    <a:lnTo>
                      <a:pt x="2" y="5"/>
                    </a:lnTo>
                    <a:lnTo>
                      <a:pt x="0" y="18"/>
                    </a:lnTo>
                    <a:lnTo>
                      <a:pt x="13" y="43"/>
                    </a:lnTo>
                    <a:lnTo>
                      <a:pt x="25" y="66"/>
                    </a:lnTo>
                    <a:lnTo>
                      <a:pt x="36" y="93"/>
                    </a:lnTo>
                    <a:lnTo>
                      <a:pt x="48" y="116"/>
                    </a:lnTo>
                    <a:lnTo>
                      <a:pt x="52" y="127"/>
                    </a:lnTo>
                    <a:lnTo>
                      <a:pt x="47" y="126"/>
                    </a:lnTo>
                    <a:lnTo>
                      <a:pt x="48" y="147"/>
                    </a:lnTo>
                    <a:lnTo>
                      <a:pt x="53" y="169"/>
                    </a:lnTo>
                    <a:lnTo>
                      <a:pt x="56" y="190"/>
                    </a:lnTo>
                    <a:lnTo>
                      <a:pt x="59" y="210"/>
                    </a:lnTo>
                    <a:lnTo>
                      <a:pt x="69" y="223"/>
                    </a:lnTo>
                    <a:lnTo>
                      <a:pt x="79" y="238"/>
                    </a:lnTo>
                    <a:lnTo>
                      <a:pt x="89" y="227"/>
                    </a:lnTo>
                    <a:lnTo>
                      <a:pt x="95" y="240"/>
                    </a:lnTo>
                    <a:lnTo>
                      <a:pt x="121" y="245"/>
                    </a:lnTo>
                    <a:lnTo>
                      <a:pt x="137" y="237"/>
                    </a:lnTo>
                    <a:lnTo>
                      <a:pt x="140" y="217"/>
                    </a:lnTo>
                    <a:lnTo>
                      <a:pt x="140" y="199"/>
                    </a:lnTo>
                    <a:lnTo>
                      <a:pt x="141" y="179"/>
                    </a:lnTo>
                    <a:lnTo>
                      <a:pt x="143" y="15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16" name="Freeform 246">
                <a:extLst>
                  <a:ext uri="{FF2B5EF4-FFF2-40B4-BE49-F238E27FC236}">
                    <a16:creationId xmlns:a16="http://schemas.microsoft.com/office/drawing/2014/main" id="{36C9A500-7401-9D9A-260E-DAB2095722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24" y="3733"/>
                <a:ext cx="99" cy="117"/>
              </a:xfrm>
              <a:custGeom>
                <a:avLst/>
                <a:gdLst>
                  <a:gd name="T0" fmla="*/ 66 w 225"/>
                  <a:gd name="T1" fmla="*/ 93 h 269"/>
                  <a:gd name="T2" fmla="*/ 65 w 225"/>
                  <a:gd name="T3" fmla="*/ 102 h 269"/>
                  <a:gd name="T4" fmla="*/ 63 w 225"/>
                  <a:gd name="T5" fmla="*/ 112 h 269"/>
                  <a:gd name="T6" fmla="*/ 62 w 225"/>
                  <a:gd name="T7" fmla="*/ 110 h 269"/>
                  <a:gd name="T8" fmla="*/ 52 w 225"/>
                  <a:gd name="T9" fmla="*/ 111 h 269"/>
                  <a:gd name="T10" fmla="*/ 49 w 225"/>
                  <a:gd name="T11" fmla="*/ 116 h 269"/>
                  <a:gd name="T12" fmla="*/ 46 w 225"/>
                  <a:gd name="T13" fmla="*/ 111 h 269"/>
                  <a:gd name="T14" fmla="*/ 36 w 225"/>
                  <a:gd name="T15" fmla="*/ 109 h 269"/>
                  <a:gd name="T16" fmla="*/ 35 w 225"/>
                  <a:gd name="T17" fmla="*/ 107 h 269"/>
                  <a:gd name="T18" fmla="*/ 27 w 225"/>
                  <a:gd name="T19" fmla="*/ 117 h 269"/>
                  <a:gd name="T20" fmla="*/ 22 w 225"/>
                  <a:gd name="T21" fmla="*/ 116 h 269"/>
                  <a:gd name="T22" fmla="*/ 19 w 225"/>
                  <a:gd name="T23" fmla="*/ 108 h 269"/>
                  <a:gd name="T24" fmla="*/ 16 w 225"/>
                  <a:gd name="T25" fmla="*/ 100 h 269"/>
                  <a:gd name="T26" fmla="*/ 15 w 225"/>
                  <a:gd name="T27" fmla="*/ 92 h 269"/>
                  <a:gd name="T28" fmla="*/ 15 w 225"/>
                  <a:gd name="T29" fmla="*/ 85 h 269"/>
                  <a:gd name="T30" fmla="*/ 10 w 225"/>
                  <a:gd name="T31" fmla="*/ 80 h 269"/>
                  <a:gd name="T32" fmla="*/ 7 w 225"/>
                  <a:gd name="T33" fmla="*/ 74 h 269"/>
                  <a:gd name="T34" fmla="*/ 5 w 225"/>
                  <a:gd name="T35" fmla="*/ 69 h 269"/>
                  <a:gd name="T36" fmla="*/ 5 w 225"/>
                  <a:gd name="T37" fmla="*/ 66 h 269"/>
                  <a:gd name="T38" fmla="*/ 8 w 225"/>
                  <a:gd name="T39" fmla="*/ 58 h 269"/>
                  <a:gd name="T40" fmla="*/ 6 w 225"/>
                  <a:gd name="T41" fmla="*/ 57 h 269"/>
                  <a:gd name="T42" fmla="*/ 5 w 225"/>
                  <a:gd name="T43" fmla="*/ 50 h 269"/>
                  <a:gd name="T44" fmla="*/ 6 w 225"/>
                  <a:gd name="T45" fmla="*/ 42 h 269"/>
                  <a:gd name="T46" fmla="*/ 7 w 225"/>
                  <a:gd name="T47" fmla="*/ 38 h 269"/>
                  <a:gd name="T48" fmla="*/ 7 w 225"/>
                  <a:gd name="T49" fmla="*/ 27 h 269"/>
                  <a:gd name="T50" fmla="*/ 8 w 225"/>
                  <a:gd name="T51" fmla="*/ 24 h 269"/>
                  <a:gd name="T52" fmla="*/ 4 w 225"/>
                  <a:gd name="T53" fmla="*/ 17 h 269"/>
                  <a:gd name="T54" fmla="*/ 0 w 225"/>
                  <a:gd name="T55" fmla="*/ 10 h 269"/>
                  <a:gd name="T56" fmla="*/ 11 w 225"/>
                  <a:gd name="T57" fmla="*/ 11 h 269"/>
                  <a:gd name="T58" fmla="*/ 15 w 225"/>
                  <a:gd name="T59" fmla="*/ 8 h 269"/>
                  <a:gd name="T60" fmla="*/ 20 w 225"/>
                  <a:gd name="T61" fmla="*/ 4 h 269"/>
                  <a:gd name="T62" fmla="*/ 27 w 225"/>
                  <a:gd name="T63" fmla="*/ 0 h 269"/>
                  <a:gd name="T64" fmla="*/ 33 w 225"/>
                  <a:gd name="T65" fmla="*/ 1 h 269"/>
                  <a:gd name="T66" fmla="*/ 33 w 225"/>
                  <a:gd name="T67" fmla="*/ 8 h 269"/>
                  <a:gd name="T68" fmla="*/ 35 w 225"/>
                  <a:gd name="T69" fmla="*/ 16 h 269"/>
                  <a:gd name="T70" fmla="*/ 41 w 225"/>
                  <a:gd name="T71" fmla="*/ 23 h 269"/>
                  <a:gd name="T72" fmla="*/ 47 w 225"/>
                  <a:gd name="T73" fmla="*/ 24 h 269"/>
                  <a:gd name="T74" fmla="*/ 53 w 225"/>
                  <a:gd name="T75" fmla="*/ 28 h 269"/>
                  <a:gd name="T76" fmla="*/ 62 w 225"/>
                  <a:gd name="T77" fmla="*/ 34 h 269"/>
                  <a:gd name="T78" fmla="*/ 72 w 225"/>
                  <a:gd name="T79" fmla="*/ 35 h 269"/>
                  <a:gd name="T80" fmla="*/ 73 w 225"/>
                  <a:gd name="T81" fmla="*/ 38 h 269"/>
                  <a:gd name="T82" fmla="*/ 75 w 225"/>
                  <a:gd name="T83" fmla="*/ 48 h 269"/>
                  <a:gd name="T84" fmla="*/ 73 w 225"/>
                  <a:gd name="T85" fmla="*/ 48 h 269"/>
                  <a:gd name="T86" fmla="*/ 76 w 225"/>
                  <a:gd name="T87" fmla="*/ 51 h 269"/>
                  <a:gd name="T88" fmla="*/ 78 w 225"/>
                  <a:gd name="T89" fmla="*/ 58 h 269"/>
                  <a:gd name="T90" fmla="*/ 84 w 225"/>
                  <a:gd name="T91" fmla="*/ 59 h 269"/>
                  <a:gd name="T92" fmla="*/ 92 w 225"/>
                  <a:gd name="T93" fmla="*/ 59 h 269"/>
                  <a:gd name="T94" fmla="*/ 92 w 225"/>
                  <a:gd name="T95" fmla="*/ 67 h 269"/>
                  <a:gd name="T96" fmla="*/ 98 w 225"/>
                  <a:gd name="T97" fmla="*/ 72 h 269"/>
                  <a:gd name="T98" fmla="*/ 99 w 225"/>
                  <a:gd name="T99" fmla="*/ 76 h 269"/>
                  <a:gd name="T100" fmla="*/ 98 w 225"/>
                  <a:gd name="T101" fmla="*/ 82 h 269"/>
                  <a:gd name="T102" fmla="*/ 96 w 225"/>
                  <a:gd name="T103" fmla="*/ 89 h 269"/>
                  <a:gd name="T104" fmla="*/ 98 w 225"/>
                  <a:gd name="T105" fmla="*/ 92 h 269"/>
                  <a:gd name="T106" fmla="*/ 96 w 225"/>
                  <a:gd name="T107" fmla="*/ 93 h 269"/>
                  <a:gd name="T108" fmla="*/ 96 w 225"/>
                  <a:gd name="T109" fmla="*/ 92 h 269"/>
                  <a:gd name="T110" fmla="*/ 88 w 225"/>
                  <a:gd name="T111" fmla="*/ 86 h 269"/>
                  <a:gd name="T112" fmla="*/ 78 w 225"/>
                  <a:gd name="T113" fmla="*/ 87 h 269"/>
                  <a:gd name="T114" fmla="*/ 67 w 225"/>
                  <a:gd name="T115" fmla="*/ 89 h 269"/>
                  <a:gd name="T116" fmla="*/ 66 w 225"/>
                  <a:gd name="T117" fmla="*/ 93 h 26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25" h="269">
                    <a:moveTo>
                      <a:pt x="150" y="214"/>
                    </a:moveTo>
                    <a:lnTo>
                      <a:pt x="147" y="234"/>
                    </a:lnTo>
                    <a:lnTo>
                      <a:pt x="143" y="257"/>
                    </a:lnTo>
                    <a:lnTo>
                      <a:pt x="140" y="252"/>
                    </a:lnTo>
                    <a:lnTo>
                      <a:pt x="118" y="255"/>
                    </a:lnTo>
                    <a:lnTo>
                      <a:pt x="112" y="267"/>
                    </a:lnTo>
                    <a:lnTo>
                      <a:pt x="104" y="255"/>
                    </a:lnTo>
                    <a:lnTo>
                      <a:pt x="82" y="250"/>
                    </a:lnTo>
                    <a:lnTo>
                      <a:pt x="79" y="247"/>
                    </a:lnTo>
                    <a:lnTo>
                      <a:pt x="62" y="269"/>
                    </a:lnTo>
                    <a:lnTo>
                      <a:pt x="51" y="267"/>
                    </a:lnTo>
                    <a:lnTo>
                      <a:pt x="44" y="249"/>
                    </a:lnTo>
                    <a:lnTo>
                      <a:pt x="36" y="229"/>
                    </a:lnTo>
                    <a:lnTo>
                      <a:pt x="33" y="211"/>
                    </a:lnTo>
                    <a:lnTo>
                      <a:pt x="33" y="196"/>
                    </a:lnTo>
                    <a:lnTo>
                      <a:pt x="22" y="183"/>
                    </a:lnTo>
                    <a:lnTo>
                      <a:pt x="16" y="169"/>
                    </a:lnTo>
                    <a:lnTo>
                      <a:pt x="11" y="159"/>
                    </a:lnTo>
                    <a:lnTo>
                      <a:pt x="11" y="151"/>
                    </a:lnTo>
                    <a:lnTo>
                      <a:pt x="19" y="134"/>
                    </a:lnTo>
                    <a:lnTo>
                      <a:pt x="14" y="131"/>
                    </a:lnTo>
                    <a:lnTo>
                      <a:pt x="11" y="115"/>
                    </a:lnTo>
                    <a:lnTo>
                      <a:pt x="13" y="96"/>
                    </a:lnTo>
                    <a:lnTo>
                      <a:pt x="16" y="88"/>
                    </a:lnTo>
                    <a:lnTo>
                      <a:pt x="16" y="62"/>
                    </a:lnTo>
                    <a:lnTo>
                      <a:pt x="19" y="55"/>
                    </a:lnTo>
                    <a:lnTo>
                      <a:pt x="8" y="40"/>
                    </a:lnTo>
                    <a:lnTo>
                      <a:pt x="0" y="23"/>
                    </a:lnTo>
                    <a:lnTo>
                      <a:pt x="24" y="25"/>
                    </a:lnTo>
                    <a:lnTo>
                      <a:pt x="33" y="18"/>
                    </a:lnTo>
                    <a:lnTo>
                      <a:pt x="45" y="10"/>
                    </a:lnTo>
                    <a:lnTo>
                      <a:pt x="61" y="0"/>
                    </a:lnTo>
                    <a:lnTo>
                      <a:pt x="76" y="2"/>
                    </a:lnTo>
                    <a:lnTo>
                      <a:pt x="76" y="18"/>
                    </a:lnTo>
                    <a:lnTo>
                      <a:pt x="79" y="37"/>
                    </a:lnTo>
                    <a:lnTo>
                      <a:pt x="93" y="52"/>
                    </a:lnTo>
                    <a:lnTo>
                      <a:pt x="106" y="55"/>
                    </a:lnTo>
                    <a:lnTo>
                      <a:pt x="121" y="65"/>
                    </a:lnTo>
                    <a:lnTo>
                      <a:pt x="141" y="78"/>
                    </a:lnTo>
                    <a:lnTo>
                      <a:pt x="163" y="80"/>
                    </a:lnTo>
                    <a:lnTo>
                      <a:pt x="167" y="88"/>
                    </a:lnTo>
                    <a:lnTo>
                      <a:pt x="171" y="110"/>
                    </a:lnTo>
                    <a:lnTo>
                      <a:pt x="166" y="110"/>
                    </a:lnTo>
                    <a:lnTo>
                      <a:pt x="172" y="118"/>
                    </a:lnTo>
                    <a:lnTo>
                      <a:pt x="177" y="134"/>
                    </a:lnTo>
                    <a:lnTo>
                      <a:pt x="192" y="136"/>
                    </a:lnTo>
                    <a:lnTo>
                      <a:pt x="209" y="136"/>
                    </a:lnTo>
                    <a:lnTo>
                      <a:pt x="209" y="154"/>
                    </a:lnTo>
                    <a:lnTo>
                      <a:pt x="223" y="166"/>
                    </a:lnTo>
                    <a:lnTo>
                      <a:pt x="225" y="174"/>
                    </a:lnTo>
                    <a:lnTo>
                      <a:pt x="223" y="189"/>
                    </a:lnTo>
                    <a:lnTo>
                      <a:pt x="218" y="204"/>
                    </a:lnTo>
                    <a:lnTo>
                      <a:pt x="222" y="211"/>
                    </a:lnTo>
                    <a:lnTo>
                      <a:pt x="218" y="214"/>
                    </a:lnTo>
                    <a:lnTo>
                      <a:pt x="218" y="211"/>
                    </a:lnTo>
                    <a:lnTo>
                      <a:pt x="200" y="197"/>
                    </a:lnTo>
                    <a:lnTo>
                      <a:pt x="177" y="201"/>
                    </a:lnTo>
                    <a:lnTo>
                      <a:pt x="153" y="204"/>
                    </a:lnTo>
                    <a:lnTo>
                      <a:pt x="150" y="21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17" name="Freeform 247">
                <a:extLst>
                  <a:ext uri="{FF2B5EF4-FFF2-40B4-BE49-F238E27FC236}">
                    <a16:creationId xmlns:a16="http://schemas.microsoft.com/office/drawing/2014/main" id="{CE3C3863-4D69-2E99-7BE9-EEAC8A26DA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33" y="3805"/>
                <a:ext cx="75" cy="81"/>
              </a:xfrm>
              <a:custGeom>
                <a:avLst/>
                <a:gdLst>
                  <a:gd name="T0" fmla="*/ 0 w 167"/>
                  <a:gd name="T1" fmla="*/ 62 h 184"/>
                  <a:gd name="T2" fmla="*/ 0 w 167"/>
                  <a:gd name="T3" fmla="*/ 50 h 184"/>
                  <a:gd name="T4" fmla="*/ 0 w 167"/>
                  <a:gd name="T5" fmla="*/ 37 h 184"/>
                  <a:gd name="T6" fmla="*/ 9 w 167"/>
                  <a:gd name="T7" fmla="*/ 37 h 184"/>
                  <a:gd name="T8" fmla="*/ 9 w 167"/>
                  <a:gd name="T9" fmla="*/ 29 h 184"/>
                  <a:gd name="T10" fmla="*/ 9 w 167"/>
                  <a:gd name="T11" fmla="*/ 21 h 184"/>
                  <a:gd name="T12" fmla="*/ 9 w 167"/>
                  <a:gd name="T13" fmla="*/ 12 h 184"/>
                  <a:gd name="T14" fmla="*/ 9 w 167"/>
                  <a:gd name="T15" fmla="*/ 4 h 184"/>
                  <a:gd name="T16" fmla="*/ 19 w 167"/>
                  <a:gd name="T17" fmla="*/ 3 h 184"/>
                  <a:gd name="T18" fmla="*/ 29 w 167"/>
                  <a:gd name="T19" fmla="*/ 2 h 184"/>
                  <a:gd name="T20" fmla="*/ 32 w 167"/>
                  <a:gd name="T21" fmla="*/ 5 h 184"/>
                  <a:gd name="T22" fmla="*/ 38 w 167"/>
                  <a:gd name="T23" fmla="*/ 1 h 184"/>
                  <a:gd name="T24" fmla="*/ 44 w 167"/>
                  <a:gd name="T25" fmla="*/ 0 h 184"/>
                  <a:gd name="T26" fmla="*/ 49 w 167"/>
                  <a:gd name="T27" fmla="*/ 9 h 184"/>
                  <a:gd name="T28" fmla="*/ 53 w 167"/>
                  <a:gd name="T29" fmla="*/ 18 h 184"/>
                  <a:gd name="T30" fmla="*/ 60 w 167"/>
                  <a:gd name="T31" fmla="*/ 22 h 184"/>
                  <a:gd name="T32" fmla="*/ 61 w 167"/>
                  <a:gd name="T33" fmla="*/ 23 h 184"/>
                  <a:gd name="T34" fmla="*/ 63 w 167"/>
                  <a:gd name="T35" fmla="*/ 27 h 184"/>
                  <a:gd name="T36" fmla="*/ 66 w 167"/>
                  <a:gd name="T37" fmla="*/ 33 h 184"/>
                  <a:gd name="T38" fmla="*/ 73 w 167"/>
                  <a:gd name="T39" fmla="*/ 37 h 184"/>
                  <a:gd name="T40" fmla="*/ 75 w 167"/>
                  <a:gd name="T41" fmla="*/ 39 h 184"/>
                  <a:gd name="T42" fmla="*/ 75 w 167"/>
                  <a:gd name="T43" fmla="*/ 39 h 184"/>
                  <a:gd name="T44" fmla="*/ 63 w 167"/>
                  <a:gd name="T45" fmla="*/ 46 h 184"/>
                  <a:gd name="T46" fmla="*/ 56 w 167"/>
                  <a:gd name="T47" fmla="*/ 53 h 184"/>
                  <a:gd name="T48" fmla="*/ 51 w 167"/>
                  <a:gd name="T49" fmla="*/ 61 h 184"/>
                  <a:gd name="T50" fmla="*/ 46 w 167"/>
                  <a:gd name="T51" fmla="*/ 64 h 184"/>
                  <a:gd name="T52" fmla="*/ 42 w 167"/>
                  <a:gd name="T53" fmla="*/ 71 h 184"/>
                  <a:gd name="T54" fmla="*/ 30 w 167"/>
                  <a:gd name="T55" fmla="*/ 70 h 184"/>
                  <a:gd name="T56" fmla="*/ 23 w 167"/>
                  <a:gd name="T57" fmla="*/ 68 h 184"/>
                  <a:gd name="T58" fmla="*/ 19 w 167"/>
                  <a:gd name="T59" fmla="*/ 74 h 184"/>
                  <a:gd name="T60" fmla="*/ 15 w 167"/>
                  <a:gd name="T61" fmla="*/ 80 h 184"/>
                  <a:gd name="T62" fmla="*/ 7 w 167"/>
                  <a:gd name="T63" fmla="*/ 81 h 184"/>
                  <a:gd name="T64" fmla="*/ 4 w 167"/>
                  <a:gd name="T65" fmla="*/ 80 h 184"/>
                  <a:gd name="T66" fmla="*/ 5 w 167"/>
                  <a:gd name="T67" fmla="*/ 71 h 184"/>
                  <a:gd name="T68" fmla="*/ 0 w 167"/>
                  <a:gd name="T69" fmla="*/ 62 h 18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67" h="184">
                    <a:moveTo>
                      <a:pt x="0" y="141"/>
                    </a:moveTo>
                    <a:lnTo>
                      <a:pt x="1" y="114"/>
                    </a:lnTo>
                    <a:lnTo>
                      <a:pt x="1" y="84"/>
                    </a:lnTo>
                    <a:lnTo>
                      <a:pt x="20" y="84"/>
                    </a:lnTo>
                    <a:lnTo>
                      <a:pt x="20" y="66"/>
                    </a:lnTo>
                    <a:lnTo>
                      <a:pt x="21" y="48"/>
                    </a:lnTo>
                    <a:lnTo>
                      <a:pt x="21" y="28"/>
                    </a:lnTo>
                    <a:lnTo>
                      <a:pt x="21" y="10"/>
                    </a:lnTo>
                    <a:lnTo>
                      <a:pt x="43" y="7"/>
                    </a:lnTo>
                    <a:lnTo>
                      <a:pt x="65" y="5"/>
                    </a:lnTo>
                    <a:lnTo>
                      <a:pt x="71" y="12"/>
                    </a:lnTo>
                    <a:lnTo>
                      <a:pt x="85" y="3"/>
                    </a:lnTo>
                    <a:lnTo>
                      <a:pt x="99" y="0"/>
                    </a:lnTo>
                    <a:lnTo>
                      <a:pt x="110" y="20"/>
                    </a:lnTo>
                    <a:lnTo>
                      <a:pt x="119" y="40"/>
                    </a:lnTo>
                    <a:lnTo>
                      <a:pt x="133" y="50"/>
                    </a:lnTo>
                    <a:lnTo>
                      <a:pt x="136" y="53"/>
                    </a:lnTo>
                    <a:lnTo>
                      <a:pt x="141" y="61"/>
                    </a:lnTo>
                    <a:lnTo>
                      <a:pt x="147" y="76"/>
                    </a:lnTo>
                    <a:lnTo>
                      <a:pt x="162" y="84"/>
                    </a:lnTo>
                    <a:lnTo>
                      <a:pt x="167" y="88"/>
                    </a:lnTo>
                    <a:lnTo>
                      <a:pt x="167" y="89"/>
                    </a:lnTo>
                    <a:lnTo>
                      <a:pt x="141" y="104"/>
                    </a:lnTo>
                    <a:lnTo>
                      <a:pt x="124" y="121"/>
                    </a:lnTo>
                    <a:lnTo>
                      <a:pt x="114" y="139"/>
                    </a:lnTo>
                    <a:lnTo>
                      <a:pt x="103" y="146"/>
                    </a:lnTo>
                    <a:lnTo>
                      <a:pt x="94" y="162"/>
                    </a:lnTo>
                    <a:lnTo>
                      <a:pt x="66" y="159"/>
                    </a:lnTo>
                    <a:lnTo>
                      <a:pt x="52" y="154"/>
                    </a:lnTo>
                    <a:lnTo>
                      <a:pt x="43" y="167"/>
                    </a:lnTo>
                    <a:lnTo>
                      <a:pt x="34" y="181"/>
                    </a:lnTo>
                    <a:lnTo>
                      <a:pt x="15" y="184"/>
                    </a:lnTo>
                    <a:lnTo>
                      <a:pt x="9" y="182"/>
                    </a:lnTo>
                    <a:lnTo>
                      <a:pt x="12" y="162"/>
                    </a:lnTo>
                    <a:lnTo>
                      <a:pt x="0" y="14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18" name="Freeform 248">
                <a:extLst>
                  <a:ext uri="{FF2B5EF4-FFF2-40B4-BE49-F238E27FC236}">
                    <a16:creationId xmlns:a16="http://schemas.microsoft.com/office/drawing/2014/main" id="{E4BB984E-9B7B-970C-9833-1E969F3789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86" y="3902"/>
                <a:ext cx="18" cy="18"/>
              </a:xfrm>
              <a:custGeom>
                <a:avLst/>
                <a:gdLst>
                  <a:gd name="T0" fmla="*/ 8 w 40"/>
                  <a:gd name="T1" fmla="*/ 3 h 40"/>
                  <a:gd name="T2" fmla="*/ 0 w 40"/>
                  <a:gd name="T3" fmla="*/ 10 h 40"/>
                  <a:gd name="T4" fmla="*/ 5 w 40"/>
                  <a:gd name="T5" fmla="*/ 18 h 40"/>
                  <a:gd name="T6" fmla="*/ 9 w 40"/>
                  <a:gd name="T7" fmla="*/ 16 h 40"/>
                  <a:gd name="T8" fmla="*/ 16 w 40"/>
                  <a:gd name="T9" fmla="*/ 10 h 40"/>
                  <a:gd name="T10" fmla="*/ 18 w 40"/>
                  <a:gd name="T11" fmla="*/ 5 h 40"/>
                  <a:gd name="T12" fmla="*/ 11 w 40"/>
                  <a:gd name="T13" fmla="*/ 0 h 40"/>
                  <a:gd name="T14" fmla="*/ 8 w 40"/>
                  <a:gd name="T15" fmla="*/ 3 h 4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0" h="40">
                    <a:moveTo>
                      <a:pt x="17" y="7"/>
                    </a:moveTo>
                    <a:lnTo>
                      <a:pt x="0" y="23"/>
                    </a:lnTo>
                    <a:lnTo>
                      <a:pt x="12" y="40"/>
                    </a:lnTo>
                    <a:lnTo>
                      <a:pt x="20" y="35"/>
                    </a:lnTo>
                    <a:lnTo>
                      <a:pt x="36" y="22"/>
                    </a:lnTo>
                    <a:lnTo>
                      <a:pt x="40" y="10"/>
                    </a:lnTo>
                    <a:lnTo>
                      <a:pt x="25" y="0"/>
                    </a:lnTo>
                    <a:lnTo>
                      <a:pt x="17" y="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19" name="Freeform 249">
                <a:extLst>
                  <a:ext uri="{FF2B5EF4-FFF2-40B4-BE49-F238E27FC236}">
                    <a16:creationId xmlns:a16="http://schemas.microsoft.com/office/drawing/2014/main" id="{0A0D7D4A-1028-DCDB-AD21-E6383BCEC4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17" y="3753"/>
                <a:ext cx="61" cy="121"/>
              </a:xfrm>
              <a:custGeom>
                <a:avLst/>
                <a:gdLst>
                  <a:gd name="T0" fmla="*/ 22 w 138"/>
                  <a:gd name="T1" fmla="*/ 34 h 276"/>
                  <a:gd name="T2" fmla="*/ 20 w 138"/>
                  <a:gd name="T3" fmla="*/ 35 h 276"/>
                  <a:gd name="T4" fmla="*/ 12 w 138"/>
                  <a:gd name="T5" fmla="*/ 38 h 276"/>
                  <a:gd name="T6" fmla="*/ 11 w 138"/>
                  <a:gd name="T7" fmla="*/ 46 h 276"/>
                  <a:gd name="T8" fmla="*/ 8 w 138"/>
                  <a:gd name="T9" fmla="*/ 53 h 276"/>
                  <a:gd name="T10" fmla="*/ 10 w 138"/>
                  <a:gd name="T11" fmla="*/ 62 h 276"/>
                  <a:gd name="T12" fmla="*/ 11 w 138"/>
                  <a:gd name="T13" fmla="*/ 71 h 276"/>
                  <a:gd name="T14" fmla="*/ 7 w 138"/>
                  <a:gd name="T15" fmla="*/ 77 h 276"/>
                  <a:gd name="T16" fmla="*/ 3 w 138"/>
                  <a:gd name="T17" fmla="*/ 83 h 276"/>
                  <a:gd name="T18" fmla="*/ 0 w 138"/>
                  <a:gd name="T19" fmla="*/ 95 h 276"/>
                  <a:gd name="T20" fmla="*/ 2 w 138"/>
                  <a:gd name="T21" fmla="*/ 105 h 276"/>
                  <a:gd name="T22" fmla="*/ 6 w 138"/>
                  <a:gd name="T23" fmla="*/ 117 h 276"/>
                  <a:gd name="T24" fmla="*/ 16 w 138"/>
                  <a:gd name="T25" fmla="*/ 121 h 276"/>
                  <a:gd name="T26" fmla="*/ 22 w 138"/>
                  <a:gd name="T27" fmla="*/ 117 h 276"/>
                  <a:gd name="T28" fmla="*/ 29 w 138"/>
                  <a:gd name="T29" fmla="*/ 114 h 276"/>
                  <a:gd name="T30" fmla="*/ 32 w 138"/>
                  <a:gd name="T31" fmla="*/ 106 h 276"/>
                  <a:gd name="T32" fmla="*/ 35 w 138"/>
                  <a:gd name="T33" fmla="*/ 97 h 276"/>
                  <a:gd name="T34" fmla="*/ 38 w 138"/>
                  <a:gd name="T35" fmla="*/ 89 h 276"/>
                  <a:gd name="T36" fmla="*/ 41 w 138"/>
                  <a:gd name="T37" fmla="*/ 81 h 276"/>
                  <a:gd name="T38" fmla="*/ 43 w 138"/>
                  <a:gd name="T39" fmla="*/ 73 h 276"/>
                  <a:gd name="T40" fmla="*/ 47 w 138"/>
                  <a:gd name="T41" fmla="*/ 65 h 276"/>
                  <a:gd name="T42" fmla="*/ 49 w 138"/>
                  <a:gd name="T43" fmla="*/ 57 h 276"/>
                  <a:gd name="T44" fmla="*/ 52 w 138"/>
                  <a:gd name="T45" fmla="*/ 49 h 276"/>
                  <a:gd name="T46" fmla="*/ 55 w 138"/>
                  <a:gd name="T47" fmla="*/ 43 h 276"/>
                  <a:gd name="T48" fmla="*/ 55 w 138"/>
                  <a:gd name="T49" fmla="*/ 30 h 276"/>
                  <a:gd name="T50" fmla="*/ 59 w 138"/>
                  <a:gd name="T51" fmla="*/ 34 h 276"/>
                  <a:gd name="T52" fmla="*/ 61 w 138"/>
                  <a:gd name="T53" fmla="*/ 29 h 276"/>
                  <a:gd name="T54" fmla="*/ 59 w 138"/>
                  <a:gd name="T55" fmla="*/ 18 h 276"/>
                  <a:gd name="T56" fmla="*/ 56 w 138"/>
                  <a:gd name="T57" fmla="*/ 7 h 276"/>
                  <a:gd name="T58" fmla="*/ 54 w 138"/>
                  <a:gd name="T59" fmla="*/ 0 h 276"/>
                  <a:gd name="T60" fmla="*/ 52 w 138"/>
                  <a:gd name="T61" fmla="*/ 0 h 276"/>
                  <a:gd name="T62" fmla="*/ 50 w 138"/>
                  <a:gd name="T63" fmla="*/ 3 h 276"/>
                  <a:gd name="T64" fmla="*/ 49 w 138"/>
                  <a:gd name="T65" fmla="*/ 12 h 276"/>
                  <a:gd name="T66" fmla="*/ 45 w 138"/>
                  <a:gd name="T67" fmla="*/ 14 h 276"/>
                  <a:gd name="T68" fmla="*/ 43 w 138"/>
                  <a:gd name="T69" fmla="*/ 14 h 276"/>
                  <a:gd name="T70" fmla="*/ 42 w 138"/>
                  <a:gd name="T71" fmla="*/ 14 h 276"/>
                  <a:gd name="T72" fmla="*/ 42 w 138"/>
                  <a:gd name="T73" fmla="*/ 19 h 276"/>
                  <a:gd name="T74" fmla="*/ 41 w 138"/>
                  <a:gd name="T75" fmla="*/ 22 h 276"/>
                  <a:gd name="T76" fmla="*/ 41 w 138"/>
                  <a:gd name="T77" fmla="*/ 24 h 276"/>
                  <a:gd name="T78" fmla="*/ 36 w 138"/>
                  <a:gd name="T79" fmla="*/ 26 h 276"/>
                  <a:gd name="T80" fmla="*/ 38 w 138"/>
                  <a:gd name="T81" fmla="*/ 24 h 276"/>
                  <a:gd name="T82" fmla="*/ 35 w 138"/>
                  <a:gd name="T83" fmla="*/ 30 h 276"/>
                  <a:gd name="T84" fmla="*/ 34 w 138"/>
                  <a:gd name="T85" fmla="*/ 30 h 276"/>
                  <a:gd name="T86" fmla="*/ 32 w 138"/>
                  <a:gd name="T87" fmla="*/ 29 h 276"/>
                  <a:gd name="T88" fmla="*/ 28 w 138"/>
                  <a:gd name="T89" fmla="*/ 34 h 276"/>
                  <a:gd name="T90" fmla="*/ 22 w 138"/>
                  <a:gd name="T91" fmla="*/ 34 h 27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38" h="276">
                    <a:moveTo>
                      <a:pt x="50" y="77"/>
                    </a:moveTo>
                    <a:lnTo>
                      <a:pt x="45" y="79"/>
                    </a:lnTo>
                    <a:lnTo>
                      <a:pt x="28" y="87"/>
                    </a:lnTo>
                    <a:lnTo>
                      <a:pt x="24" y="104"/>
                    </a:lnTo>
                    <a:lnTo>
                      <a:pt x="19" y="121"/>
                    </a:lnTo>
                    <a:lnTo>
                      <a:pt x="22" y="142"/>
                    </a:lnTo>
                    <a:lnTo>
                      <a:pt x="25" y="162"/>
                    </a:lnTo>
                    <a:lnTo>
                      <a:pt x="16" y="175"/>
                    </a:lnTo>
                    <a:lnTo>
                      <a:pt x="7" y="190"/>
                    </a:lnTo>
                    <a:lnTo>
                      <a:pt x="0" y="217"/>
                    </a:lnTo>
                    <a:lnTo>
                      <a:pt x="5" y="240"/>
                    </a:lnTo>
                    <a:lnTo>
                      <a:pt x="13" y="266"/>
                    </a:lnTo>
                    <a:lnTo>
                      <a:pt x="36" y="276"/>
                    </a:lnTo>
                    <a:lnTo>
                      <a:pt x="50" y="268"/>
                    </a:lnTo>
                    <a:lnTo>
                      <a:pt x="65" y="260"/>
                    </a:lnTo>
                    <a:lnTo>
                      <a:pt x="73" y="242"/>
                    </a:lnTo>
                    <a:lnTo>
                      <a:pt x="79" y="222"/>
                    </a:lnTo>
                    <a:lnTo>
                      <a:pt x="86" y="203"/>
                    </a:lnTo>
                    <a:lnTo>
                      <a:pt x="92" y="185"/>
                    </a:lnTo>
                    <a:lnTo>
                      <a:pt x="98" y="167"/>
                    </a:lnTo>
                    <a:lnTo>
                      <a:pt x="106" y="149"/>
                    </a:lnTo>
                    <a:lnTo>
                      <a:pt x="110" y="129"/>
                    </a:lnTo>
                    <a:lnTo>
                      <a:pt x="118" y="111"/>
                    </a:lnTo>
                    <a:lnTo>
                      <a:pt x="124" y="97"/>
                    </a:lnTo>
                    <a:lnTo>
                      <a:pt x="124" y="69"/>
                    </a:lnTo>
                    <a:lnTo>
                      <a:pt x="134" y="77"/>
                    </a:lnTo>
                    <a:lnTo>
                      <a:pt x="138" y="66"/>
                    </a:lnTo>
                    <a:lnTo>
                      <a:pt x="134" y="41"/>
                    </a:lnTo>
                    <a:lnTo>
                      <a:pt x="127" y="15"/>
                    </a:lnTo>
                    <a:lnTo>
                      <a:pt x="123" y="1"/>
                    </a:lnTo>
                    <a:lnTo>
                      <a:pt x="118" y="0"/>
                    </a:lnTo>
                    <a:lnTo>
                      <a:pt x="112" y="6"/>
                    </a:lnTo>
                    <a:lnTo>
                      <a:pt x="110" y="28"/>
                    </a:lnTo>
                    <a:lnTo>
                      <a:pt x="101" y="31"/>
                    </a:lnTo>
                    <a:lnTo>
                      <a:pt x="98" y="33"/>
                    </a:lnTo>
                    <a:lnTo>
                      <a:pt x="95" y="31"/>
                    </a:lnTo>
                    <a:lnTo>
                      <a:pt x="96" y="43"/>
                    </a:lnTo>
                    <a:lnTo>
                      <a:pt x="92" y="51"/>
                    </a:lnTo>
                    <a:lnTo>
                      <a:pt x="93" y="54"/>
                    </a:lnTo>
                    <a:lnTo>
                      <a:pt x="82" y="59"/>
                    </a:lnTo>
                    <a:lnTo>
                      <a:pt x="86" y="54"/>
                    </a:lnTo>
                    <a:lnTo>
                      <a:pt x="79" y="68"/>
                    </a:lnTo>
                    <a:lnTo>
                      <a:pt x="76" y="69"/>
                    </a:lnTo>
                    <a:lnTo>
                      <a:pt x="73" y="66"/>
                    </a:lnTo>
                    <a:lnTo>
                      <a:pt x="64" y="77"/>
                    </a:lnTo>
                    <a:lnTo>
                      <a:pt x="50" y="7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20" name="Freeform 250">
                <a:extLst>
                  <a:ext uri="{FF2B5EF4-FFF2-40B4-BE49-F238E27FC236}">
                    <a16:creationId xmlns:a16="http://schemas.microsoft.com/office/drawing/2014/main" id="{0F7FD748-FD0C-1C67-82F0-33BC9ECD59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38" y="3729"/>
                <a:ext cx="25" cy="70"/>
              </a:xfrm>
              <a:custGeom>
                <a:avLst/>
                <a:gdLst>
                  <a:gd name="T0" fmla="*/ 15 w 55"/>
                  <a:gd name="T1" fmla="*/ 48 h 161"/>
                  <a:gd name="T2" fmla="*/ 11 w 55"/>
                  <a:gd name="T3" fmla="*/ 57 h 161"/>
                  <a:gd name="T4" fmla="*/ 15 w 55"/>
                  <a:gd name="T5" fmla="*/ 64 h 161"/>
                  <a:gd name="T6" fmla="*/ 20 w 55"/>
                  <a:gd name="T7" fmla="*/ 70 h 161"/>
                  <a:gd name="T8" fmla="*/ 18 w 55"/>
                  <a:gd name="T9" fmla="*/ 64 h 161"/>
                  <a:gd name="T10" fmla="*/ 22 w 55"/>
                  <a:gd name="T11" fmla="*/ 60 h 161"/>
                  <a:gd name="T12" fmla="*/ 24 w 55"/>
                  <a:gd name="T13" fmla="*/ 54 h 161"/>
                  <a:gd name="T14" fmla="*/ 25 w 55"/>
                  <a:gd name="T15" fmla="*/ 47 h 161"/>
                  <a:gd name="T16" fmla="*/ 20 w 55"/>
                  <a:gd name="T17" fmla="*/ 42 h 161"/>
                  <a:gd name="T18" fmla="*/ 15 w 55"/>
                  <a:gd name="T19" fmla="*/ 37 h 161"/>
                  <a:gd name="T20" fmla="*/ 13 w 55"/>
                  <a:gd name="T21" fmla="*/ 28 h 161"/>
                  <a:gd name="T22" fmla="*/ 15 w 55"/>
                  <a:gd name="T23" fmla="*/ 22 h 161"/>
                  <a:gd name="T24" fmla="*/ 18 w 55"/>
                  <a:gd name="T25" fmla="*/ 20 h 161"/>
                  <a:gd name="T26" fmla="*/ 19 w 55"/>
                  <a:gd name="T27" fmla="*/ 20 h 161"/>
                  <a:gd name="T28" fmla="*/ 16 w 55"/>
                  <a:gd name="T29" fmla="*/ 12 h 161"/>
                  <a:gd name="T30" fmla="*/ 13 w 55"/>
                  <a:gd name="T31" fmla="*/ 3 h 161"/>
                  <a:gd name="T32" fmla="*/ 10 w 55"/>
                  <a:gd name="T33" fmla="*/ 1 h 161"/>
                  <a:gd name="T34" fmla="*/ 2 w 55"/>
                  <a:gd name="T35" fmla="*/ 0 h 161"/>
                  <a:gd name="T36" fmla="*/ 3 w 55"/>
                  <a:gd name="T37" fmla="*/ 2 h 161"/>
                  <a:gd name="T38" fmla="*/ 8 w 55"/>
                  <a:gd name="T39" fmla="*/ 9 h 161"/>
                  <a:gd name="T40" fmla="*/ 6 w 55"/>
                  <a:gd name="T41" fmla="*/ 12 h 161"/>
                  <a:gd name="T42" fmla="*/ 5 w 55"/>
                  <a:gd name="T43" fmla="*/ 20 h 161"/>
                  <a:gd name="T44" fmla="*/ 5 w 55"/>
                  <a:gd name="T45" fmla="*/ 27 h 161"/>
                  <a:gd name="T46" fmla="*/ 4 w 55"/>
                  <a:gd name="T47" fmla="*/ 29 h 161"/>
                  <a:gd name="T48" fmla="*/ 0 w 55"/>
                  <a:gd name="T49" fmla="*/ 37 h 161"/>
                  <a:gd name="T50" fmla="*/ 4 w 55"/>
                  <a:gd name="T51" fmla="*/ 42 h 161"/>
                  <a:gd name="T52" fmla="*/ 6 w 55"/>
                  <a:gd name="T53" fmla="*/ 45 h 161"/>
                  <a:gd name="T54" fmla="*/ 11 w 55"/>
                  <a:gd name="T55" fmla="*/ 46 h 161"/>
                  <a:gd name="T56" fmla="*/ 15 w 55"/>
                  <a:gd name="T57" fmla="*/ 48 h 16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55" h="161">
                    <a:moveTo>
                      <a:pt x="32" y="111"/>
                    </a:moveTo>
                    <a:lnTo>
                      <a:pt x="24" y="132"/>
                    </a:lnTo>
                    <a:lnTo>
                      <a:pt x="32" y="147"/>
                    </a:lnTo>
                    <a:lnTo>
                      <a:pt x="43" y="161"/>
                    </a:lnTo>
                    <a:lnTo>
                      <a:pt x="40" y="147"/>
                    </a:lnTo>
                    <a:lnTo>
                      <a:pt x="49" y="139"/>
                    </a:lnTo>
                    <a:lnTo>
                      <a:pt x="52" y="124"/>
                    </a:lnTo>
                    <a:lnTo>
                      <a:pt x="55" y="109"/>
                    </a:lnTo>
                    <a:lnTo>
                      <a:pt x="43" y="96"/>
                    </a:lnTo>
                    <a:lnTo>
                      <a:pt x="34" y="84"/>
                    </a:lnTo>
                    <a:lnTo>
                      <a:pt x="29" y="65"/>
                    </a:lnTo>
                    <a:lnTo>
                      <a:pt x="34" y="50"/>
                    </a:lnTo>
                    <a:lnTo>
                      <a:pt x="40" y="46"/>
                    </a:lnTo>
                    <a:lnTo>
                      <a:pt x="41" y="46"/>
                    </a:lnTo>
                    <a:lnTo>
                      <a:pt x="35" y="28"/>
                    </a:lnTo>
                    <a:lnTo>
                      <a:pt x="29" y="7"/>
                    </a:lnTo>
                    <a:lnTo>
                      <a:pt x="23" y="3"/>
                    </a:lnTo>
                    <a:lnTo>
                      <a:pt x="4" y="0"/>
                    </a:lnTo>
                    <a:lnTo>
                      <a:pt x="6" y="5"/>
                    </a:lnTo>
                    <a:lnTo>
                      <a:pt x="18" y="21"/>
                    </a:lnTo>
                    <a:lnTo>
                      <a:pt x="13" y="28"/>
                    </a:lnTo>
                    <a:lnTo>
                      <a:pt x="12" y="46"/>
                    </a:lnTo>
                    <a:lnTo>
                      <a:pt x="12" y="61"/>
                    </a:lnTo>
                    <a:lnTo>
                      <a:pt x="9" y="66"/>
                    </a:lnTo>
                    <a:lnTo>
                      <a:pt x="0" y="86"/>
                    </a:lnTo>
                    <a:lnTo>
                      <a:pt x="9" y="96"/>
                    </a:lnTo>
                    <a:lnTo>
                      <a:pt x="13" y="103"/>
                    </a:lnTo>
                    <a:lnTo>
                      <a:pt x="24" y="106"/>
                    </a:lnTo>
                    <a:lnTo>
                      <a:pt x="32" y="11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21" name="Freeform 251">
                <a:extLst>
                  <a:ext uri="{FF2B5EF4-FFF2-40B4-BE49-F238E27FC236}">
                    <a16:creationId xmlns:a16="http://schemas.microsoft.com/office/drawing/2014/main" id="{1523C04C-23CF-916E-98B1-ACCAEAACAD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17" y="3739"/>
                <a:ext cx="84" cy="148"/>
              </a:xfrm>
              <a:custGeom>
                <a:avLst/>
                <a:gdLst>
                  <a:gd name="T0" fmla="*/ 33 w 190"/>
                  <a:gd name="T1" fmla="*/ 86 h 339"/>
                  <a:gd name="T2" fmla="*/ 37 w 190"/>
                  <a:gd name="T3" fmla="*/ 83 h 339"/>
                  <a:gd name="T4" fmla="*/ 52 w 190"/>
                  <a:gd name="T5" fmla="*/ 68 h 339"/>
                  <a:gd name="T6" fmla="*/ 65 w 190"/>
                  <a:gd name="T7" fmla="*/ 59 h 339"/>
                  <a:gd name="T8" fmla="*/ 82 w 190"/>
                  <a:gd name="T9" fmla="*/ 43 h 339"/>
                  <a:gd name="T10" fmla="*/ 83 w 190"/>
                  <a:gd name="T11" fmla="*/ 36 h 339"/>
                  <a:gd name="T12" fmla="*/ 83 w 190"/>
                  <a:gd name="T13" fmla="*/ 19 h 339"/>
                  <a:gd name="T14" fmla="*/ 83 w 190"/>
                  <a:gd name="T15" fmla="*/ 0 h 339"/>
                  <a:gd name="T16" fmla="*/ 74 w 190"/>
                  <a:gd name="T17" fmla="*/ 4 h 339"/>
                  <a:gd name="T18" fmla="*/ 62 w 190"/>
                  <a:gd name="T19" fmla="*/ 9 h 339"/>
                  <a:gd name="T20" fmla="*/ 47 w 190"/>
                  <a:gd name="T21" fmla="*/ 10 h 339"/>
                  <a:gd name="T22" fmla="*/ 38 w 190"/>
                  <a:gd name="T23" fmla="*/ 10 h 339"/>
                  <a:gd name="T24" fmla="*/ 33 w 190"/>
                  <a:gd name="T25" fmla="*/ 18 h 339"/>
                  <a:gd name="T26" fmla="*/ 39 w 190"/>
                  <a:gd name="T27" fmla="*/ 33 h 339"/>
                  <a:gd name="T28" fmla="*/ 44 w 190"/>
                  <a:gd name="T29" fmla="*/ 45 h 339"/>
                  <a:gd name="T30" fmla="*/ 38 w 190"/>
                  <a:gd name="T31" fmla="*/ 55 h 339"/>
                  <a:gd name="T32" fmla="*/ 35 w 190"/>
                  <a:gd name="T33" fmla="*/ 55 h 339"/>
                  <a:gd name="T34" fmla="*/ 34 w 190"/>
                  <a:gd name="T35" fmla="*/ 39 h 339"/>
                  <a:gd name="T36" fmla="*/ 27 w 190"/>
                  <a:gd name="T37" fmla="*/ 36 h 339"/>
                  <a:gd name="T38" fmla="*/ 18 w 190"/>
                  <a:gd name="T39" fmla="*/ 34 h 339"/>
                  <a:gd name="T40" fmla="*/ 6 w 190"/>
                  <a:gd name="T41" fmla="*/ 39 h 339"/>
                  <a:gd name="T42" fmla="*/ 0 w 190"/>
                  <a:gd name="T43" fmla="*/ 47 h 339"/>
                  <a:gd name="T44" fmla="*/ 5 w 190"/>
                  <a:gd name="T45" fmla="*/ 50 h 339"/>
                  <a:gd name="T46" fmla="*/ 20 w 190"/>
                  <a:gd name="T47" fmla="*/ 57 h 339"/>
                  <a:gd name="T48" fmla="*/ 18 w 190"/>
                  <a:gd name="T49" fmla="*/ 75 h 339"/>
                  <a:gd name="T50" fmla="*/ 17 w 190"/>
                  <a:gd name="T51" fmla="*/ 91 h 339"/>
                  <a:gd name="T52" fmla="*/ 10 w 190"/>
                  <a:gd name="T53" fmla="*/ 102 h 339"/>
                  <a:gd name="T54" fmla="*/ 7 w 190"/>
                  <a:gd name="T55" fmla="*/ 114 h 339"/>
                  <a:gd name="T56" fmla="*/ 9 w 190"/>
                  <a:gd name="T57" fmla="*/ 130 h 339"/>
                  <a:gd name="T58" fmla="*/ 9 w 190"/>
                  <a:gd name="T59" fmla="*/ 147 h 339"/>
                  <a:gd name="T60" fmla="*/ 15 w 190"/>
                  <a:gd name="T61" fmla="*/ 142 h 339"/>
                  <a:gd name="T62" fmla="*/ 23 w 190"/>
                  <a:gd name="T63" fmla="*/ 132 h 339"/>
                  <a:gd name="T64" fmla="*/ 36 w 190"/>
                  <a:gd name="T65" fmla="*/ 124 h 339"/>
                  <a:gd name="T66" fmla="*/ 38 w 190"/>
                  <a:gd name="T67" fmla="*/ 112 h 339"/>
                  <a:gd name="T68" fmla="*/ 37 w 190"/>
                  <a:gd name="T69" fmla="*/ 107 h 339"/>
                  <a:gd name="T70" fmla="*/ 34 w 190"/>
                  <a:gd name="T71" fmla="*/ 92 h 33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90" h="339">
                    <a:moveTo>
                      <a:pt x="78" y="211"/>
                    </a:moveTo>
                    <a:lnTo>
                      <a:pt x="75" y="198"/>
                    </a:lnTo>
                    <a:lnTo>
                      <a:pt x="75" y="191"/>
                    </a:lnTo>
                    <a:lnTo>
                      <a:pt x="83" y="191"/>
                    </a:lnTo>
                    <a:lnTo>
                      <a:pt x="103" y="174"/>
                    </a:lnTo>
                    <a:lnTo>
                      <a:pt x="117" y="156"/>
                    </a:lnTo>
                    <a:lnTo>
                      <a:pt x="131" y="146"/>
                    </a:lnTo>
                    <a:lnTo>
                      <a:pt x="148" y="136"/>
                    </a:lnTo>
                    <a:lnTo>
                      <a:pt x="170" y="123"/>
                    </a:lnTo>
                    <a:lnTo>
                      <a:pt x="185" y="98"/>
                    </a:lnTo>
                    <a:lnTo>
                      <a:pt x="190" y="82"/>
                    </a:lnTo>
                    <a:lnTo>
                      <a:pt x="187" y="83"/>
                    </a:lnTo>
                    <a:lnTo>
                      <a:pt x="185" y="52"/>
                    </a:lnTo>
                    <a:lnTo>
                      <a:pt x="187" y="44"/>
                    </a:lnTo>
                    <a:lnTo>
                      <a:pt x="187" y="14"/>
                    </a:lnTo>
                    <a:lnTo>
                      <a:pt x="188" y="0"/>
                    </a:lnTo>
                    <a:lnTo>
                      <a:pt x="187" y="0"/>
                    </a:lnTo>
                    <a:lnTo>
                      <a:pt x="168" y="10"/>
                    </a:lnTo>
                    <a:lnTo>
                      <a:pt x="150" y="20"/>
                    </a:lnTo>
                    <a:lnTo>
                      <a:pt x="140" y="20"/>
                    </a:lnTo>
                    <a:lnTo>
                      <a:pt x="126" y="25"/>
                    </a:lnTo>
                    <a:lnTo>
                      <a:pt x="106" y="22"/>
                    </a:lnTo>
                    <a:lnTo>
                      <a:pt x="95" y="24"/>
                    </a:lnTo>
                    <a:lnTo>
                      <a:pt x="86" y="24"/>
                    </a:lnTo>
                    <a:lnTo>
                      <a:pt x="80" y="29"/>
                    </a:lnTo>
                    <a:lnTo>
                      <a:pt x="75" y="42"/>
                    </a:lnTo>
                    <a:lnTo>
                      <a:pt x="80" y="62"/>
                    </a:lnTo>
                    <a:lnTo>
                      <a:pt x="89" y="75"/>
                    </a:lnTo>
                    <a:lnTo>
                      <a:pt x="102" y="88"/>
                    </a:lnTo>
                    <a:lnTo>
                      <a:pt x="99" y="102"/>
                    </a:lnTo>
                    <a:lnTo>
                      <a:pt x="95" y="116"/>
                    </a:lnTo>
                    <a:lnTo>
                      <a:pt x="86" y="126"/>
                    </a:lnTo>
                    <a:lnTo>
                      <a:pt x="89" y="138"/>
                    </a:lnTo>
                    <a:lnTo>
                      <a:pt x="80" y="125"/>
                    </a:lnTo>
                    <a:lnTo>
                      <a:pt x="71" y="111"/>
                    </a:lnTo>
                    <a:lnTo>
                      <a:pt x="78" y="90"/>
                    </a:lnTo>
                    <a:lnTo>
                      <a:pt x="71" y="83"/>
                    </a:lnTo>
                    <a:lnTo>
                      <a:pt x="60" y="82"/>
                    </a:lnTo>
                    <a:lnTo>
                      <a:pt x="55" y="73"/>
                    </a:lnTo>
                    <a:lnTo>
                      <a:pt x="41" y="78"/>
                    </a:lnTo>
                    <a:lnTo>
                      <a:pt x="27" y="85"/>
                    </a:lnTo>
                    <a:lnTo>
                      <a:pt x="13" y="90"/>
                    </a:lnTo>
                    <a:lnTo>
                      <a:pt x="0" y="95"/>
                    </a:lnTo>
                    <a:lnTo>
                      <a:pt x="1" y="107"/>
                    </a:lnTo>
                    <a:lnTo>
                      <a:pt x="1" y="115"/>
                    </a:lnTo>
                    <a:lnTo>
                      <a:pt x="12" y="115"/>
                    </a:lnTo>
                    <a:lnTo>
                      <a:pt x="29" y="121"/>
                    </a:lnTo>
                    <a:lnTo>
                      <a:pt x="46" y="130"/>
                    </a:lnTo>
                    <a:lnTo>
                      <a:pt x="46" y="155"/>
                    </a:lnTo>
                    <a:lnTo>
                      <a:pt x="41" y="171"/>
                    </a:lnTo>
                    <a:lnTo>
                      <a:pt x="44" y="191"/>
                    </a:lnTo>
                    <a:lnTo>
                      <a:pt x="38" y="209"/>
                    </a:lnTo>
                    <a:lnTo>
                      <a:pt x="34" y="224"/>
                    </a:lnTo>
                    <a:lnTo>
                      <a:pt x="23" y="234"/>
                    </a:lnTo>
                    <a:lnTo>
                      <a:pt x="12" y="246"/>
                    </a:lnTo>
                    <a:lnTo>
                      <a:pt x="15" y="261"/>
                    </a:lnTo>
                    <a:lnTo>
                      <a:pt x="18" y="276"/>
                    </a:lnTo>
                    <a:lnTo>
                      <a:pt x="20" y="297"/>
                    </a:lnTo>
                    <a:lnTo>
                      <a:pt x="20" y="319"/>
                    </a:lnTo>
                    <a:lnTo>
                      <a:pt x="21" y="337"/>
                    </a:lnTo>
                    <a:lnTo>
                      <a:pt x="35" y="339"/>
                    </a:lnTo>
                    <a:lnTo>
                      <a:pt x="35" y="325"/>
                    </a:lnTo>
                    <a:lnTo>
                      <a:pt x="30" y="319"/>
                    </a:lnTo>
                    <a:lnTo>
                      <a:pt x="52" y="302"/>
                    </a:lnTo>
                    <a:lnTo>
                      <a:pt x="66" y="292"/>
                    </a:lnTo>
                    <a:lnTo>
                      <a:pt x="82" y="284"/>
                    </a:lnTo>
                    <a:lnTo>
                      <a:pt x="82" y="276"/>
                    </a:lnTo>
                    <a:lnTo>
                      <a:pt x="85" y="257"/>
                    </a:lnTo>
                    <a:lnTo>
                      <a:pt x="86" y="241"/>
                    </a:lnTo>
                    <a:lnTo>
                      <a:pt x="83" y="246"/>
                    </a:lnTo>
                    <a:lnTo>
                      <a:pt x="80" y="228"/>
                    </a:lnTo>
                    <a:lnTo>
                      <a:pt x="78" y="21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22" name="Freeform 252">
                <a:extLst>
                  <a:ext uri="{FF2B5EF4-FFF2-40B4-BE49-F238E27FC236}">
                    <a16:creationId xmlns:a16="http://schemas.microsoft.com/office/drawing/2014/main" id="{6E713BE3-4CFB-8BB0-07C7-4E869A91EB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05" y="3845"/>
                <a:ext cx="128" cy="113"/>
              </a:xfrm>
              <a:custGeom>
                <a:avLst/>
                <a:gdLst>
                  <a:gd name="T0" fmla="*/ 27 w 289"/>
                  <a:gd name="T1" fmla="*/ 31 h 259"/>
                  <a:gd name="T2" fmla="*/ 27 w 289"/>
                  <a:gd name="T3" fmla="*/ 48 h 259"/>
                  <a:gd name="T4" fmla="*/ 19 w 289"/>
                  <a:gd name="T5" fmla="*/ 60 h 259"/>
                  <a:gd name="T6" fmla="*/ 5 w 289"/>
                  <a:gd name="T7" fmla="*/ 52 h 259"/>
                  <a:gd name="T8" fmla="*/ 4 w 289"/>
                  <a:gd name="T9" fmla="*/ 65 h 259"/>
                  <a:gd name="T10" fmla="*/ 9 w 289"/>
                  <a:gd name="T11" fmla="*/ 82 h 259"/>
                  <a:gd name="T12" fmla="*/ 9 w 289"/>
                  <a:gd name="T13" fmla="*/ 94 h 259"/>
                  <a:gd name="T14" fmla="*/ 12 w 289"/>
                  <a:gd name="T15" fmla="*/ 108 h 259"/>
                  <a:gd name="T16" fmla="*/ 19 w 289"/>
                  <a:gd name="T17" fmla="*/ 110 h 259"/>
                  <a:gd name="T18" fmla="*/ 32 w 289"/>
                  <a:gd name="T19" fmla="*/ 110 h 259"/>
                  <a:gd name="T20" fmla="*/ 49 w 289"/>
                  <a:gd name="T21" fmla="*/ 107 h 259"/>
                  <a:gd name="T22" fmla="*/ 66 w 289"/>
                  <a:gd name="T23" fmla="*/ 105 h 259"/>
                  <a:gd name="T24" fmla="*/ 81 w 289"/>
                  <a:gd name="T25" fmla="*/ 99 h 259"/>
                  <a:gd name="T26" fmla="*/ 93 w 289"/>
                  <a:gd name="T27" fmla="*/ 89 h 259"/>
                  <a:gd name="T28" fmla="*/ 103 w 289"/>
                  <a:gd name="T29" fmla="*/ 78 h 259"/>
                  <a:gd name="T30" fmla="*/ 115 w 289"/>
                  <a:gd name="T31" fmla="*/ 66 h 259"/>
                  <a:gd name="T32" fmla="*/ 124 w 289"/>
                  <a:gd name="T33" fmla="*/ 51 h 259"/>
                  <a:gd name="T34" fmla="*/ 122 w 289"/>
                  <a:gd name="T35" fmla="*/ 41 h 259"/>
                  <a:gd name="T36" fmla="*/ 113 w 289"/>
                  <a:gd name="T37" fmla="*/ 43 h 259"/>
                  <a:gd name="T38" fmla="*/ 117 w 289"/>
                  <a:gd name="T39" fmla="*/ 32 h 259"/>
                  <a:gd name="T40" fmla="*/ 121 w 289"/>
                  <a:gd name="T41" fmla="*/ 24 h 259"/>
                  <a:gd name="T42" fmla="*/ 120 w 289"/>
                  <a:gd name="T43" fmla="*/ 9 h 259"/>
                  <a:gd name="T44" fmla="*/ 111 w 289"/>
                  <a:gd name="T45" fmla="*/ 1 h 259"/>
                  <a:gd name="T46" fmla="*/ 102 w 289"/>
                  <a:gd name="T47" fmla="*/ 0 h 259"/>
                  <a:gd name="T48" fmla="*/ 83 w 289"/>
                  <a:gd name="T49" fmla="*/ 14 h 259"/>
                  <a:gd name="T50" fmla="*/ 74 w 289"/>
                  <a:gd name="T51" fmla="*/ 25 h 259"/>
                  <a:gd name="T52" fmla="*/ 58 w 289"/>
                  <a:gd name="T53" fmla="*/ 31 h 259"/>
                  <a:gd name="T54" fmla="*/ 48 w 289"/>
                  <a:gd name="T55" fmla="*/ 34 h 259"/>
                  <a:gd name="T56" fmla="*/ 35 w 289"/>
                  <a:gd name="T57" fmla="*/ 41 h 259"/>
                  <a:gd name="T58" fmla="*/ 34 w 289"/>
                  <a:gd name="T59" fmla="*/ 32 h 259"/>
                  <a:gd name="T60" fmla="*/ 88 w 289"/>
                  <a:gd name="T61" fmla="*/ 60 h 259"/>
                  <a:gd name="T62" fmla="*/ 87 w 289"/>
                  <a:gd name="T63" fmla="*/ 75 h 259"/>
                  <a:gd name="T64" fmla="*/ 97 w 289"/>
                  <a:gd name="T65" fmla="*/ 68 h 259"/>
                  <a:gd name="T66" fmla="*/ 92 w 289"/>
                  <a:gd name="T67" fmla="*/ 57 h 259"/>
                  <a:gd name="T68" fmla="*/ 29 w 289"/>
                  <a:gd name="T69" fmla="*/ 23 h 25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89" h="259">
                    <a:moveTo>
                      <a:pt x="65" y="52"/>
                    </a:moveTo>
                    <a:lnTo>
                      <a:pt x="62" y="72"/>
                    </a:lnTo>
                    <a:lnTo>
                      <a:pt x="62" y="92"/>
                    </a:lnTo>
                    <a:lnTo>
                      <a:pt x="60" y="110"/>
                    </a:lnTo>
                    <a:lnTo>
                      <a:pt x="57" y="130"/>
                    </a:lnTo>
                    <a:lnTo>
                      <a:pt x="42" y="138"/>
                    </a:lnTo>
                    <a:lnTo>
                      <a:pt x="15" y="135"/>
                    </a:lnTo>
                    <a:lnTo>
                      <a:pt x="11" y="120"/>
                    </a:lnTo>
                    <a:lnTo>
                      <a:pt x="0" y="131"/>
                    </a:lnTo>
                    <a:lnTo>
                      <a:pt x="8" y="150"/>
                    </a:lnTo>
                    <a:lnTo>
                      <a:pt x="15" y="170"/>
                    </a:lnTo>
                    <a:lnTo>
                      <a:pt x="21" y="189"/>
                    </a:lnTo>
                    <a:lnTo>
                      <a:pt x="28" y="208"/>
                    </a:lnTo>
                    <a:lnTo>
                      <a:pt x="21" y="216"/>
                    </a:lnTo>
                    <a:lnTo>
                      <a:pt x="23" y="226"/>
                    </a:lnTo>
                    <a:lnTo>
                      <a:pt x="28" y="247"/>
                    </a:lnTo>
                    <a:lnTo>
                      <a:pt x="34" y="246"/>
                    </a:lnTo>
                    <a:lnTo>
                      <a:pt x="43" y="252"/>
                    </a:lnTo>
                    <a:lnTo>
                      <a:pt x="56" y="259"/>
                    </a:lnTo>
                    <a:lnTo>
                      <a:pt x="73" y="252"/>
                    </a:lnTo>
                    <a:lnTo>
                      <a:pt x="90" y="246"/>
                    </a:lnTo>
                    <a:lnTo>
                      <a:pt x="110" y="246"/>
                    </a:lnTo>
                    <a:lnTo>
                      <a:pt x="127" y="246"/>
                    </a:lnTo>
                    <a:lnTo>
                      <a:pt x="150" y="241"/>
                    </a:lnTo>
                    <a:lnTo>
                      <a:pt x="162" y="238"/>
                    </a:lnTo>
                    <a:lnTo>
                      <a:pt x="182" y="228"/>
                    </a:lnTo>
                    <a:lnTo>
                      <a:pt x="199" y="216"/>
                    </a:lnTo>
                    <a:lnTo>
                      <a:pt x="210" y="204"/>
                    </a:lnTo>
                    <a:lnTo>
                      <a:pt x="224" y="191"/>
                    </a:lnTo>
                    <a:lnTo>
                      <a:pt x="233" y="179"/>
                    </a:lnTo>
                    <a:lnTo>
                      <a:pt x="246" y="166"/>
                    </a:lnTo>
                    <a:lnTo>
                      <a:pt x="260" y="151"/>
                    </a:lnTo>
                    <a:lnTo>
                      <a:pt x="271" y="136"/>
                    </a:lnTo>
                    <a:lnTo>
                      <a:pt x="280" y="116"/>
                    </a:lnTo>
                    <a:lnTo>
                      <a:pt x="289" y="97"/>
                    </a:lnTo>
                    <a:lnTo>
                      <a:pt x="275" y="95"/>
                    </a:lnTo>
                    <a:lnTo>
                      <a:pt x="271" y="105"/>
                    </a:lnTo>
                    <a:lnTo>
                      <a:pt x="255" y="98"/>
                    </a:lnTo>
                    <a:lnTo>
                      <a:pt x="257" y="83"/>
                    </a:lnTo>
                    <a:lnTo>
                      <a:pt x="264" y="73"/>
                    </a:lnTo>
                    <a:lnTo>
                      <a:pt x="274" y="78"/>
                    </a:lnTo>
                    <a:lnTo>
                      <a:pt x="274" y="55"/>
                    </a:lnTo>
                    <a:lnTo>
                      <a:pt x="274" y="34"/>
                    </a:lnTo>
                    <a:lnTo>
                      <a:pt x="271" y="20"/>
                    </a:lnTo>
                    <a:lnTo>
                      <a:pt x="266" y="5"/>
                    </a:lnTo>
                    <a:lnTo>
                      <a:pt x="250" y="2"/>
                    </a:lnTo>
                    <a:lnTo>
                      <a:pt x="232" y="0"/>
                    </a:lnTo>
                    <a:lnTo>
                      <a:pt x="230" y="0"/>
                    </a:lnTo>
                    <a:lnTo>
                      <a:pt x="206" y="15"/>
                    </a:lnTo>
                    <a:lnTo>
                      <a:pt x="187" y="32"/>
                    </a:lnTo>
                    <a:lnTo>
                      <a:pt x="178" y="50"/>
                    </a:lnTo>
                    <a:lnTo>
                      <a:pt x="168" y="57"/>
                    </a:lnTo>
                    <a:lnTo>
                      <a:pt x="158" y="73"/>
                    </a:lnTo>
                    <a:lnTo>
                      <a:pt x="131" y="70"/>
                    </a:lnTo>
                    <a:lnTo>
                      <a:pt x="117" y="65"/>
                    </a:lnTo>
                    <a:lnTo>
                      <a:pt x="108" y="78"/>
                    </a:lnTo>
                    <a:lnTo>
                      <a:pt x="99" y="92"/>
                    </a:lnTo>
                    <a:lnTo>
                      <a:pt x="79" y="95"/>
                    </a:lnTo>
                    <a:lnTo>
                      <a:pt x="74" y="93"/>
                    </a:lnTo>
                    <a:lnTo>
                      <a:pt x="76" y="73"/>
                    </a:lnTo>
                    <a:lnTo>
                      <a:pt x="65" y="52"/>
                    </a:lnTo>
                    <a:lnTo>
                      <a:pt x="199" y="138"/>
                    </a:lnTo>
                    <a:lnTo>
                      <a:pt x="184" y="155"/>
                    </a:lnTo>
                    <a:lnTo>
                      <a:pt x="196" y="173"/>
                    </a:lnTo>
                    <a:lnTo>
                      <a:pt x="204" y="166"/>
                    </a:lnTo>
                    <a:lnTo>
                      <a:pt x="220" y="155"/>
                    </a:lnTo>
                    <a:lnTo>
                      <a:pt x="224" y="143"/>
                    </a:lnTo>
                    <a:lnTo>
                      <a:pt x="207" y="131"/>
                    </a:lnTo>
                    <a:lnTo>
                      <a:pt x="199" y="138"/>
                    </a:lnTo>
                    <a:lnTo>
                      <a:pt x="65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23" name="Freeform 253">
                <a:extLst>
                  <a:ext uri="{FF2B5EF4-FFF2-40B4-BE49-F238E27FC236}">
                    <a16:creationId xmlns:a16="http://schemas.microsoft.com/office/drawing/2014/main" id="{5D398698-0474-F8AC-1481-E8CF108081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05" y="3845"/>
                <a:ext cx="128" cy="113"/>
              </a:xfrm>
              <a:custGeom>
                <a:avLst/>
                <a:gdLst>
                  <a:gd name="T0" fmla="*/ 29 w 289"/>
                  <a:gd name="T1" fmla="*/ 23 h 259"/>
                  <a:gd name="T2" fmla="*/ 27 w 289"/>
                  <a:gd name="T3" fmla="*/ 31 h 259"/>
                  <a:gd name="T4" fmla="*/ 27 w 289"/>
                  <a:gd name="T5" fmla="*/ 40 h 259"/>
                  <a:gd name="T6" fmla="*/ 27 w 289"/>
                  <a:gd name="T7" fmla="*/ 48 h 259"/>
                  <a:gd name="T8" fmla="*/ 25 w 289"/>
                  <a:gd name="T9" fmla="*/ 57 h 259"/>
                  <a:gd name="T10" fmla="*/ 19 w 289"/>
                  <a:gd name="T11" fmla="*/ 60 h 259"/>
                  <a:gd name="T12" fmla="*/ 7 w 289"/>
                  <a:gd name="T13" fmla="*/ 59 h 259"/>
                  <a:gd name="T14" fmla="*/ 5 w 289"/>
                  <a:gd name="T15" fmla="*/ 52 h 259"/>
                  <a:gd name="T16" fmla="*/ 0 w 289"/>
                  <a:gd name="T17" fmla="*/ 57 h 259"/>
                  <a:gd name="T18" fmla="*/ 4 w 289"/>
                  <a:gd name="T19" fmla="*/ 65 h 259"/>
                  <a:gd name="T20" fmla="*/ 7 w 289"/>
                  <a:gd name="T21" fmla="*/ 74 h 259"/>
                  <a:gd name="T22" fmla="*/ 9 w 289"/>
                  <a:gd name="T23" fmla="*/ 82 h 259"/>
                  <a:gd name="T24" fmla="*/ 12 w 289"/>
                  <a:gd name="T25" fmla="*/ 91 h 259"/>
                  <a:gd name="T26" fmla="*/ 9 w 289"/>
                  <a:gd name="T27" fmla="*/ 94 h 259"/>
                  <a:gd name="T28" fmla="*/ 10 w 289"/>
                  <a:gd name="T29" fmla="*/ 99 h 259"/>
                  <a:gd name="T30" fmla="*/ 12 w 289"/>
                  <a:gd name="T31" fmla="*/ 108 h 259"/>
                  <a:gd name="T32" fmla="*/ 15 w 289"/>
                  <a:gd name="T33" fmla="*/ 107 h 259"/>
                  <a:gd name="T34" fmla="*/ 19 w 289"/>
                  <a:gd name="T35" fmla="*/ 110 h 259"/>
                  <a:gd name="T36" fmla="*/ 25 w 289"/>
                  <a:gd name="T37" fmla="*/ 113 h 259"/>
                  <a:gd name="T38" fmla="*/ 32 w 289"/>
                  <a:gd name="T39" fmla="*/ 110 h 259"/>
                  <a:gd name="T40" fmla="*/ 40 w 289"/>
                  <a:gd name="T41" fmla="*/ 107 h 259"/>
                  <a:gd name="T42" fmla="*/ 49 w 289"/>
                  <a:gd name="T43" fmla="*/ 107 h 259"/>
                  <a:gd name="T44" fmla="*/ 56 w 289"/>
                  <a:gd name="T45" fmla="*/ 107 h 259"/>
                  <a:gd name="T46" fmla="*/ 66 w 289"/>
                  <a:gd name="T47" fmla="*/ 105 h 259"/>
                  <a:gd name="T48" fmla="*/ 72 w 289"/>
                  <a:gd name="T49" fmla="*/ 104 h 259"/>
                  <a:gd name="T50" fmla="*/ 81 w 289"/>
                  <a:gd name="T51" fmla="*/ 99 h 259"/>
                  <a:gd name="T52" fmla="*/ 88 w 289"/>
                  <a:gd name="T53" fmla="*/ 94 h 259"/>
                  <a:gd name="T54" fmla="*/ 93 w 289"/>
                  <a:gd name="T55" fmla="*/ 89 h 259"/>
                  <a:gd name="T56" fmla="*/ 99 w 289"/>
                  <a:gd name="T57" fmla="*/ 83 h 259"/>
                  <a:gd name="T58" fmla="*/ 103 w 289"/>
                  <a:gd name="T59" fmla="*/ 78 h 259"/>
                  <a:gd name="T60" fmla="*/ 109 w 289"/>
                  <a:gd name="T61" fmla="*/ 72 h 259"/>
                  <a:gd name="T62" fmla="*/ 115 w 289"/>
                  <a:gd name="T63" fmla="*/ 66 h 259"/>
                  <a:gd name="T64" fmla="*/ 120 w 289"/>
                  <a:gd name="T65" fmla="*/ 59 h 259"/>
                  <a:gd name="T66" fmla="*/ 124 w 289"/>
                  <a:gd name="T67" fmla="*/ 51 h 259"/>
                  <a:gd name="T68" fmla="*/ 128 w 289"/>
                  <a:gd name="T69" fmla="*/ 42 h 259"/>
                  <a:gd name="T70" fmla="*/ 122 w 289"/>
                  <a:gd name="T71" fmla="*/ 41 h 259"/>
                  <a:gd name="T72" fmla="*/ 120 w 289"/>
                  <a:gd name="T73" fmla="*/ 46 h 259"/>
                  <a:gd name="T74" fmla="*/ 113 w 289"/>
                  <a:gd name="T75" fmla="*/ 43 h 259"/>
                  <a:gd name="T76" fmla="*/ 114 w 289"/>
                  <a:gd name="T77" fmla="*/ 36 h 259"/>
                  <a:gd name="T78" fmla="*/ 117 w 289"/>
                  <a:gd name="T79" fmla="*/ 32 h 259"/>
                  <a:gd name="T80" fmla="*/ 121 w 289"/>
                  <a:gd name="T81" fmla="*/ 34 h 259"/>
                  <a:gd name="T82" fmla="*/ 121 w 289"/>
                  <a:gd name="T83" fmla="*/ 24 h 259"/>
                  <a:gd name="T84" fmla="*/ 121 w 289"/>
                  <a:gd name="T85" fmla="*/ 15 h 259"/>
                  <a:gd name="T86" fmla="*/ 120 w 289"/>
                  <a:gd name="T87" fmla="*/ 9 h 259"/>
                  <a:gd name="T88" fmla="*/ 118 w 289"/>
                  <a:gd name="T89" fmla="*/ 2 h 259"/>
                  <a:gd name="T90" fmla="*/ 111 w 289"/>
                  <a:gd name="T91" fmla="*/ 1 h 259"/>
                  <a:gd name="T92" fmla="*/ 103 w 289"/>
                  <a:gd name="T93" fmla="*/ 0 h 259"/>
                  <a:gd name="T94" fmla="*/ 102 w 289"/>
                  <a:gd name="T95" fmla="*/ 0 h 259"/>
                  <a:gd name="T96" fmla="*/ 91 w 289"/>
                  <a:gd name="T97" fmla="*/ 7 h 259"/>
                  <a:gd name="T98" fmla="*/ 83 w 289"/>
                  <a:gd name="T99" fmla="*/ 14 h 259"/>
                  <a:gd name="T100" fmla="*/ 79 w 289"/>
                  <a:gd name="T101" fmla="*/ 22 h 259"/>
                  <a:gd name="T102" fmla="*/ 74 w 289"/>
                  <a:gd name="T103" fmla="*/ 25 h 259"/>
                  <a:gd name="T104" fmla="*/ 70 w 289"/>
                  <a:gd name="T105" fmla="*/ 32 h 259"/>
                  <a:gd name="T106" fmla="*/ 58 w 289"/>
                  <a:gd name="T107" fmla="*/ 31 h 259"/>
                  <a:gd name="T108" fmla="*/ 52 w 289"/>
                  <a:gd name="T109" fmla="*/ 28 h 259"/>
                  <a:gd name="T110" fmla="*/ 48 w 289"/>
                  <a:gd name="T111" fmla="*/ 34 h 259"/>
                  <a:gd name="T112" fmla="*/ 44 w 289"/>
                  <a:gd name="T113" fmla="*/ 40 h 259"/>
                  <a:gd name="T114" fmla="*/ 35 w 289"/>
                  <a:gd name="T115" fmla="*/ 41 h 259"/>
                  <a:gd name="T116" fmla="*/ 33 w 289"/>
                  <a:gd name="T117" fmla="*/ 41 h 259"/>
                  <a:gd name="T118" fmla="*/ 34 w 289"/>
                  <a:gd name="T119" fmla="*/ 32 h 259"/>
                  <a:gd name="T120" fmla="*/ 29 w 289"/>
                  <a:gd name="T121" fmla="*/ 23 h 25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89" h="259">
                    <a:moveTo>
                      <a:pt x="65" y="52"/>
                    </a:moveTo>
                    <a:lnTo>
                      <a:pt x="62" y="72"/>
                    </a:lnTo>
                    <a:lnTo>
                      <a:pt x="62" y="92"/>
                    </a:lnTo>
                    <a:lnTo>
                      <a:pt x="60" y="110"/>
                    </a:lnTo>
                    <a:lnTo>
                      <a:pt x="57" y="130"/>
                    </a:lnTo>
                    <a:lnTo>
                      <a:pt x="42" y="138"/>
                    </a:lnTo>
                    <a:lnTo>
                      <a:pt x="15" y="135"/>
                    </a:lnTo>
                    <a:lnTo>
                      <a:pt x="11" y="120"/>
                    </a:lnTo>
                    <a:lnTo>
                      <a:pt x="0" y="131"/>
                    </a:lnTo>
                    <a:lnTo>
                      <a:pt x="8" y="150"/>
                    </a:lnTo>
                    <a:lnTo>
                      <a:pt x="15" y="170"/>
                    </a:lnTo>
                    <a:lnTo>
                      <a:pt x="21" y="189"/>
                    </a:lnTo>
                    <a:lnTo>
                      <a:pt x="28" y="208"/>
                    </a:lnTo>
                    <a:lnTo>
                      <a:pt x="21" y="216"/>
                    </a:lnTo>
                    <a:lnTo>
                      <a:pt x="23" y="226"/>
                    </a:lnTo>
                    <a:lnTo>
                      <a:pt x="28" y="247"/>
                    </a:lnTo>
                    <a:lnTo>
                      <a:pt x="34" y="246"/>
                    </a:lnTo>
                    <a:lnTo>
                      <a:pt x="43" y="252"/>
                    </a:lnTo>
                    <a:lnTo>
                      <a:pt x="56" y="259"/>
                    </a:lnTo>
                    <a:lnTo>
                      <a:pt x="73" y="252"/>
                    </a:lnTo>
                    <a:lnTo>
                      <a:pt x="90" y="246"/>
                    </a:lnTo>
                    <a:lnTo>
                      <a:pt x="110" y="246"/>
                    </a:lnTo>
                    <a:lnTo>
                      <a:pt x="127" y="246"/>
                    </a:lnTo>
                    <a:lnTo>
                      <a:pt x="150" y="241"/>
                    </a:lnTo>
                    <a:lnTo>
                      <a:pt x="162" y="238"/>
                    </a:lnTo>
                    <a:lnTo>
                      <a:pt x="182" y="228"/>
                    </a:lnTo>
                    <a:lnTo>
                      <a:pt x="199" y="216"/>
                    </a:lnTo>
                    <a:lnTo>
                      <a:pt x="210" y="204"/>
                    </a:lnTo>
                    <a:lnTo>
                      <a:pt x="224" y="191"/>
                    </a:lnTo>
                    <a:lnTo>
                      <a:pt x="233" y="179"/>
                    </a:lnTo>
                    <a:lnTo>
                      <a:pt x="246" y="166"/>
                    </a:lnTo>
                    <a:lnTo>
                      <a:pt x="260" y="151"/>
                    </a:lnTo>
                    <a:lnTo>
                      <a:pt x="271" y="136"/>
                    </a:lnTo>
                    <a:lnTo>
                      <a:pt x="280" y="116"/>
                    </a:lnTo>
                    <a:lnTo>
                      <a:pt x="289" y="97"/>
                    </a:lnTo>
                    <a:lnTo>
                      <a:pt x="275" y="95"/>
                    </a:lnTo>
                    <a:lnTo>
                      <a:pt x="271" y="105"/>
                    </a:lnTo>
                    <a:lnTo>
                      <a:pt x="255" y="98"/>
                    </a:lnTo>
                    <a:lnTo>
                      <a:pt x="257" y="83"/>
                    </a:lnTo>
                    <a:lnTo>
                      <a:pt x="264" y="73"/>
                    </a:lnTo>
                    <a:lnTo>
                      <a:pt x="274" y="78"/>
                    </a:lnTo>
                    <a:lnTo>
                      <a:pt x="274" y="55"/>
                    </a:lnTo>
                    <a:lnTo>
                      <a:pt x="274" y="34"/>
                    </a:lnTo>
                    <a:lnTo>
                      <a:pt x="271" y="20"/>
                    </a:lnTo>
                    <a:lnTo>
                      <a:pt x="266" y="5"/>
                    </a:lnTo>
                    <a:lnTo>
                      <a:pt x="250" y="2"/>
                    </a:lnTo>
                    <a:lnTo>
                      <a:pt x="232" y="0"/>
                    </a:lnTo>
                    <a:lnTo>
                      <a:pt x="230" y="0"/>
                    </a:lnTo>
                    <a:lnTo>
                      <a:pt x="206" y="15"/>
                    </a:lnTo>
                    <a:lnTo>
                      <a:pt x="187" y="32"/>
                    </a:lnTo>
                    <a:lnTo>
                      <a:pt x="178" y="50"/>
                    </a:lnTo>
                    <a:lnTo>
                      <a:pt x="168" y="57"/>
                    </a:lnTo>
                    <a:lnTo>
                      <a:pt x="158" y="73"/>
                    </a:lnTo>
                    <a:lnTo>
                      <a:pt x="131" y="70"/>
                    </a:lnTo>
                    <a:lnTo>
                      <a:pt x="117" y="65"/>
                    </a:lnTo>
                    <a:lnTo>
                      <a:pt x="108" y="78"/>
                    </a:lnTo>
                    <a:lnTo>
                      <a:pt x="99" y="92"/>
                    </a:lnTo>
                    <a:lnTo>
                      <a:pt x="79" y="95"/>
                    </a:lnTo>
                    <a:lnTo>
                      <a:pt x="74" y="93"/>
                    </a:lnTo>
                    <a:lnTo>
                      <a:pt x="76" y="73"/>
                    </a:lnTo>
                    <a:lnTo>
                      <a:pt x="65" y="5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24" name="Freeform 254">
                <a:extLst>
                  <a:ext uri="{FF2B5EF4-FFF2-40B4-BE49-F238E27FC236}">
                    <a16:creationId xmlns:a16="http://schemas.microsoft.com/office/drawing/2014/main" id="{CA3C1988-4756-A21F-B868-01C673C6D7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86" y="3902"/>
                <a:ext cx="18" cy="18"/>
              </a:xfrm>
              <a:custGeom>
                <a:avLst/>
                <a:gdLst>
                  <a:gd name="T0" fmla="*/ 8 w 40"/>
                  <a:gd name="T1" fmla="*/ 3 h 40"/>
                  <a:gd name="T2" fmla="*/ 0 w 40"/>
                  <a:gd name="T3" fmla="*/ 10 h 40"/>
                  <a:gd name="T4" fmla="*/ 5 w 40"/>
                  <a:gd name="T5" fmla="*/ 18 h 40"/>
                  <a:gd name="T6" fmla="*/ 9 w 40"/>
                  <a:gd name="T7" fmla="*/ 16 h 40"/>
                  <a:gd name="T8" fmla="*/ 16 w 40"/>
                  <a:gd name="T9" fmla="*/ 10 h 40"/>
                  <a:gd name="T10" fmla="*/ 18 w 40"/>
                  <a:gd name="T11" fmla="*/ 5 h 40"/>
                  <a:gd name="T12" fmla="*/ 11 w 40"/>
                  <a:gd name="T13" fmla="*/ 0 h 40"/>
                  <a:gd name="T14" fmla="*/ 8 w 40"/>
                  <a:gd name="T15" fmla="*/ 3 h 4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0" h="40">
                    <a:moveTo>
                      <a:pt x="17" y="7"/>
                    </a:moveTo>
                    <a:lnTo>
                      <a:pt x="0" y="23"/>
                    </a:lnTo>
                    <a:lnTo>
                      <a:pt x="12" y="40"/>
                    </a:lnTo>
                    <a:lnTo>
                      <a:pt x="20" y="35"/>
                    </a:lnTo>
                    <a:lnTo>
                      <a:pt x="36" y="22"/>
                    </a:lnTo>
                    <a:lnTo>
                      <a:pt x="40" y="10"/>
                    </a:lnTo>
                    <a:lnTo>
                      <a:pt x="25" y="0"/>
                    </a:lnTo>
                    <a:lnTo>
                      <a:pt x="17" y="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25" name="Freeform 255">
                <a:extLst>
                  <a:ext uri="{FF2B5EF4-FFF2-40B4-BE49-F238E27FC236}">
                    <a16:creationId xmlns:a16="http://schemas.microsoft.com/office/drawing/2014/main" id="{78E38A69-FB17-47E3-4BF0-463863F1AC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1" y="3848"/>
                <a:ext cx="2" cy="5"/>
              </a:xfrm>
              <a:custGeom>
                <a:avLst/>
                <a:gdLst>
                  <a:gd name="T0" fmla="*/ 2 w 5"/>
                  <a:gd name="T1" fmla="*/ 5 h 11"/>
                  <a:gd name="T2" fmla="*/ 0 w 5"/>
                  <a:gd name="T3" fmla="*/ 5 h 11"/>
                  <a:gd name="T4" fmla="*/ 0 w 5"/>
                  <a:gd name="T5" fmla="*/ 0 h 11"/>
                  <a:gd name="T6" fmla="*/ 2 w 5"/>
                  <a:gd name="T7" fmla="*/ 5 h 1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" h="11">
                    <a:moveTo>
                      <a:pt x="5" y="11"/>
                    </a:moveTo>
                    <a:lnTo>
                      <a:pt x="0" y="10"/>
                    </a:lnTo>
                    <a:lnTo>
                      <a:pt x="1" y="0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26" name="Freeform 256">
                <a:extLst>
                  <a:ext uri="{FF2B5EF4-FFF2-40B4-BE49-F238E27FC236}">
                    <a16:creationId xmlns:a16="http://schemas.microsoft.com/office/drawing/2014/main" id="{F4AC66CE-C327-2AB4-5B51-B6014736E1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18" y="3876"/>
                <a:ext cx="9" cy="14"/>
              </a:xfrm>
              <a:custGeom>
                <a:avLst/>
                <a:gdLst>
                  <a:gd name="T0" fmla="*/ 5 w 18"/>
                  <a:gd name="T1" fmla="*/ 0 h 32"/>
                  <a:gd name="T2" fmla="*/ 1 w 18"/>
                  <a:gd name="T3" fmla="*/ 4 h 32"/>
                  <a:gd name="T4" fmla="*/ 0 w 18"/>
                  <a:gd name="T5" fmla="*/ 11 h 32"/>
                  <a:gd name="T6" fmla="*/ 7 w 18"/>
                  <a:gd name="T7" fmla="*/ 14 h 32"/>
                  <a:gd name="T8" fmla="*/ 9 w 18"/>
                  <a:gd name="T9" fmla="*/ 10 h 32"/>
                  <a:gd name="T10" fmla="*/ 9 w 18"/>
                  <a:gd name="T11" fmla="*/ 2 h 32"/>
                  <a:gd name="T12" fmla="*/ 5 w 18"/>
                  <a:gd name="T13" fmla="*/ 0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" h="32">
                    <a:moveTo>
                      <a:pt x="9" y="0"/>
                    </a:moveTo>
                    <a:lnTo>
                      <a:pt x="1" y="10"/>
                    </a:lnTo>
                    <a:lnTo>
                      <a:pt x="0" y="25"/>
                    </a:lnTo>
                    <a:lnTo>
                      <a:pt x="14" y="32"/>
                    </a:lnTo>
                    <a:lnTo>
                      <a:pt x="18" y="22"/>
                    </a:lnTo>
                    <a:lnTo>
                      <a:pt x="17" y="5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27" name="Freeform 257">
                <a:extLst>
                  <a:ext uri="{FF2B5EF4-FFF2-40B4-BE49-F238E27FC236}">
                    <a16:creationId xmlns:a16="http://schemas.microsoft.com/office/drawing/2014/main" id="{488682C8-A567-B0AA-82A1-AFD58DBC28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71" y="3698"/>
                <a:ext cx="98" cy="108"/>
              </a:xfrm>
              <a:custGeom>
                <a:avLst/>
                <a:gdLst>
                  <a:gd name="T0" fmla="*/ 98 w 222"/>
                  <a:gd name="T1" fmla="*/ 63 h 247"/>
                  <a:gd name="T2" fmla="*/ 90 w 222"/>
                  <a:gd name="T3" fmla="*/ 63 h 247"/>
                  <a:gd name="T4" fmla="*/ 82 w 222"/>
                  <a:gd name="T5" fmla="*/ 63 h 247"/>
                  <a:gd name="T6" fmla="*/ 82 w 222"/>
                  <a:gd name="T7" fmla="*/ 71 h 247"/>
                  <a:gd name="T8" fmla="*/ 82 w 222"/>
                  <a:gd name="T9" fmla="*/ 77 h 247"/>
                  <a:gd name="T10" fmla="*/ 82 w 222"/>
                  <a:gd name="T11" fmla="*/ 85 h 247"/>
                  <a:gd name="T12" fmla="*/ 81 w 222"/>
                  <a:gd name="T13" fmla="*/ 92 h 247"/>
                  <a:gd name="T14" fmla="*/ 87 w 222"/>
                  <a:gd name="T15" fmla="*/ 98 h 247"/>
                  <a:gd name="T16" fmla="*/ 92 w 222"/>
                  <a:gd name="T17" fmla="*/ 105 h 247"/>
                  <a:gd name="T18" fmla="*/ 80 w 222"/>
                  <a:gd name="T19" fmla="*/ 106 h 247"/>
                  <a:gd name="T20" fmla="*/ 69 w 222"/>
                  <a:gd name="T21" fmla="*/ 108 h 247"/>
                  <a:gd name="T22" fmla="*/ 61 w 222"/>
                  <a:gd name="T23" fmla="*/ 106 h 247"/>
                  <a:gd name="T24" fmla="*/ 53 w 222"/>
                  <a:gd name="T25" fmla="*/ 104 h 247"/>
                  <a:gd name="T26" fmla="*/ 53 w 222"/>
                  <a:gd name="T27" fmla="*/ 102 h 247"/>
                  <a:gd name="T28" fmla="*/ 43 w 222"/>
                  <a:gd name="T29" fmla="*/ 102 h 247"/>
                  <a:gd name="T30" fmla="*/ 34 w 222"/>
                  <a:gd name="T31" fmla="*/ 102 h 247"/>
                  <a:gd name="T32" fmla="*/ 25 w 222"/>
                  <a:gd name="T33" fmla="*/ 102 h 247"/>
                  <a:gd name="T34" fmla="*/ 16 w 222"/>
                  <a:gd name="T35" fmla="*/ 102 h 247"/>
                  <a:gd name="T36" fmla="*/ 10 w 222"/>
                  <a:gd name="T37" fmla="*/ 99 h 247"/>
                  <a:gd name="T38" fmla="*/ 0 w 222"/>
                  <a:gd name="T39" fmla="*/ 101 h 247"/>
                  <a:gd name="T40" fmla="*/ 1 w 222"/>
                  <a:gd name="T41" fmla="*/ 94 h 247"/>
                  <a:gd name="T42" fmla="*/ 2 w 222"/>
                  <a:gd name="T43" fmla="*/ 87 h 247"/>
                  <a:gd name="T44" fmla="*/ 5 w 222"/>
                  <a:gd name="T45" fmla="*/ 76 h 247"/>
                  <a:gd name="T46" fmla="*/ 8 w 222"/>
                  <a:gd name="T47" fmla="*/ 65 h 247"/>
                  <a:gd name="T48" fmla="*/ 12 w 222"/>
                  <a:gd name="T49" fmla="*/ 59 h 247"/>
                  <a:gd name="T50" fmla="*/ 17 w 222"/>
                  <a:gd name="T51" fmla="*/ 53 h 247"/>
                  <a:gd name="T52" fmla="*/ 15 w 222"/>
                  <a:gd name="T53" fmla="*/ 40 h 247"/>
                  <a:gd name="T54" fmla="*/ 14 w 222"/>
                  <a:gd name="T55" fmla="*/ 34 h 247"/>
                  <a:gd name="T56" fmla="*/ 11 w 222"/>
                  <a:gd name="T57" fmla="*/ 28 h 247"/>
                  <a:gd name="T58" fmla="*/ 15 w 222"/>
                  <a:gd name="T59" fmla="*/ 22 h 247"/>
                  <a:gd name="T60" fmla="*/ 10 w 222"/>
                  <a:gd name="T61" fmla="*/ 12 h 247"/>
                  <a:gd name="T62" fmla="*/ 6 w 222"/>
                  <a:gd name="T63" fmla="*/ 2 h 247"/>
                  <a:gd name="T64" fmla="*/ 12 w 222"/>
                  <a:gd name="T65" fmla="*/ 0 h 247"/>
                  <a:gd name="T66" fmla="*/ 19 w 222"/>
                  <a:gd name="T67" fmla="*/ 0 h 247"/>
                  <a:gd name="T68" fmla="*/ 26 w 222"/>
                  <a:gd name="T69" fmla="*/ 0 h 247"/>
                  <a:gd name="T70" fmla="*/ 33 w 222"/>
                  <a:gd name="T71" fmla="*/ 0 h 247"/>
                  <a:gd name="T72" fmla="*/ 39 w 222"/>
                  <a:gd name="T73" fmla="*/ 0 h 247"/>
                  <a:gd name="T74" fmla="*/ 42 w 222"/>
                  <a:gd name="T75" fmla="*/ 8 h 247"/>
                  <a:gd name="T76" fmla="*/ 47 w 222"/>
                  <a:gd name="T77" fmla="*/ 17 h 247"/>
                  <a:gd name="T78" fmla="*/ 51 w 222"/>
                  <a:gd name="T79" fmla="*/ 19 h 247"/>
                  <a:gd name="T80" fmla="*/ 62 w 222"/>
                  <a:gd name="T81" fmla="*/ 18 h 247"/>
                  <a:gd name="T82" fmla="*/ 63 w 222"/>
                  <a:gd name="T83" fmla="*/ 9 h 247"/>
                  <a:gd name="T84" fmla="*/ 71 w 222"/>
                  <a:gd name="T85" fmla="*/ 10 h 247"/>
                  <a:gd name="T86" fmla="*/ 71 w 222"/>
                  <a:gd name="T87" fmla="*/ 12 h 247"/>
                  <a:gd name="T88" fmla="*/ 82 w 222"/>
                  <a:gd name="T89" fmla="*/ 14 h 247"/>
                  <a:gd name="T90" fmla="*/ 82 w 222"/>
                  <a:gd name="T91" fmla="*/ 24 h 247"/>
                  <a:gd name="T92" fmla="*/ 82 w 222"/>
                  <a:gd name="T93" fmla="*/ 34 h 247"/>
                  <a:gd name="T94" fmla="*/ 84 w 222"/>
                  <a:gd name="T95" fmla="*/ 43 h 247"/>
                  <a:gd name="T96" fmla="*/ 84 w 222"/>
                  <a:gd name="T97" fmla="*/ 47 h 247"/>
                  <a:gd name="T98" fmla="*/ 91 w 222"/>
                  <a:gd name="T99" fmla="*/ 45 h 247"/>
                  <a:gd name="T100" fmla="*/ 98 w 222"/>
                  <a:gd name="T101" fmla="*/ 44 h 247"/>
                  <a:gd name="T102" fmla="*/ 98 w 222"/>
                  <a:gd name="T103" fmla="*/ 53 h 247"/>
                  <a:gd name="T104" fmla="*/ 98 w 222"/>
                  <a:gd name="T105" fmla="*/ 63 h 24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22" h="247">
                    <a:moveTo>
                      <a:pt x="222" y="144"/>
                    </a:moveTo>
                    <a:lnTo>
                      <a:pt x="203" y="144"/>
                    </a:lnTo>
                    <a:lnTo>
                      <a:pt x="186" y="145"/>
                    </a:lnTo>
                    <a:lnTo>
                      <a:pt x="185" y="162"/>
                    </a:lnTo>
                    <a:lnTo>
                      <a:pt x="185" y="177"/>
                    </a:lnTo>
                    <a:lnTo>
                      <a:pt x="185" y="194"/>
                    </a:lnTo>
                    <a:lnTo>
                      <a:pt x="183" y="210"/>
                    </a:lnTo>
                    <a:lnTo>
                      <a:pt x="197" y="225"/>
                    </a:lnTo>
                    <a:lnTo>
                      <a:pt x="209" y="240"/>
                    </a:lnTo>
                    <a:lnTo>
                      <a:pt x="181" y="242"/>
                    </a:lnTo>
                    <a:lnTo>
                      <a:pt x="157" y="247"/>
                    </a:lnTo>
                    <a:lnTo>
                      <a:pt x="138" y="242"/>
                    </a:lnTo>
                    <a:lnTo>
                      <a:pt x="121" y="238"/>
                    </a:lnTo>
                    <a:lnTo>
                      <a:pt x="120" y="233"/>
                    </a:lnTo>
                    <a:lnTo>
                      <a:pt x="98" y="233"/>
                    </a:lnTo>
                    <a:lnTo>
                      <a:pt x="78" y="233"/>
                    </a:lnTo>
                    <a:lnTo>
                      <a:pt x="56" y="233"/>
                    </a:lnTo>
                    <a:lnTo>
                      <a:pt x="36" y="233"/>
                    </a:lnTo>
                    <a:lnTo>
                      <a:pt x="22" y="227"/>
                    </a:lnTo>
                    <a:lnTo>
                      <a:pt x="0" y="232"/>
                    </a:lnTo>
                    <a:lnTo>
                      <a:pt x="2" y="215"/>
                    </a:lnTo>
                    <a:lnTo>
                      <a:pt x="4" y="199"/>
                    </a:lnTo>
                    <a:lnTo>
                      <a:pt x="11" y="174"/>
                    </a:lnTo>
                    <a:lnTo>
                      <a:pt x="19" y="149"/>
                    </a:lnTo>
                    <a:lnTo>
                      <a:pt x="28" y="134"/>
                    </a:lnTo>
                    <a:lnTo>
                      <a:pt x="39" y="121"/>
                    </a:lnTo>
                    <a:lnTo>
                      <a:pt x="34" y="92"/>
                    </a:lnTo>
                    <a:lnTo>
                      <a:pt x="31" y="78"/>
                    </a:lnTo>
                    <a:lnTo>
                      <a:pt x="25" y="63"/>
                    </a:lnTo>
                    <a:lnTo>
                      <a:pt x="33" y="51"/>
                    </a:lnTo>
                    <a:lnTo>
                      <a:pt x="22" y="28"/>
                    </a:lnTo>
                    <a:lnTo>
                      <a:pt x="13" y="5"/>
                    </a:lnTo>
                    <a:lnTo>
                      <a:pt x="28" y="0"/>
                    </a:lnTo>
                    <a:lnTo>
                      <a:pt x="44" y="0"/>
                    </a:lnTo>
                    <a:lnTo>
                      <a:pt x="59" y="0"/>
                    </a:lnTo>
                    <a:lnTo>
                      <a:pt x="75" y="1"/>
                    </a:lnTo>
                    <a:lnTo>
                      <a:pt x="89" y="1"/>
                    </a:lnTo>
                    <a:lnTo>
                      <a:pt x="96" y="19"/>
                    </a:lnTo>
                    <a:lnTo>
                      <a:pt x="106" y="39"/>
                    </a:lnTo>
                    <a:lnTo>
                      <a:pt x="116" y="44"/>
                    </a:lnTo>
                    <a:lnTo>
                      <a:pt x="140" y="41"/>
                    </a:lnTo>
                    <a:lnTo>
                      <a:pt x="143" y="21"/>
                    </a:lnTo>
                    <a:lnTo>
                      <a:pt x="161" y="23"/>
                    </a:lnTo>
                    <a:lnTo>
                      <a:pt x="161" y="28"/>
                    </a:lnTo>
                    <a:lnTo>
                      <a:pt x="185" y="31"/>
                    </a:lnTo>
                    <a:lnTo>
                      <a:pt x="185" y="54"/>
                    </a:lnTo>
                    <a:lnTo>
                      <a:pt x="186" y="78"/>
                    </a:lnTo>
                    <a:lnTo>
                      <a:pt x="191" y="99"/>
                    </a:lnTo>
                    <a:lnTo>
                      <a:pt x="191" y="107"/>
                    </a:lnTo>
                    <a:lnTo>
                      <a:pt x="206" y="104"/>
                    </a:lnTo>
                    <a:lnTo>
                      <a:pt x="222" y="101"/>
                    </a:lnTo>
                    <a:lnTo>
                      <a:pt x="222" y="122"/>
                    </a:lnTo>
                    <a:lnTo>
                      <a:pt x="222" y="14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28" name="Freeform 258">
                <a:extLst>
                  <a:ext uri="{FF2B5EF4-FFF2-40B4-BE49-F238E27FC236}">
                    <a16:creationId xmlns:a16="http://schemas.microsoft.com/office/drawing/2014/main" id="{C9687DAC-70F3-8DEF-8EB6-E0F2C6A37C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73" y="3685"/>
                <a:ext cx="9" cy="11"/>
              </a:xfrm>
              <a:custGeom>
                <a:avLst/>
                <a:gdLst>
                  <a:gd name="T0" fmla="*/ 1 w 20"/>
                  <a:gd name="T1" fmla="*/ 11 h 27"/>
                  <a:gd name="T2" fmla="*/ 0 w 20"/>
                  <a:gd name="T3" fmla="*/ 5 h 27"/>
                  <a:gd name="T4" fmla="*/ 5 w 20"/>
                  <a:gd name="T5" fmla="*/ 0 h 27"/>
                  <a:gd name="T6" fmla="*/ 9 w 20"/>
                  <a:gd name="T7" fmla="*/ 1 h 27"/>
                  <a:gd name="T8" fmla="*/ 5 w 20"/>
                  <a:gd name="T9" fmla="*/ 4 h 27"/>
                  <a:gd name="T10" fmla="*/ 5 w 20"/>
                  <a:gd name="T11" fmla="*/ 10 h 27"/>
                  <a:gd name="T12" fmla="*/ 1 w 20"/>
                  <a:gd name="T13" fmla="*/ 11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27">
                    <a:moveTo>
                      <a:pt x="3" y="27"/>
                    </a:moveTo>
                    <a:lnTo>
                      <a:pt x="0" y="12"/>
                    </a:lnTo>
                    <a:lnTo>
                      <a:pt x="12" y="0"/>
                    </a:lnTo>
                    <a:lnTo>
                      <a:pt x="20" y="3"/>
                    </a:lnTo>
                    <a:lnTo>
                      <a:pt x="12" y="10"/>
                    </a:lnTo>
                    <a:lnTo>
                      <a:pt x="10" y="25"/>
                    </a:lnTo>
                    <a:lnTo>
                      <a:pt x="3" y="2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29" name="Freeform 259">
                <a:extLst>
                  <a:ext uri="{FF2B5EF4-FFF2-40B4-BE49-F238E27FC236}">
                    <a16:creationId xmlns:a16="http://schemas.microsoft.com/office/drawing/2014/main" id="{CF9C7202-703E-EE3E-E32A-3D21B933A3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87" y="3597"/>
                <a:ext cx="313" cy="351"/>
              </a:xfrm>
              <a:custGeom>
                <a:avLst/>
                <a:gdLst>
                  <a:gd name="T0" fmla="*/ 235 w 707"/>
                  <a:gd name="T1" fmla="*/ 69 h 803"/>
                  <a:gd name="T2" fmla="*/ 231 w 707"/>
                  <a:gd name="T3" fmla="*/ 61 h 803"/>
                  <a:gd name="T4" fmla="*/ 220 w 707"/>
                  <a:gd name="T5" fmla="*/ 56 h 803"/>
                  <a:gd name="T6" fmla="*/ 211 w 707"/>
                  <a:gd name="T7" fmla="*/ 54 h 803"/>
                  <a:gd name="T8" fmla="*/ 199 w 707"/>
                  <a:gd name="T9" fmla="*/ 63 h 803"/>
                  <a:gd name="T10" fmla="*/ 189 w 707"/>
                  <a:gd name="T11" fmla="*/ 65 h 803"/>
                  <a:gd name="T12" fmla="*/ 172 w 707"/>
                  <a:gd name="T13" fmla="*/ 62 h 803"/>
                  <a:gd name="T14" fmla="*/ 185 w 707"/>
                  <a:gd name="T15" fmla="*/ 42 h 803"/>
                  <a:gd name="T16" fmla="*/ 183 w 707"/>
                  <a:gd name="T17" fmla="*/ 21 h 803"/>
                  <a:gd name="T18" fmla="*/ 178 w 707"/>
                  <a:gd name="T19" fmla="*/ 10 h 803"/>
                  <a:gd name="T20" fmla="*/ 166 w 707"/>
                  <a:gd name="T21" fmla="*/ 28 h 803"/>
                  <a:gd name="T22" fmla="*/ 142 w 707"/>
                  <a:gd name="T23" fmla="*/ 26 h 803"/>
                  <a:gd name="T24" fmla="*/ 123 w 707"/>
                  <a:gd name="T25" fmla="*/ 35 h 803"/>
                  <a:gd name="T26" fmla="*/ 113 w 707"/>
                  <a:gd name="T27" fmla="*/ 10 h 803"/>
                  <a:gd name="T28" fmla="*/ 104 w 707"/>
                  <a:gd name="T29" fmla="*/ 1 h 803"/>
                  <a:gd name="T30" fmla="*/ 88 w 707"/>
                  <a:gd name="T31" fmla="*/ 14 h 803"/>
                  <a:gd name="T32" fmla="*/ 78 w 707"/>
                  <a:gd name="T33" fmla="*/ 24 h 803"/>
                  <a:gd name="T34" fmla="*/ 67 w 707"/>
                  <a:gd name="T35" fmla="*/ 41 h 803"/>
                  <a:gd name="T36" fmla="*/ 53 w 707"/>
                  <a:gd name="T37" fmla="*/ 35 h 803"/>
                  <a:gd name="T38" fmla="*/ 45 w 707"/>
                  <a:gd name="T39" fmla="*/ 32 h 803"/>
                  <a:gd name="T40" fmla="*/ 36 w 707"/>
                  <a:gd name="T41" fmla="*/ 40 h 803"/>
                  <a:gd name="T42" fmla="*/ 35 w 707"/>
                  <a:gd name="T43" fmla="*/ 60 h 803"/>
                  <a:gd name="T44" fmla="*/ 21 w 707"/>
                  <a:gd name="T45" fmla="*/ 86 h 803"/>
                  <a:gd name="T46" fmla="*/ 4 w 707"/>
                  <a:gd name="T47" fmla="*/ 107 h 803"/>
                  <a:gd name="T48" fmla="*/ 7 w 707"/>
                  <a:gd name="T49" fmla="*/ 131 h 803"/>
                  <a:gd name="T50" fmla="*/ 27 w 707"/>
                  <a:gd name="T51" fmla="*/ 133 h 803"/>
                  <a:gd name="T52" fmla="*/ 47 w 707"/>
                  <a:gd name="T53" fmla="*/ 146 h 803"/>
                  <a:gd name="T54" fmla="*/ 70 w 707"/>
                  <a:gd name="T55" fmla="*/ 136 h 803"/>
                  <a:gd name="T56" fmla="*/ 84 w 707"/>
                  <a:gd name="T57" fmla="*/ 160 h 803"/>
                  <a:gd name="T58" fmla="*/ 111 w 707"/>
                  <a:gd name="T59" fmla="*/ 174 h 803"/>
                  <a:gd name="T60" fmla="*/ 114 w 707"/>
                  <a:gd name="T61" fmla="*/ 194 h 803"/>
                  <a:gd name="T62" fmla="*/ 135 w 707"/>
                  <a:gd name="T63" fmla="*/ 208 h 803"/>
                  <a:gd name="T64" fmla="*/ 135 w 707"/>
                  <a:gd name="T65" fmla="*/ 228 h 803"/>
                  <a:gd name="T66" fmla="*/ 147 w 707"/>
                  <a:gd name="T67" fmla="*/ 247 h 803"/>
                  <a:gd name="T68" fmla="*/ 162 w 707"/>
                  <a:gd name="T69" fmla="*/ 263 h 803"/>
                  <a:gd name="T70" fmla="*/ 170 w 707"/>
                  <a:gd name="T71" fmla="*/ 278 h 803"/>
                  <a:gd name="T72" fmla="*/ 160 w 707"/>
                  <a:gd name="T73" fmla="*/ 304 h 803"/>
                  <a:gd name="T74" fmla="*/ 148 w 707"/>
                  <a:gd name="T75" fmla="*/ 320 h 803"/>
                  <a:gd name="T76" fmla="*/ 168 w 707"/>
                  <a:gd name="T77" fmla="*/ 328 h 803"/>
                  <a:gd name="T78" fmla="*/ 185 w 707"/>
                  <a:gd name="T79" fmla="*/ 351 h 803"/>
                  <a:gd name="T80" fmla="*/ 194 w 707"/>
                  <a:gd name="T81" fmla="*/ 328 h 803"/>
                  <a:gd name="T82" fmla="*/ 201 w 707"/>
                  <a:gd name="T83" fmla="*/ 320 h 803"/>
                  <a:gd name="T84" fmla="*/ 193 w 707"/>
                  <a:gd name="T85" fmla="*/ 335 h 803"/>
                  <a:gd name="T86" fmla="*/ 208 w 707"/>
                  <a:gd name="T87" fmla="*/ 314 h 803"/>
                  <a:gd name="T88" fmla="*/ 213 w 707"/>
                  <a:gd name="T89" fmla="*/ 296 h 803"/>
                  <a:gd name="T90" fmla="*/ 213 w 707"/>
                  <a:gd name="T91" fmla="*/ 278 h 803"/>
                  <a:gd name="T92" fmla="*/ 229 w 707"/>
                  <a:gd name="T93" fmla="*/ 263 h 803"/>
                  <a:gd name="T94" fmla="*/ 250 w 707"/>
                  <a:gd name="T95" fmla="*/ 254 h 803"/>
                  <a:gd name="T96" fmla="*/ 262 w 707"/>
                  <a:gd name="T97" fmla="*/ 253 h 803"/>
                  <a:gd name="T98" fmla="*/ 274 w 707"/>
                  <a:gd name="T99" fmla="*/ 228 h 803"/>
                  <a:gd name="T100" fmla="*/ 282 w 707"/>
                  <a:gd name="T101" fmla="*/ 196 h 803"/>
                  <a:gd name="T102" fmla="*/ 281 w 707"/>
                  <a:gd name="T103" fmla="*/ 171 h 803"/>
                  <a:gd name="T104" fmla="*/ 289 w 707"/>
                  <a:gd name="T105" fmla="*/ 157 h 803"/>
                  <a:gd name="T106" fmla="*/ 299 w 707"/>
                  <a:gd name="T107" fmla="*/ 141 h 803"/>
                  <a:gd name="T108" fmla="*/ 309 w 707"/>
                  <a:gd name="T109" fmla="*/ 103 h 803"/>
                  <a:gd name="T110" fmla="*/ 284 w 707"/>
                  <a:gd name="T111" fmla="*/ 83 h 803"/>
                  <a:gd name="T112" fmla="*/ 250 w 707"/>
                  <a:gd name="T113" fmla="*/ 71 h 80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707" h="803">
                    <a:moveTo>
                      <a:pt x="537" y="158"/>
                    </a:moveTo>
                    <a:lnTo>
                      <a:pt x="534" y="161"/>
                    </a:lnTo>
                    <a:lnTo>
                      <a:pt x="524" y="173"/>
                    </a:lnTo>
                    <a:lnTo>
                      <a:pt x="530" y="158"/>
                    </a:lnTo>
                    <a:lnTo>
                      <a:pt x="529" y="153"/>
                    </a:lnTo>
                    <a:lnTo>
                      <a:pt x="527" y="156"/>
                    </a:lnTo>
                    <a:lnTo>
                      <a:pt x="527" y="146"/>
                    </a:lnTo>
                    <a:lnTo>
                      <a:pt x="521" y="139"/>
                    </a:lnTo>
                    <a:lnTo>
                      <a:pt x="513" y="139"/>
                    </a:lnTo>
                    <a:lnTo>
                      <a:pt x="513" y="138"/>
                    </a:lnTo>
                    <a:lnTo>
                      <a:pt x="506" y="134"/>
                    </a:lnTo>
                    <a:lnTo>
                      <a:pt x="496" y="129"/>
                    </a:lnTo>
                    <a:lnTo>
                      <a:pt x="490" y="128"/>
                    </a:lnTo>
                    <a:lnTo>
                      <a:pt x="486" y="126"/>
                    </a:lnTo>
                    <a:lnTo>
                      <a:pt x="476" y="121"/>
                    </a:lnTo>
                    <a:lnTo>
                      <a:pt x="476" y="123"/>
                    </a:lnTo>
                    <a:lnTo>
                      <a:pt x="462" y="126"/>
                    </a:lnTo>
                    <a:lnTo>
                      <a:pt x="456" y="138"/>
                    </a:lnTo>
                    <a:lnTo>
                      <a:pt x="456" y="141"/>
                    </a:lnTo>
                    <a:lnTo>
                      <a:pt x="450" y="144"/>
                    </a:lnTo>
                    <a:lnTo>
                      <a:pt x="436" y="163"/>
                    </a:lnTo>
                    <a:lnTo>
                      <a:pt x="439" y="148"/>
                    </a:lnTo>
                    <a:lnTo>
                      <a:pt x="433" y="151"/>
                    </a:lnTo>
                    <a:lnTo>
                      <a:pt x="427" y="148"/>
                    </a:lnTo>
                    <a:lnTo>
                      <a:pt x="421" y="148"/>
                    </a:lnTo>
                    <a:lnTo>
                      <a:pt x="416" y="128"/>
                    </a:lnTo>
                    <a:lnTo>
                      <a:pt x="402" y="134"/>
                    </a:lnTo>
                    <a:lnTo>
                      <a:pt x="388" y="141"/>
                    </a:lnTo>
                    <a:lnTo>
                      <a:pt x="383" y="139"/>
                    </a:lnTo>
                    <a:lnTo>
                      <a:pt x="396" y="133"/>
                    </a:lnTo>
                    <a:lnTo>
                      <a:pt x="408" y="110"/>
                    </a:lnTo>
                    <a:lnTo>
                      <a:pt x="419" y="96"/>
                    </a:lnTo>
                    <a:lnTo>
                      <a:pt x="431" y="81"/>
                    </a:lnTo>
                    <a:lnTo>
                      <a:pt x="425" y="70"/>
                    </a:lnTo>
                    <a:lnTo>
                      <a:pt x="418" y="65"/>
                    </a:lnTo>
                    <a:lnTo>
                      <a:pt x="413" y="47"/>
                    </a:lnTo>
                    <a:lnTo>
                      <a:pt x="408" y="28"/>
                    </a:lnTo>
                    <a:lnTo>
                      <a:pt x="408" y="32"/>
                    </a:lnTo>
                    <a:lnTo>
                      <a:pt x="402" y="20"/>
                    </a:lnTo>
                    <a:lnTo>
                      <a:pt x="402" y="23"/>
                    </a:lnTo>
                    <a:lnTo>
                      <a:pt x="399" y="25"/>
                    </a:lnTo>
                    <a:lnTo>
                      <a:pt x="388" y="45"/>
                    </a:lnTo>
                    <a:lnTo>
                      <a:pt x="376" y="65"/>
                    </a:lnTo>
                    <a:lnTo>
                      <a:pt x="359" y="63"/>
                    </a:lnTo>
                    <a:lnTo>
                      <a:pt x="346" y="60"/>
                    </a:lnTo>
                    <a:lnTo>
                      <a:pt x="336" y="55"/>
                    </a:lnTo>
                    <a:lnTo>
                      <a:pt x="320" y="60"/>
                    </a:lnTo>
                    <a:lnTo>
                      <a:pt x="320" y="70"/>
                    </a:lnTo>
                    <a:lnTo>
                      <a:pt x="314" y="68"/>
                    </a:lnTo>
                    <a:lnTo>
                      <a:pt x="294" y="70"/>
                    </a:lnTo>
                    <a:lnTo>
                      <a:pt x="277" y="81"/>
                    </a:lnTo>
                    <a:lnTo>
                      <a:pt x="264" y="81"/>
                    </a:lnTo>
                    <a:lnTo>
                      <a:pt x="254" y="65"/>
                    </a:lnTo>
                    <a:lnTo>
                      <a:pt x="250" y="42"/>
                    </a:lnTo>
                    <a:lnTo>
                      <a:pt x="255" y="22"/>
                    </a:lnTo>
                    <a:lnTo>
                      <a:pt x="249" y="12"/>
                    </a:lnTo>
                    <a:lnTo>
                      <a:pt x="247" y="0"/>
                    </a:lnTo>
                    <a:lnTo>
                      <a:pt x="236" y="0"/>
                    </a:lnTo>
                    <a:lnTo>
                      <a:pt x="236" y="2"/>
                    </a:lnTo>
                    <a:lnTo>
                      <a:pt x="233" y="13"/>
                    </a:lnTo>
                    <a:lnTo>
                      <a:pt x="218" y="18"/>
                    </a:lnTo>
                    <a:lnTo>
                      <a:pt x="204" y="25"/>
                    </a:lnTo>
                    <a:lnTo>
                      <a:pt x="199" y="32"/>
                    </a:lnTo>
                    <a:lnTo>
                      <a:pt x="182" y="27"/>
                    </a:lnTo>
                    <a:lnTo>
                      <a:pt x="165" y="22"/>
                    </a:lnTo>
                    <a:lnTo>
                      <a:pt x="172" y="32"/>
                    </a:lnTo>
                    <a:lnTo>
                      <a:pt x="176" y="55"/>
                    </a:lnTo>
                    <a:lnTo>
                      <a:pt x="189" y="58"/>
                    </a:lnTo>
                    <a:lnTo>
                      <a:pt x="185" y="65"/>
                    </a:lnTo>
                    <a:lnTo>
                      <a:pt x="168" y="80"/>
                    </a:lnTo>
                    <a:lnTo>
                      <a:pt x="151" y="93"/>
                    </a:lnTo>
                    <a:lnTo>
                      <a:pt x="148" y="91"/>
                    </a:lnTo>
                    <a:lnTo>
                      <a:pt x="139" y="91"/>
                    </a:lnTo>
                    <a:lnTo>
                      <a:pt x="124" y="83"/>
                    </a:lnTo>
                    <a:lnTo>
                      <a:pt x="120" y="81"/>
                    </a:lnTo>
                    <a:lnTo>
                      <a:pt x="114" y="65"/>
                    </a:lnTo>
                    <a:lnTo>
                      <a:pt x="103" y="73"/>
                    </a:lnTo>
                    <a:lnTo>
                      <a:pt x="99" y="70"/>
                    </a:lnTo>
                    <a:lnTo>
                      <a:pt x="102" y="73"/>
                    </a:lnTo>
                    <a:lnTo>
                      <a:pt x="86" y="73"/>
                    </a:lnTo>
                    <a:lnTo>
                      <a:pt x="69" y="73"/>
                    </a:lnTo>
                    <a:lnTo>
                      <a:pt x="72" y="86"/>
                    </a:lnTo>
                    <a:lnTo>
                      <a:pt x="82" y="91"/>
                    </a:lnTo>
                    <a:lnTo>
                      <a:pt x="79" y="96"/>
                    </a:lnTo>
                    <a:lnTo>
                      <a:pt x="65" y="96"/>
                    </a:lnTo>
                    <a:lnTo>
                      <a:pt x="69" y="115"/>
                    </a:lnTo>
                    <a:lnTo>
                      <a:pt x="79" y="138"/>
                    </a:lnTo>
                    <a:lnTo>
                      <a:pt x="74" y="166"/>
                    </a:lnTo>
                    <a:lnTo>
                      <a:pt x="69" y="194"/>
                    </a:lnTo>
                    <a:lnTo>
                      <a:pt x="63" y="194"/>
                    </a:lnTo>
                    <a:lnTo>
                      <a:pt x="48" y="197"/>
                    </a:lnTo>
                    <a:lnTo>
                      <a:pt x="32" y="204"/>
                    </a:lnTo>
                    <a:lnTo>
                      <a:pt x="18" y="212"/>
                    </a:lnTo>
                    <a:lnTo>
                      <a:pt x="15" y="227"/>
                    </a:lnTo>
                    <a:lnTo>
                      <a:pt x="9" y="244"/>
                    </a:lnTo>
                    <a:lnTo>
                      <a:pt x="0" y="260"/>
                    </a:lnTo>
                    <a:lnTo>
                      <a:pt x="7" y="275"/>
                    </a:lnTo>
                    <a:lnTo>
                      <a:pt x="15" y="292"/>
                    </a:lnTo>
                    <a:lnTo>
                      <a:pt x="15" y="300"/>
                    </a:lnTo>
                    <a:lnTo>
                      <a:pt x="23" y="302"/>
                    </a:lnTo>
                    <a:lnTo>
                      <a:pt x="34" y="310"/>
                    </a:lnTo>
                    <a:lnTo>
                      <a:pt x="48" y="313"/>
                    </a:lnTo>
                    <a:lnTo>
                      <a:pt x="60" y="305"/>
                    </a:lnTo>
                    <a:lnTo>
                      <a:pt x="62" y="320"/>
                    </a:lnTo>
                    <a:lnTo>
                      <a:pt x="63" y="335"/>
                    </a:lnTo>
                    <a:lnTo>
                      <a:pt x="82" y="333"/>
                    </a:lnTo>
                    <a:lnTo>
                      <a:pt x="107" y="335"/>
                    </a:lnTo>
                    <a:lnTo>
                      <a:pt x="114" y="328"/>
                    </a:lnTo>
                    <a:lnTo>
                      <a:pt x="128" y="320"/>
                    </a:lnTo>
                    <a:lnTo>
                      <a:pt x="142" y="310"/>
                    </a:lnTo>
                    <a:lnTo>
                      <a:pt x="158" y="310"/>
                    </a:lnTo>
                    <a:lnTo>
                      <a:pt x="159" y="328"/>
                    </a:lnTo>
                    <a:lnTo>
                      <a:pt x="161" y="347"/>
                    </a:lnTo>
                    <a:lnTo>
                      <a:pt x="175" y="362"/>
                    </a:lnTo>
                    <a:lnTo>
                      <a:pt x="189" y="365"/>
                    </a:lnTo>
                    <a:lnTo>
                      <a:pt x="204" y="373"/>
                    </a:lnTo>
                    <a:lnTo>
                      <a:pt x="224" y="388"/>
                    </a:lnTo>
                    <a:lnTo>
                      <a:pt x="244" y="390"/>
                    </a:lnTo>
                    <a:lnTo>
                      <a:pt x="250" y="398"/>
                    </a:lnTo>
                    <a:lnTo>
                      <a:pt x="254" y="418"/>
                    </a:lnTo>
                    <a:lnTo>
                      <a:pt x="249" y="418"/>
                    </a:lnTo>
                    <a:lnTo>
                      <a:pt x="255" y="426"/>
                    </a:lnTo>
                    <a:lnTo>
                      <a:pt x="258" y="444"/>
                    </a:lnTo>
                    <a:lnTo>
                      <a:pt x="274" y="444"/>
                    </a:lnTo>
                    <a:lnTo>
                      <a:pt x="291" y="446"/>
                    </a:lnTo>
                    <a:lnTo>
                      <a:pt x="292" y="464"/>
                    </a:lnTo>
                    <a:lnTo>
                      <a:pt x="305" y="476"/>
                    </a:lnTo>
                    <a:lnTo>
                      <a:pt x="308" y="483"/>
                    </a:lnTo>
                    <a:lnTo>
                      <a:pt x="305" y="499"/>
                    </a:lnTo>
                    <a:lnTo>
                      <a:pt x="301" y="514"/>
                    </a:lnTo>
                    <a:lnTo>
                      <a:pt x="305" y="521"/>
                    </a:lnTo>
                    <a:lnTo>
                      <a:pt x="301" y="524"/>
                    </a:lnTo>
                    <a:lnTo>
                      <a:pt x="305" y="534"/>
                    </a:lnTo>
                    <a:lnTo>
                      <a:pt x="308" y="560"/>
                    </a:lnTo>
                    <a:lnTo>
                      <a:pt x="332" y="565"/>
                    </a:lnTo>
                    <a:lnTo>
                      <a:pt x="345" y="565"/>
                    </a:lnTo>
                    <a:lnTo>
                      <a:pt x="351" y="584"/>
                    </a:lnTo>
                    <a:lnTo>
                      <a:pt x="356" y="602"/>
                    </a:lnTo>
                    <a:lnTo>
                      <a:pt x="365" y="602"/>
                    </a:lnTo>
                    <a:lnTo>
                      <a:pt x="376" y="602"/>
                    </a:lnTo>
                    <a:lnTo>
                      <a:pt x="374" y="618"/>
                    </a:lnTo>
                    <a:lnTo>
                      <a:pt x="374" y="635"/>
                    </a:lnTo>
                    <a:lnTo>
                      <a:pt x="385" y="635"/>
                    </a:lnTo>
                    <a:lnTo>
                      <a:pt x="393" y="662"/>
                    </a:lnTo>
                    <a:lnTo>
                      <a:pt x="382" y="672"/>
                    </a:lnTo>
                    <a:lnTo>
                      <a:pt x="371" y="681"/>
                    </a:lnTo>
                    <a:lnTo>
                      <a:pt x="362" y="695"/>
                    </a:lnTo>
                    <a:lnTo>
                      <a:pt x="351" y="706"/>
                    </a:lnTo>
                    <a:lnTo>
                      <a:pt x="342" y="718"/>
                    </a:lnTo>
                    <a:lnTo>
                      <a:pt x="334" y="730"/>
                    </a:lnTo>
                    <a:lnTo>
                      <a:pt x="334" y="731"/>
                    </a:lnTo>
                    <a:lnTo>
                      <a:pt x="342" y="728"/>
                    </a:lnTo>
                    <a:lnTo>
                      <a:pt x="365" y="744"/>
                    </a:lnTo>
                    <a:lnTo>
                      <a:pt x="370" y="746"/>
                    </a:lnTo>
                    <a:lnTo>
                      <a:pt x="380" y="751"/>
                    </a:lnTo>
                    <a:lnTo>
                      <a:pt x="399" y="766"/>
                    </a:lnTo>
                    <a:lnTo>
                      <a:pt x="418" y="779"/>
                    </a:lnTo>
                    <a:lnTo>
                      <a:pt x="416" y="789"/>
                    </a:lnTo>
                    <a:lnTo>
                      <a:pt x="419" y="803"/>
                    </a:lnTo>
                    <a:lnTo>
                      <a:pt x="425" y="789"/>
                    </a:lnTo>
                    <a:lnTo>
                      <a:pt x="433" y="778"/>
                    </a:lnTo>
                    <a:lnTo>
                      <a:pt x="433" y="766"/>
                    </a:lnTo>
                    <a:lnTo>
                      <a:pt x="439" y="751"/>
                    </a:lnTo>
                    <a:lnTo>
                      <a:pt x="445" y="741"/>
                    </a:lnTo>
                    <a:lnTo>
                      <a:pt x="444" y="731"/>
                    </a:lnTo>
                    <a:lnTo>
                      <a:pt x="445" y="730"/>
                    </a:lnTo>
                    <a:lnTo>
                      <a:pt x="453" y="733"/>
                    </a:lnTo>
                    <a:lnTo>
                      <a:pt x="458" y="733"/>
                    </a:lnTo>
                    <a:lnTo>
                      <a:pt x="450" y="748"/>
                    </a:lnTo>
                    <a:lnTo>
                      <a:pt x="441" y="763"/>
                    </a:lnTo>
                    <a:lnTo>
                      <a:pt x="436" y="766"/>
                    </a:lnTo>
                    <a:lnTo>
                      <a:pt x="439" y="769"/>
                    </a:lnTo>
                    <a:lnTo>
                      <a:pt x="450" y="753"/>
                    </a:lnTo>
                    <a:lnTo>
                      <a:pt x="462" y="735"/>
                    </a:lnTo>
                    <a:lnTo>
                      <a:pt x="469" y="718"/>
                    </a:lnTo>
                    <a:lnTo>
                      <a:pt x="476" y="701"/>
                    </a:lnTo>
                    <a:lnTo>
                      <a:pt x="481" y="695"/>
                    </a:lnTo>
                    <a:lnTo>
                      <a:pt x="482" y="691"/>
                    </a:lnTo>
                    <a:lnTo>
                      <a:pt x="482" y="677"/>
                    </a:lnTo>
                    <a:lnTo>
                      <a:pt x="482" y="658"/>
                    </a:lnTo>
                    <a:lnTo>
                      <a:pt x="478" y="648"/>
                    </a:lnTo>
                    <a:lnTo>
                      <a:pt x="478" y="640"/>
                    </a:lnTo>
                    <a:lnTo>
                      <a:pt x="481" y="635"/>
                    </a:lnTo>
                    <a:lnTo>
                      <a:pt x="478" y="632"/>
                    </a:lnTo>
                    <a:lnTo>
                      <a:pt x="486" y="630"/>
                    </a:lnTo>
                    <a:lnTo>
                      <a:pt x="501" y="617"/>
                    </a:lnTo>
                    <a:lnTo>
                      <a:pt x="517" y="602"/>
                    </a:lnTo>
                    <a:lnTo>
                      <a:pt x="532" y="597"/>
                    </a:lnTo>
                    <a:lnTo>
                      <a:pt x="546" y="587"/>
                    </a:lnTo>
                    <a:lnTo>
                      <a:pt x="551" y="580"/>
                    </a:lnTo>
                    <a:lnTo>
                      <a:pt x="565" y="580"/>
                    </a:lnTo>
                    <a:lnTo>
                      <a:pt x="558" y="584"/>
                    </a:lnTo>
                    <a:lnTo>
                      <a:pt x="571" y="579"/>
                    </a:lnTo>
                    <a:lnTo>
                      <a:pt x="574" y="579"/>
                    </a:lnTo>
                    <a:lnTo>
                      <a:pt x="592" y="579"/>
                    </a:lnTo>
                    <a:lnTo>
                      <a:pt x="597" y="565"/>
                    </a:lnTo>
                    <a:lnTo>
                      <a:pt x="609" y="560"/>
                    </a:lnTo>
                    <a:lnTo>
                      <a:pt x="611" y="537"/>
                    </a:lnTo>
                    <a:lnTo>
                      <a:pt x="620" y="521"/>
                    </a:lnTo>
                    <a:lnTo>
                      <a:pt x="628" y="506"/>
                    </a:lnTo>
                    <a:lnTo>
                      <a:pt x="631" y="478"/>
                    </a:lnTo>
                    <a:lnTo>
                      <a:pt x="634" y="468"/>
                    </a:lnTo>
                    <a:lnTo>
                      <a:pt x="636" y="448"/>
                    </a:lnTo>
                    <a:lnTo>
                      <a:pt x="636" y="426"/>
                    </a:lnTo>
                    <a:lnTo>
                      <a:pt x="636" y="413"/>
                    </a:lnTo>
                    <a:lnTo>
                      <a:pt x="636" y="398"/>
                    </a:lnTo>
                    <a:lnTo>
                      <a:pt x="634" y="391"/>
                    </a:lnTo>
                    <a:lnTo>
                      <a:pt x="636" y="372"/>
                    </a:lnTo>
                    <a:lnTo>
                      <a:pt x="642" y="370"/>
                    </a:lnTo>
                    <a:lnTo>
                      <a:pt x="643" y="376"/>
                    </a:lnTo>
                    <a:lnTo>
                      <a:pt x="653" y="360"/>
                    </a:lnTo>
                    <a:lnTo>
                      <a:pt x="662" y="343"/>
                    </a:lnTo>
                    <a:lnTo>
                      <a:pt x="662" y="342"/>
                    </a:lnTo>
                    <a:lnTo>
                      <a:pt x="665" y="337"/>
                    </a:lnTo>
                    <a:lnTo>
                      <a:pt x="676" y="322"/>
                    </a:lnTo>
                    <a:lnTo>
                      <a:pt x="687" y="307"/>
                    </a:lnTo>
                    <a:lnTo>
                      <a:pt x="704" y="285"/>
                    </a:lnTo>
                    <a:lnTo>
                      <a:pt x="707" y="255"/>
                    </a:lnTo>
                    <a:lnTo>
                      <a:pt x="699" y="236"/>
                    </a:lnTo>
                    <a:lnTo>
                      <a:pt x="691" y="212"/>
                    </a:lnTo>
                    <a:lnTo>
                      <a:pt x="676" y="209"/>
                    </a:lnTo>
                    <a:lnTo>
                      <a:pt x="662" y="209"/>
                    </a:lnTo>
                    <a:lnTo>
                      <a:pt x="642" y="191"/>
                    </a:lnTo>
                    <a:lnTo>
                      <a:pt x="623" y="173"/>
                    </a:lnTo>
                    <a:lnTo>
                      <a:pt x="597" y="166"/>
                    </a:lnTo>
                    <a:lnTo>
                      <a:pt x="580" y="168"/>
                    </a:lnTo>
                    <a:lnTo>
                      <a:pt x="565" y="163"/>
                    </a:lnTo>
                    <a:lnTo>
                      <a:pt x="547" y="159"/>
                    </a:lnTo>
                    <a:lnTo>
                      <a:pt x="534" y="164"/>
                    </a:lnTo>
                    <a:lnTo>
                      <a:pt x="537" y="15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30" name="Freeform 260">
                <a:extLst>
                  <a:ext uri="{FF2B5EF4-FFF2-40B4-BE49-F238E27FC236}">
                    <a16:creationId xmlns:a16="http://schemas.microsoft.com/office/drawing/2014/main" id="{B871D7A6-C37D-DCB7-B50C-220FD8EE4C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71" y="3645"/>
                <a:ext cx="19" cy="16"/>
              </a:xfrm>
              <a:custGeom>
                <a:avLst/>
                <a:gdLst>
                  <a:gd name="T0" fmla="*/ 10 w 41"/>
                  <a:gd name="T1" fmla="*/ 15 h 36"/>
                  <a:gd name="T2" fmla="*/ 8 w 41"/>
                  <a:gd name="T3" fmla="*/ 15 h 36"/>
                  <a:gd name="T4" fmla="*/ 3 w 41"/>
                  <a:gd name="T5" fmla="*/ 13 h 36"/>
                  <a:gd name="T6" fmla="*/ 2 w 41"/>
                  <a:gd name="T7" fmla="*/ 16 h 36"/>
                  <a:gd name="T8" fmla="*/ 0 w 41"/>
                  <a:gd name="T9" fmla="*/ 8 h 36"/>
                  <a:gd name="T10" fmla="*/ 0 w 41"/>
                  <a:gd name="T11" fmla="*/ 8 h 36"/>
                  <a:gd name="T12" fmla="*/ 0 w 41"/>
                  <a:gd name="T13" fmla="*/ 5 h 36"/>
                  <a:gd name="T14" fmla="*/ 3 w 41"/>
                  <a:gd name="T15" fmla="*/ 0 h 36"/>
                  <a:gd name="T16" fmla="*/ 11 w 41"/>
                  <a:gd name="T17" fmla="*/ 0 h 36"/>
                  <a:gd name="T18" fmla="*/ 19 w 41"/>
                  <a:gd name="T19" fmla="*/ 2 h 36"/>
                  <a:gd name="T20" fmla="*/ 16 w 41"/>
                  <a:gd name="T21" fmla="*/ 10 h 36"/>
                  <a:gd name="T22" fmla="*/ 15 w 41"/>
                  <a:gd name="T23" fmla="*/ 11 h 36"/>
                  <a:gd name="T24" fmla="*/ 13 w 41"/>
                  <a:gd name="T25" fmla="*/ 13 h 36"/>
                  <a:gd name="T26" fmla="*/ 13 w 41"/>
                  <a:gd name="T27" fmla="*/ 13 h 36"/>
                  <a:gd name="T28" fmla="*/ 10 w 41"/>
                  <a:gd name="T29" fmla="*/ 15 h 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1" h="36">
                    <a:moveTo>
                      <a:pt x="21" y="33"/>
                    </a:moveTo>
                    <a:lnTo>
                      <a:pt x="17" y="34"/>
                    </a:lnTo>
                    <a:lnTo>
                      <a:pt x="7" y="29"/>
                    </a:lnTo>
                    <a:lnTo>
                      <a:pt x="4" y="36"/>
                    </a:lnTo>
                    <a:lnTo>
                      <a:pt x="0" y="19"/>
                    </a:lnTo>
                    <a:lnTo>
                      <a:pt x="1" y="19"/>
                    </a:lnTo>
                    <a:lnTo>
                      <a:pt x="0" y="11"/>
                    </a:lnTo>
                    <a:lnTo>
                      <a:pt x="6" y="0"/>
                    </a:lnTo>
                    <a:lnTo>
                      <a:pt x="24" y="1"/>
                    </a:lnTo>
                    <a:lnTo>
                      <a:pt x="41" y="5"/>
                    </a:lnTo>
                    <a:lnTo>
                      <a:pt x="34" y="23"/>
                    </a:lnTo>
                    <a:lnTo>
                      <a:pt x="32" y="24"/>
                    </a:lnTo>
                    <a:lnTo>
                      <a:pt x="29" y="29"/>
                    </a:lnTo>
                    <a:lnTo>
                      <a:pt x="27" y="29"/>
                    </a:lnTo>
                    <a:lnTo>
                      <a:pt x="21" y="3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31" name="Freeform 261">
                <a:extLst>
                  <a:ext uri="{FF2B5EF4-FFF2-40B4-BE49-F238E27FC236}">
                    <a16:creationId xmlns:a16="http://schemas.microsoft.com/office/drawing/2014/main" id="{58BBC486-1571-9E60-DED5-65EEC0FA3DB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54" y="3623"/>
                <a:ext cx="15" cy="13"/>
              </a:xfrm>
              <a:custGeom>
                <a:avLst/>
                <a:gdLst>
                  <a:gd name="T0" fmla="*/ 2 w 33"/>
                  <a:gd name="T1" fmla="*/ 13 h 28"/>
                  <a:gd name="T2" fmla="*/ 0 w 33"/>
                  <a:gd name="T3" fmla="*/ 12 h 28"/>
                  <a:gd name="T4" fmla="*/ 1 w 33"/>
                  <a:gd name="T5" fmla="*/ 8 h 28"/>
                  <a:gd name="T6" fmla="*/ 2 w 33"/>
                  <a:gd name="T7" fmla="*/ 0 h 28"/>
                  <a:gd name="T8" fmla="*/ 9 w 33"/>
                  <a:gd name="T9" fmla="*/ 1 h 28"/>
                  <a:gd name="T10" fmla="*/ 15 w 33"/>
                  <a:gd name="T11" fmla="*/ 2 h 28"/>
                  <a:gd name="T12" fmla="*/ 15 w 33"/>
                  <a:gd name="T13" fmla="*/ 13 h 28"/>
                  <a:gd name="T14" fmla="*/ 9 w 33"/>
                  <a:gd name="T15" fmla="*/ 13 h 28"/>
                  <a:gd name="T16" fmla="*/ 2 w 33"/>
                  <a:gd name="T17" fmla="*/ 13 h 2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28">
                    <a:moveTo>
                      <a:pt x="5" y="28"/>
                    </a:moveTo>
                    <a:lnTo>
                      <a:pt x="0" y="25"/>
                    </a:lnTo>
                    <a:lnTo>
                      <a:pt x="2" y="18"/>
                    </a:lnTo>
                    <a:lnTo>
                      <a:pt x="5" y="0"/>
                    </a:lnTo>
                    <a:lnTo>
                      <a:pt x="19" y="2"/>
                    </a:lnTo>
                    <a:lnTo>
                      <a:pt x="33" y="5"/>
                    </a:lnTo>
                    <a:lnTo>
                      <a:pt x="33" y="28"/>
                    </a:lnTo>
                    <a:lnTo>
                      <a:pt x="19" y="28"/>
                    </a:lnTo>
                    <a:lnTo>
                      <a:pt x="5" y="2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32" name="Freeform 262">
                <a:extLst>
                  <a:ext uri="{FF2B5EF4-FFF2-40B4-BE49-F238E27FC236}">
                    <a16:creationId xmlns:a16="http://schemas.microsoft.com/office/drawing/2014/main" id="{9AAFBEE8-C243-C138-BC03-047BE42110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49" y="3625"/>
                <a:ext cx="45" cy="55"/>
              </a:xfrm>
              <a:custGeom>
                <a:avLst/>
                <a:gdLst>
                  <a:gd name="T0" fmla="*/ 8 w 102"/>
                  <a:gd name="T1" fmla="*/ 10 h 124"/>
                  <a:gd name="T2" fmla="*/ 7 w 102"/>
                  <a:gd name="T3" fmla="*/ 14 h 124"/>
                  <a:gd name="T4" fmla="*/ 4 w 102"/>
                  <a:gd name="T5" fmla="*/ 14 h 124"/>
                  <a:gd name="T6" fmla="*/ 9 w 102"/>
                  <a:gd name="T7" fmla="*/ 18 h 124"/>
                  <a:gd name="T8" fmla="*/ 5 w 102"/>
                  <a:gd name="T9" fmla="*/ 18 h 124"/>
                  <a:gd name="T10" fmla="*/ 2 w 102"/>
                  <a:gd name="T11" fmla="*/ 27 h 124"/>
                  <a:gd name="T12" fmla="*/ 0 w 102"/>
                  <a:gd name="T13" fmla="*/ 27 h 124"/>
                  <a:gd name="T14" fmla="*/ 3 w 102"/>
                  <a:gd name="T15" fmla="*/ 32 h 124"/>
                  <a:gd name="T16" fmla="*/ 5 w 102"/>
                  <a:gd name="T17" fmla="*/ 34 h 124"/>
                  <a:gd name="T18" fmla="*/ 2 w 102"/>
                  <a:gd name="T19" fmla="*/ 31 h 124"/>
                  <a:gd name="T20" fmla="*/ 5 w 102"/>
                  <a:gd name="T21" fmla="*/ 37 h 124"/>
                  <a:gd name="T22" fmla="*/ 5 w 102"/>
                  <a:gd name="T23" fmla="*/ 37 h 124"/>
                  <a:gd name="T24" fmla="*/ 10 w 102"/>
                  <a:gd name="T25" fmla="*/ 43 h 124"/>
                  <a:gd name="T26" fmla="*/ 8 w 102"/>
                  <a:gd name="T27" fmla="*/ 42 h 124"/>
                  <a:gd name="T28" fmla="*/ 14 w 102"/>
                  <a:gd name="T29" fmla="*/ 48 h 124"/>
                  <a:gd name="T30" fmla="*/ 19 w 102"/>
                  <a:gd name="T31" fmla="*/ 55 h 124"/>
                  <a:gd name="T32" fmla="*/ 21 w 102"/>
                  <a:gd name="T33" fmla="*/ 51 h 124"/>
                  <a:gd name="T34" fmla="*/ 24 w 102"/>
                  <a:gd name="T35" fmla="*/ 53 h 124"/>
                  <a:gd name="T36" fmla="*/ 25 w 102"/>
                  <a:gd name="T37" fmla="*/ 51 h 124"/>
                  <a:gd name="T38" fmla="*/ 24 w 102"/>
                  <a:gd name="T39" fmla="*/ 47 h 124"/>
                  <a:gd name="T40" fmla="*/ 23 w 102"/>
                  <a:gd name="T41" fmla="*/ 45 h 124"/>
                  <a:gd name="T42" fmla="*/ 23 w 102"/>
                  <a:gd name="T43" fmla="*/ 42 h 124"/>
                  <a:gd name="T44" fmla="*/ 30 w 102"/>
                  <a:gd name="T45" fmla="*/ 41 h 124"/>
                  <a:gd name="T46" fmla="*/ 30 w 102"/>
                  <a:gd name="T47" fmla="*/ 36 h 124"/>
                  <a:gd name="T48" fmla="*/ 34 w 102"/>
                  <a:gd name="T49" fmla="*/ 41 h 124"/>
                  <a:gd name="T50" fmla="*/ 39 w 102"/>
                  <a:gd name="T51" fmla="*/ 39 h 124"/>
                  <a:gd name="T52" fmla="*/ 40 w 102"/>
                  <a:gd name="T53" fmla="*/ 42 h 124"/>
                  <a:gd name="T54" fmla="*/ 43 w 102"/>
                  <a:gd name="T55" fmla="*/ 39 h 124"/>
                  <a:gd name="T56" fmla="*/ 45 w 102"/>
                  <a:gd name="T57" fmla="*/ 27 h 124"/>
                  <a:gd name="T58" fmla="*/ 40 w 102"/>
                  <a:gd name="T59" fmla="*/ 18 h 124"/>
                  <a:gd name="T60" fmla="*/ 45 w 102"/>
                  <a:gd name="T61" fmla="*/ 14 h 124"/>
                  <a:gd name="T62" fmla="*/ 43 w 102"/>
                  <a:gd name="T63" fmla="*/ 8 h 124"/>
                  <a:gd name="T64" fmla="*/ 35 w 102"/>
                  <a:gd name="T65" fmla="*/ 8 h 124"/>
                  <a:gd name="T66" fmla="*/ 35 w 102"/>
                  <a:gd name="T67" fmla="*/ 0 h 124"/>
                  <a:gd name="T68" fmla="*/ 28 w 102"/>
                  <a:gd name="T69" fmla="*/ 0 h 124"/>
                  <a:gd name="T70" fmla="*/ 20 w 102"/>
                  <a:gd name="T71" fmla="*/ 0 h 124"/>
                  <a:gd name="T72" fmla="*/ 20 w 102"/>
                  <a:gd name="T73" fmla="*/ 10 h 124"/>
                  <a:gd name="T74" fmla="*/ 14 w 102"/>
                  <a:gd name="T75" fmla="*/ 10 h 124"/>
                  <a:gd name="T76" fmla="*/ 8 w 102"/>
                  <a:gd name="T77" fmla="*/ 10 h 12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02" h="124">
                    <a:moveTo>
                      <a:pt x="19" y="23"/>
                    </a:moveTo>
                    <a:lnTo>
                      <a:pt x="15" y="31"/>
                    </a:lnTo>
                    <a:lnTo>
                      <a:pt x="9" y="31"/>
                    </a:lnTo>
                    <a:lnTo>
                      <a:pt x="20" y="41"/>
                    </a:lnTo>
                    <a:lnTo>
                      <a:pt x="11" y="40"/>
                    </a:lnTo>
                    <a:lnTo>
                      <a:pt x="5" y="60"/>
                    </a:lnTo>
                    <a:lnTo>
                      <a:pt x="0" y="60"/>
                    </a:lnTo>
                    <a:lnTo>
                      <a:pt x="6" y="73"/>
                    </a:lnTo>
                    <a:lnTo>
                      <a:pt x="11" y="76"/>
                    </a:lnTo>
                    <a:lnTo>
                      <a:pt x="5" y="71"/>
                    </a:lnTo>
                    <a:lnTo>
                      <a:pt x="12" y="83"/>
                    </a:lnTo>
                    <a:lnTo>
                      <a:pt x="11" y="83"/>
                    </a:lnTo>
                    <a:lnTo>
                      <a:pt x="22" y="96"/>
                    </a:lnTo>
                    <a:lnTo>
                      <a:pt x="19" y="94"/>
                    </a:lnTo>
                    <a:lnTo>
                      <a:pt x="31" y="109"/>
                    </a:lnTo>
                    <a:lnTo>
                      <a:pt x="42" y="124"/>
                    </a:lnTo>
                    <a:lnTo>
                      <a:pt x="48" y="114"/>
                    </a:lnTo>
                    <a:lnTo>
                      <a:pt x="54" y="119"/>
                    </a:lnTo>
                    <a:lnTo>
                      <a:pt x="56" y="114"/>
                    </a:lnTo>
                    <a:lnTo>
                      <a:pt x="54" y="106"/>
                    </a:lnTo>
                    <a:lnTo>
                      <a:pt x="51" y="101"/>
                    </a:lnTo>
                    <a:lnTo>
                      <a:pt x="51" y="94"/>
                    </a:lnTo>
                    <a:lnTo>
                      <a:pt x="68" y="93"/>
                    </a:lnTo>
                    <a:lnTo>
                      <a:pt x="68" y="81"/>
                    </a:lnTo>
                    <a:lnTo>
                      <a:pt x="77" y="93"/>
                    </a:lnTo>
                    <a:lnTo>
                      <a:pt x="88" y="88"/>
                    </a:lnTo>
                    <a:lnTo>
                      <a:pt x="91" y="94"/>
                    </a:lnTo>
                    <a:lnTo>
                      <a:pt x="97" y="88"/>
                    </a:lnTo>
                    <a:lnTo>
                      <a:pt x="102" y="60"/>
                    </a:lnTo>
                    <a:lnTo>
                      <a:pt x="91" y="41"/>
                    </a:lnTo>
                    <a:lnTo>
                      <a:pt x="101" y="31"/>
                    </a:lnTo>
                    <a:lnTo>
                      <a:pt x="97" y="18"/>
                    </a:lnTo>
                    <a:lnTo>
                      <a:pt x="79" y="18"/>
                    </a:lnTo>
                    <a:lnTo>
                      <a:pt x="80" y="0"/>
                    </a:lnTo>
                    <a:lnTo>
                      <a:pt x="63" y="0"/>
                    </a:lnTo>
                    <a:lnTo>
                      <a:pt x="45" y="0"/>
                    </a:lnTo>
                    <a:lnTo>
                      <a:pt x="45" y="23"/>
                    </a:lnTo>
                    <a:lnTo>
                      <a:pt x="31" y="23"/>
                    </a:lnTo>
                    <a:lnTo>
                      <a:pt x="19" y="2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33" name="Freeform 263">
                <a:extLst>
                  <a:ext uri="{FF2B5EF4-FFF2-40B4-BE49-F238E27FC236}">
                    <a16:creationId xmlns:a16="http://schemas.microsoft.com/office/drawing/2014/main" id="{1123B659-21B1-79F8-D92F-A0ACD46D54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6" y="3819"/>
                <a:ext cx="67" cy="73"/>
              </a:xfrm>
              <a:custGeom>
                <a:avLst/>
                <a:gdLst>
                  <a:gd name="T0" fmla="*/ 3 w 150"/>
                  <a:gd name="T1" fmla="*/ 7 h 166"/>
                  <a:gd name="T2" fmla="*/ 2 w 150"/>
                  <a:gd name="T3" fmla="*/ 16 h 166"/>
                  <a:gd name="T4" fmla="*/ 0 w 150"/>
                  <a:gd name="T5" fmla="*/ 26 h 166"/>
                  <a:gd name="T6" fmla="*/ 8 w 150"/>
                  <a:gd name="T7" fmla="*/ 34 h 166"/>
                  <a:gd name="T8" fmla="*/ 15 w 150"/>
                  <a:gd name="T9" fmla="*/ 40 h 166"/>
                  <a:gd name="T10" fmla="*/ 22 w 150"/>
                  <a:gd name="T11" fmla="*/ 44 h 166"/>
                  <a:gd name="T12" fmla="*/ 29 w 150"/>
                  <a:gd name="T13" fmla="*/ 47 h 166"/>
                  <a:gd name="T14" fmla="*/ 36 w 150"/>
                  <a:gd name="T15" fmla="*/ 51 h 166"/>
                  <a:gd name="T16" fmla="*/ 43 w 150"/>
                  <a:gd name="T17" fmla="*/ 55 h 166"/>
                  <a:gd name="T18" fmla="*/ 40 w 150"/>
                  <a:gd name="T19" fmla="*/ 63 h 166"/>
                  <a:gd name="T20" fmla="*/ 37 w 150"/>
                  <a:gd name="T21" fmla="*/ 71 h 166"/>
                  <a:gd name="T22" fmla="*/ 46 w 150"/>
                  <a:gd name="T23" fmla="*/ 73 h 166"/>
                  <a:gd name="T24" fmla="*/ 56 w 150"/>
                  <a:gd name="T25" fmla="*/ 73 h 166"/>
                  <a:gd name="T26" fmla="*/ 61 w 150"/>
                  <a:gd name="T27" fmla="*/ 71 h 166"/>
                  <a:gd name="T28" fmla="*/ 67 w 150"/>
                  <a:gd name="T29" fmla="*/ 62 h 166"/>
                  <a:gd name="T30" fmla="*/ 66 w 150"/>
                  <a:gd name="T31" fmla="*/ 55 h 166"/>
                  <a:gd name="T32" fmla="*/ 66 w 150"/>
                  <a:gd name="T33" fmla="*/ 49 h 166"/>
                  <a:gd name="T34" fmla="*/ 67 w 150"/>
                  <a:gd name="T35" fmla="*/ 42 h 166"/>
                  <a:gd name="T36" fmla="*/ 63 w 150"/>
                  <a:gd name="T37" fmla="*/ 42 h 166"/>
                  <a:gd name="T38" fmla="*/ 59 w 150"/>
                  <a:gd name="T39" fmla="*/ 42 h 166"/>
                  <a:gd name="T40" fmla="*/ 56 w 150"/>
                  <a:gd name="T41" fmla="*/ 34 h 166"/>
                  <a:gd name="T42" fmla="*/ 53 w 150"/>
                  <a:gd name="T43" fmla="*/ 26 h 166"/>
                  <a:gd name="T44" fmla="*/ 47 w 150"/>
                  <a:gd name="T45" fmla="*/ 26 h 166"/>
                  <a:gd name="T46" fmla="*/ 37 w 150"/>
                  <a:gd name="T47" fmla="*/ 23 h 166"/>
                  <a:gd name="T48" fmla="*/ 35 w 150"/>
                  <a:gd name="T49" fmla="*/ 12 h 166"/>
                  <a:gd name="T50" fmla="*/ 34 w 150"/>
                  <a:gd name="T51" fmla="*/ 7 h 166"/>
                  <a:gd name="T52" fmla="*/ 34 w 150"/>
                  <a:gd name="T53" fmla="*/ 6 h 166"/>
                  <a:gd name="T54" fmla="*/ 25 w 150"/>
                  <a:gd name="T55" fmla="*/ 0 h 166"/>
                  <a:gd name="T56" fmla="*/ 15 w 150"/>
                  <a:gd name="T57" fmla="*/ 2 h 166"/>
                  <a:gd name="T58" fmla="*/ 4 w 150"/>
                  <a:gd name="T59" fmla="*/ 3 h 166"/>
                  <a:gd name="T60" fmla="*/ 3 w 150"/>
                  <a:gd name="T61" fmla="*/ 7 h 16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50" h="166">
                    <a:moveTo>
                      <a:pt x="7" y="17"/>
                    </a:moveTo>
                    <a:lnTo>
                      <a:pt x="4" y="37"/>
                    </a:lnTo>
                    <a:lnTo>
                      <a:pt x="0" y="60"/>
                    </a:lnTo>
                    <a:lnTo>
                      <a:pt x="17" y="77"/>
                    </a:lnTo>
                    <a:lnTo>
                      <a:pt x="34" y="92"/>
                    </a:lnTo>
                    <a:lnTo>
                      <a:pt x="49" y="100"/>
                    </a:lnTo>
                    <a:lnTo>
                      <a:pt x="65" y="107"/>
                    </a:lnTo>
                    <a:lnTo>
                      <a:pt x="80" y="115"/>
                    </a:lnTo>
                    <a:lnTo>
                      <a:pt x="96" y="125"/>
                    </a:lnTo>
                    <a:lnTo>
                      <a:pt x="89" y="143"/>
                    </a:lnTo>
                    <a:lnTo>
                      <a:pt x="83" y="161"/>
                    </a:lnTo>
                    <a:lnTo>
                      <a:pt x="103" y="165"/>
                    </a:lnTo>
                    <a:lnTo>
                      <a:pt x="125" y="166"/>
                    </a:lnTo>
                    <a:lnTo>
                      <a:pt x="136" y="161"/>
                    </a:lnTo>
                    <a:lnTo>
                      <a:pt x="150" y="141"/>
                    </a:lnTo>
                    <a:lnTo>
                      <a:pt x="148" y="126"/>
                    </a:lnTo>
                    <a:lnTo>
                      <a:pt x="148" y="111"/>
                    </a:lnTo>
                    <a:lnTo>
                      <a:pt x="150" y="95"/>
                    </a:lnTo>
                    <a:lnTo>
                      <a:pt x="140" y="95"/>
                    </a:lnTo>
                    <a:lnTo>
                      <a:pt x="131" y="95"/>
                    </a:lnTo>
                    <a:lnTo>
                      <a:pt x="125" y="77"/>
                    </a:lnTo>
                    <a:lnTo>
                      <a:pt x="119" y="60"/>
                    </a:lnTo>
                    <a:lnTo>
                      <a:pt x="106" y="58"/>
                    </a:lnTo>
                    <a:lnTo>
                      <a:pt x="82" y="53"/>
                    </a:lnTo>
                    <a:lnTo>
                      <a:pt x="79" y="27"/>
                    </a:lnTo>
                    <a:lnTo>
                      <a:pt x="75" y="17"/>
                    </a:lnTo>
                    <a:lnTo>
                      <a:pt x="75" y="14"/>
                    </a:lnTo>
                    <a:lnTo>
                      <a:pt x="57" y="0"/>
                    </a:lnTo>
                    <a:lnTo>
                      <a:pt x="34" y="4"/>
                    </a:lnTo>
                    <a:lnTo>
                      <a:pt x="10" y="7"/>
                    </a:lnTo>
                    <a:lnTo>
                      <a:pt x="7" y="1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34" name="Freeform 264">
                <a:extLst>
                  <a:ext uri="{FF2B5EF4-FFF2-40B4-BE49-F238E27FC236}">
                    <a16:creationId xmlns:a16="http://schemas.microsoft.com/office/drawing/2014/main" id="{789D0ECF-FFF0-7A8A-FD6C-DAAC19E0EF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14" y="3653"/>
                <a:ext cx="86" cy="96"/>
              </a:xfrm>
              <a:custGeom>
                <a:avLst/>
                <a:gdLst>
                  <a:gd name="T0" fmla="*/ 65 w 195"/>
                  <a:gd name="T1" fmla="*/ 21 h 220"/>
                  <a:gd name="T2" fmla="*/ 65 w 195"/>
                  <a:gd name="T3" fmla="*/ 18 h 220"/>
                  <a:gd name="T4" fmla="*/ 57 w 195"/>
                  <a:gd name="T5" fmla="*/ 13 h 220"/>
                  <a:gd name="T6" fmla="*/ 50 w 195"/>
                  <a:gd name="T7" fmla="*/ 9 h 220"/>
                  <a:gd name="T8" fmla="*/ 43 w 195"/>
                  <a:gd name="T9" fmla="*/ 4 h 220"/>
                  <a:gd name="T10" fmla="*/ 35 w 195"/>
                  <a:gd name="T11" fmla="*/ 0 h 220"/>
                  <a:gd name="T12" fmla="*/ 29 w 195"/>
                  <a:gd name="T13" fmla="*/ 0 h 220"/>
                  <a:gd name="T14" fmla="*/ 22 w 195"/>
                  <a:gd name="T15" fmla="*/ 0 h 220"/>
                  <a:gd name="T16" fmla="*/ 15 w 195"/>
                  <a:gd name="T17" fmla="*/ 0 h 220"/>
                  <a:gd name="T18" fmla="*/ 8 w 195"/>
                  <a:gd name="T19" fmla="*/ 0 h 220"/>
                  <a:gd name="T20" fmla="*/ 11 w 195"/>
                  <a:gd name="T21" fmla="*/ 11 h 220"/>
                  <a:gd name="T22" fmla="*/ 9 w 195"/>
                  <a:gd name="T23" fmla="*/ 12 h 220"/>
                  <a:gd name="T24" fmla="*/ 9 w 195"/>
                  <a:gd name="T25" fmla="*/ 17 h 220"/>
                  <a:gd name="T26" fmla="*/ 11 w 195"/>
                  <a:gd name="T27" fmla="*/ 20 h 220"/>
                  <a:gd name="T28" fmla="*/ 7 w 195"/>
                  <a:gd name="T29" fmla="*/ 25 h 220"/>
                  <a:gd name="T30" fmla="*/ 1 w 195"/>
                  <a:gd name="T31" fmla="*/ 31 h 220"/>
                  <a:gd name="T32" fmla="*/ 0 w 195"/>
                  <a:gd name="T33" fmla="*/ 31 h 220"/>
                  <a:gd name="T34" fmla="*/ 0 w 195"/>
                  <a:gd name="T35" fmla="*/ 38 h 220"/>
                  <a:gd name="T36" fmla="*/ 0 w 195"/>
                  <a:gd name="T37" fmla="*/ 44 h 220"/>
                  <a:gd name="T38" fmla="*/ 4 w 195"/>
                  <a:gd name="T39" fmla="*/ 52 h 220"/>
                  <a:gd name="T40" fmla="*/ 7 w 195"/>
                  <a:gd name="T41" fmla="*/ 58 h 220"/>
                  <a:gd name="T42" fmla="*/ 10 w 195"/>
                  <a:gd name="T43" fmla="*/ 65 h 220"/>
                  <a:gd name="T44" fmla="*/ 11 w 195"/>
                  <a:gd name="T45" fmla="*/ 66 h 220"/>
                  <a:gd name="T46" fmla="*/ 19 w 195"/>
                  <a:gd name="T47" fmla="*/ 71 h 220"/>
                  <a:gd name="T48" fmla="*/ 27 w 195"/>
                  <a:gd name="T49" fmla="*/ 76 h 220"/>
                  <a:gd name="T50" fmla="*/ 35 w 195"/>
                  <a:gd name="T51" fmla="*/ 77 h 220"/>
                  <a:gd name="T52" fmla="*/ 37 w 195"/>
                  <a:gd name="T53" fmla="*/ 79 h 220"/>
                  <a:gd name="T54" fmla="*/ 40 w 195"/>
                  <a:gd name="T55" fmla="*/ 88 h 220"/>
                  <a:gd name="T56" fmla="*/ 43 w 195"/>
                  <a:gd name="T57" fmla="*/ 96 h 220"/>
                  <a:gd name="T58" fmla="*/ 45 w 195"/>
                  <a:gd name="T59" fmla="*/ 96 h 220"/>
                  <a:gd name="T60" fmla="*/ 50 w 195"/>
                  <a:gd name="T61" fmla="*/ 96 h 220"/>
                  <a:gd name="T62" fmla="*/ 59 w 195"/>
                  <a:gd name="T63" fmla="*/ 96 h 220"/>
                  <a:gd name="T64" fmla="*/ 65 w 195"/>
                  <a:gd name="T65" fmla="*/ 94 h 220"/>
                  <a:gd name="T66" fmla="*/ 70 w 195"/>
                  <a:gd name="T67" fmla="*/ 94 h 220"/>
                  <a:gd name="T68" fmla="*/ 78 w 195"/>
                  <a:gd name="T69" fmla="*/ 89 h 220"/>
                  <a:gd name="T70" fmla="*/ 86 w 195"/>
                  <a:gd name="T71" fmla="*/ 85 h 220"/>
                  <a:gd name="T72" fmla="*/ 80 w 195"/>
                  <a:gd name="T73" fmla="*/ 79 h 220"/>
                  <a:gd name="T74" fmla="*/ 79 w 195"/>
                  <a:gd name="T75" fmla="*/ 72 h 220"/>
                  <a:gd name="T76" fmla="*/ 78 w 195"/>
                  <a:gd name="T77" fmla="*/ 64 h 220"/>
                  <a:gd name="T78" fmla="*/ 78 w 195"/>
                  <a:gd name="T79" fmla="*/ 62 h 220"/>
                  <a:gd name="T80" fmla="*/ 79 w 195"/>
                  <a:gd name="T81" fmla="*/ 53 h 220"/>
                  <a:gd name="T82" fmla="*/ 74 w 195"/>
                  <a:gd name="T83" fmla="*/ 45 h 220"/>
                  <a:gd name="T84" fmla="*/ 78 w 195"/>
                  <a:gd name="T85" fmla="*/ 33 h 220"/>
                  <a:gd name="T86" fmla="*/ 71 w 195"/>
                  <a:gd name="T87" fmla="*/ 27 h 220"/>
                  <a:gd name="T88" fmla="*/ 65 w 195"/>
                  <a:gd name="T89" fmla="*/ 21 h 22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95" h="220">
                    <a:moveTo>
                      <a:pt x="148" y="48"/>
                    </a:moveTo>
                    <a:lnTo>
                      <a:pt x="147" y="41"/>
                    </a:lnTo>
                    <a:lnTo>
                      <a:pt x="130" y="30"/>
                    </a:lnTo>
                    <a:lnTo>
                      <a:pt x="114" y="20"/>
                    </a:lnTo>
                    <a:lnTo>
                      <a:pt x="97" y="10"/>
                    </a:lnTo>
                    <a:lnTo>
                      <a:pt x="80" y="0"/>
                    </a:lnTo>
                    <a:lnTo>
                      <a:pt x="65" y="0"/>
                    </a:lnTo>
                    <a:lnTo>
                      <a:pt x="51" y="0"/>
                    </a:lnTo>
                    <a:lnTo>
                      <a:pt x="34" y="1"/>
                    </a:lnTo>
                    <a:lnTo>
                      <a:pt x="18" y="1"/>
                    </a:lnTo>
                    <a:lnTo>
                      <a:pt x="25" y="26"/>
                    </a:lnTo>
                    <a:lnTo>
                      <a:pt x="20" y="28"/>
                    </a:lnTo>
                    <a:lnTo>
                      <a:pt x="20" y="38"/>
                    </a:lnTo>
                    <a:lnTo>
                      <a:pt x="25" y="46"/>
                    </a:lnTo>
                    <a:lnTo>
                      <a:pt x="15" y="58"/>
                    </a:lnTo>
                    <a:lnTo>
                      <a:pt x="3" y="71"/>
                    </a:lnTo>
                    <a:lnTo>
                      <a:pt x="0" y="71"/>
                    </a:lnTo>
                    <a:lnTo>
                      <a:pt x="1" y="86"/>
                    </a:lnTo>
                    <a:lnTo>
                      <a:pt x="1" y="101"/>
                    </a:lnTo>
                    <a:lnTo>
                      <a:pt x="8" y="119"/>
                    </a:lnTo>
                    <a:lnTo>
                      <a:pt x="15" y="132"/>
                    </a:lnTo>
                    <a:lnTo>
                      <a:pt x="23" y="149"/>
                    </a:lnTo>
                    <a:lnTo>
                      <a:pt x="25" y="152"/>
                    </a:lnTo>
                    <a:lnTo>
                      <a:pt x="42" y="162"/>
                    </a:lnTo>
                    <a:lnTo>
                      <a:pt x="62" y="174"/>
                    </a:lnTo>
                    <a:lnTo>
                      <a:pt x="79" y="177"/>
                    </a:lnTo>
                    <a:lnTo>
                      <a:pt x="85" y="181"/>
                    </a:lnTo>
                    <a:lnTo>
                      <a:pt x="91" y="202"/>
                    </a:lnTo>
                    <a:lnTo>
                      <a:pt x="97" y="219"/>
                    </a:lnTo>
                    <a:lnTo>
                      <a:pt x="103" y="219"/>
                    </a:lnTo>
                    <a:lnTo>
                      <a:pt x="114" y="219"/>
                    </a:lnTo>
                    <a:lnTo>
                      <a:pt x="134" y="220"/>
                    </a:lnTo>
                    <a:lnTo>
                      <a:pt x="148" y="215"/>
                    </a:lnTo>
                    <a:lnTo>
                      <a:pt x="158" y="215"/>
                    </a:lnTo>
                    <a:lnTo>
                      <a:pt x="176" y="205"/>
                    </a:lnTo>
                    <a:lnTo>
                      <a:pt x="195" y="195"/>
                    </a:lnTo>
                    <a:lnTo>
                      <a:pt x="182" y="182"/>
                    </a:lnTo>
                    <a:lnTo>
                      <a:pt x="179" y="164"/>
                    </a:lnTo>
                    <a:lnTo>
                      <a:pt x="176" y="146"/>
                    </a:lnTo>
                    <a:lnTo>
                      <a:pt x="176" y="141"/>
                    </a:lnTo>
                    <a:lnTo>
                      <a:pt x="179" y="121"/>
                    </a:lnTo>
                    <a:lnTo>
                      <a:pt x="167" y="104"/>
                    </a:lnTo>
                    <a:lnTo>
                      <a:pt x="176" y="76"/>
                    </a:lnTo>
                    <a:lnTo>
                      <a:pt x="162" y="61"/>
                    </a:lnTo>
                    <a:lnTo>
                      <a:pt x="148" y="4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35" name="Freeform 265">
                <a:extLst>
                  <a:ext uri="{FF2B5EF4-FFF2-40B4-BE49-F238E27FC236}">
                    <a16:creationId xmlns:a16="http://schemas.microsoft.com/office/drawing/2014/main" id="{78031FFC-A93A-CD96-1CD8-8AE8B45E01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91" y="3697"/>
                <a:ext cx="3" cy="5"/>
              </a:xfrm>
              <a:custGeom>
                <a:avLst/>
                <a:gdLst>
                  <a:gd name="T0" fmla="*/ 3 w 7"/>
                  <a:gd name="T1" fmla="*/ 5 h 12"/>
                  <a:gd name="T2" fmla="*/ 1 w 7"/>
                  <a:gd name="T3" fmla="*/ 0 h 12"/>
                  <a:gd name="T4" fmla="*/ 0 w 7"/>
                  <a:gd name="T5" fmla="*/ 1 h 12"/>
                  <a:gd name="T6" fmla="*/ 3 w 7"/>
                  <a:gd name="T7" fmla="*/ 5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7" y="1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36" name="Freeform 266">
                <a:extLst>
                  <a:ext uri="{FF2B5EF4-FFF2-40B4-BE49-F238E27FC236}">
                    <a16:creationId xmlns:a16="http://schemas.microsoft.com/office/drawing/2014/main" id="{364F00D4-71E0-7452-2F1C-C91795C84EA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15" y="3607"/>
                <a:ext cx="43" cy="51"/>
              </a:xfrm>
              <a:custGeom>
                <a:avLst/>
                <a:gdLst>
                  <a:gd name="T0" fmla="*/ 39 w 97"/>
                  <a:gd name="T1" fmla="*/ 7 h 116"/>
                  <a:gd name="T2" fmla="*/ 34 w 97"/>
                  <a:gd name="T3" fmla="*/ 0 h 116"/>
                  <a:gd name="T4" fmla="*/ 31 w 97"/>
                  <a:gd name="T5" fmla="*/ 4 h 116"/>
                  <a:gd name="T6" fmla="*/ 22 w 97"/>
                  <a:gd name="T7" fmla="*/ 4 h 116"/>
                  <a:gd name="T8" fmla="*/ 18 w 97"/>
                  <a:gd name="T9" fmla="*/ 5 h 116"/>
                  <a:gd name="T10" fmla="*/ 16 w 97"/>
                  <a:gd name="T11" fmla="*/ 4 h 116"/>
                  <a:gd name="T12" fmla="*/ 10 w 97"/>
                  <a:gd name="T13" fmla="*/ 4 h 116"/>
                  <a:gd name="T14" fmla="*/ 10 w 97"/>
                  <a:gd name="T15" fmla="*/ 7 h 116"/>
                  <a:gd name="T16" fmla="*/ 10 w 97"/>
                  <a:gd name="T17" fmla="*/ 15 h 116"/>
                  <a:gd name="T18" fmla="*/ 14 w 97"/>
                  <a:gd name="T19" fmla="*/ 19 h 116"/>
                  <a:gd name="T20" fmla="*/ 9 w 97"/>
                  <a:gd name="T21" fmla="*/ 24 h 116"/>
                  <a:gd name="T22" fmla="*/ 4 w 97"/>
                  <a:gd name="T23" fmla="*/ 30 h 116"/>
                  <a:gd name="T24" fmla="*/ 2 w 97"/>
                  <a:gd name="T25" fmla="*/ 41 h 116"/>
                  <a:gd name="T26" fmla="*/ 0 w 97"/>
                  <a:gd name="T27" fmla="*/ 51 h 116"/>
                  <a:gd name="T28" fmla="*/ 2 w 97"/>
                  <a:gd name="T29" fmla="*/ 51 h 116"/>
                  <a:gd name="T30" fmla="*/ 7 w 97"/>
                  <a:gd name="T31" fmla="*/ 48 h 116"/>
                  <a:gd name="T32" fmla="*/ 14 w 97"/>
                  <a:gd name="T33" fmla="*/ 48 h 116"/>
                  <a:gd name="T34" fmla="*/ 20 w 97"/>
                  <a:gd name="T35" fmla="*/ 47 h 116"/>
                  <a:gd name="T36" fmla="*/ 27 w 97"/>
                  <a:gd name="T37" fmla="*/ 47 h 116"/>
                  <a:gd name="T38" fmla="*/ 34 w 97"/>
                  <a:gd name="T39" fmla="*/ 47 h 116"/>
                  <a:gd name="T40" fmla="*/ 34 w 97"/>
                  <a:gd name="T41" fmla="*/ 37 h 116"/>
                  <a:gd name="T42" fmla="*/ 40 w 97"/>
                  <a:gd name="T43" fmla="*/ 28 h 116"/>
                  <a:gd name="T44" fmla="*/ 43 w 97"/>
                  <a:gd name="T45" fmla="*/ 21 h 116"/>
                  <a:gd name="T46" fmla="*/ 40 w 97"/>
                  <a:gd name="T47" fmla="*/ 14 h 116"/>
                  <a:gd name="T48" fmla="*/ 39 w 97"/>
                  <a:gd name="T49" fmla="*/ 7 h 11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97" h="116">
                    <a:moveTo>
                      <a:pt x="87" y="16"/>
                    </a:moveTo>
                    <a:lnTo>
                      <a:pt x="77" y="0"/>
                    </a:lnTo>
                    <a:lnTo>
                      <a:pt x="70" y="10"/>
                    </a:lnTo>
                    <a:lnTo>
                      <a:pt x="49" y="10"/>
                    </a:lnTo>
                    <a:lnTo>
                      <a:pt x="40" y="11"/>
                    </a:lnTo>
                    <a:lnTo>
                      <a:pt x="37" y="10"/>
                    </a:lnTo>
                    <a:lnTo>
                      <a:pt x="23" y="10"/>
                    </a:lnTo>
                    <a:lnTo>
                      <a:pt x="22" y="15"/>
                    </a:lnTo>
                    <a:lnTo>
                      <a:pt x="22" y="33"/>
                    </a:lnTo>
                    <a:lnTo>
                      <a:pt x="31" y="43"/>
                    </a:lnTo>
                    <a:lnTo>
                      <a:pt x="20" y="54"/>
                    </a:lnTo>
                    <a:lnTo>
                      <a:pt x="8" y="69"/>
                    </a:lnTo>
                    <a:lnTo>
                      <a:pt x="5" y="93"/>
                    </a:lnTo>
                    <a:lnTo>
                      <a:pt x="0" y="116"/>
                    </a:lnTo>
                    <a:lnTo>
                      <a:pt x="5" y="116"/>
                    </a:lnTo>
                    <a:lnTo>
                      <a:pt x="15" y="109"/>
                    </a:lnTo>
                    <a:lnTo>
                      <a:pt x="31" y="109"/>
                    </a:lnTo>
                    <a:lnTo>
                      <a:pt x="46" y="107"/>
                    </a:lnTo>
                    <a:lnTo>
                      <a:pt x="62" y="107"/>
                    </a:lnTo>
                    <a:lnTo>
                      <a:pt x="77" y="107"/>
                    </a:lnTo>
                    <a:lnTo>
                      <a:pt x="77" y="84"/>
                    </a:lnTo>
                    <a:lnTo>
                      <a:pt x="90" y="64"/>
                    </a:lnTo>
                    <a:lnTo>
                      <a:pt x="97" y="48"/>
                    </a:lnTo>
                    <a:lnTo>
                      <a:pt x="91" y="31"/>
                    </a:lnTo>
                    <a:lnTo>
                      <a:pt x="87" y="1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37" name="Freeform 267">
                <a:extLst>
                  <a:ext uri="{FF2B5EF4-FFF2-40B4-BE49-F238E27FC236}">
                    <a16:creationId xmlns:a16="http://schemas.microsoft.com/office/drawing/2014/main" id="{B2E5BAAC-96BB-38F6-FF4C-75A43B65C5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76" y="3596"/>
                <a:ext cx="153" cy="169"/>
              </a:xfrm>
              <a:custGeom>
                <a:avLst/>
                <a:gdLst>
                  <a:gd name="T0" fmla="*/ 136 w 347"/>
                  <a:gd name="T1" fmla="*/ 67 h 386"/>
                  <a:gd name="T2" fmla="*/ 134 w 347"/>
                  <a:gd name="T3" fmla="*/ 72 h 386"/>
                  <a:gd name="T4" fmla="*/ 137 w 347"/>
                  <a:gd name="T5" fmla="*/ 81 h 386"/>
                  <a:gd name="T6" fmla="*/ 138 w 347"/>
                  <a:gd name="T7" fmla="*/ 94 h 386"/>
                  <a:gd name="T8" fmla="*/ 142 w 347"/>
                  <a:gd name="T9" fmla="*/ 109 h 386"/>
                  <a:gd name="T10" fmla="*/ 148 w 347"/>
                  <a:gd name="T11" fmla="*/ 122 h 386"/>
                  <a:gd name="T12" fmla="*/ 133 w 347"/>
                  <a:gd name="T13" fmla="*/ 125 h 386"/>
                  <a:gd name="T14" fmla="*/ 131 w 347"/>
                  <a:gd name="T15" fmla="*/ 139 h 386"/>
                  <a:gd name="T16" fmla="*/ 129 w 347"/>
                  <a:gd name="T17" fmla="*/ 155 h 386"/>
                  <a:gd name="T18" fmla="*/ 139 w 347"/>
                  <a:gd name="T19" fmla="*/ 157 h 386"/>
                  <a:gd name="T20" fmla="*/ 136 w 347"/>
                  <a:gd name="T21" fmla="*/ 168 h 386"/>
                  <a:gd name="T22" fmla="*/ 127 w 347"/>
                  <a:gd name="T23" fmla="*/ 159 h 386"/>
                  <a:gd name="T24" fmla="*/ 118 w 347"/>
                  <a:gd name="T25" fmla="*/ 152 h 386"/>
                  <a:gd name="T26" fmla="*/ 104 w 347"/>
                  <a:gd name="T27" fmla="*/ 152 h 386"/>
                  <a:gd name="T28" fmla="*/ 96 w 347"/>
                  <a:gd name="T29" fmla="*/ 150 h 386"/>
                  <a:gd name="T30" fmla="*/ 87 w 347"/>
                  <a:gd name="T31" fmla="*/ 147 h 386"/>
                  <a:gd name="T32" fmla="*/ 80 w 347"/>
                  <a:gd name="T33" fmla="*/ 145 h 386"/>
                  <a:gd name="T34" fmla="*/ 77 w 347"/>
                  <a:gd name="T35" fmla="*/ 125 h 386"/>
                  <a:gd name="T36" fmla="*/ 67 w 347"/>
                  <a:gd name="T37" fmla="*/ 114 h 386"/>
                  <a:gd name="T38" fmla="*/ 59 w 347"/>
                  <a:gd name="T39" fmla="*/ 111 h 386"/>
                  <a:gd name="T40" fmla="*/ 47 w 347"/>
                  <a:gd name="T41" fmla="*/ 121 h 386"/>
                  <a:gd name="T42" fmla="*/ 38 w 347"/>
                  <a:gd name="T43" fmla="*/ 110 h 386"/>
                  <a:gd name="T44" fmla="*/ 29 w 347"/>
                  <a:gd name="T45" fmla="*/ 102 h 386"/>
                  <a:gd name="T46" fmla="*/ 15 w 347"/>
                  <a:gd name="T47" fmla="*/ 102 h 386"/>
                  <a:gd name="T48" fmla="*/ 2 w 347"/>
                  <a:gd name="T49" fmla="*/ 102 h 386"/>
                  <a:gd name="T50" fmla="*/ 4 w 347"/>
                  <a:gd name="T51" fmla="*/ 99 h 386"/>
                  <a:gd name="T52" fmla="*/ 7 w 347"/>
                  <a:gd name="T53" fmla="*/ 90 h 386"/>
                  <a:gd name="T54" fmla="*/ 15 w 347"/>
                  <a:gd name="T55" fmla="*/ 88 h 386"/>
                  <a:gd name="T56" fmla="*/ 20 w 347"/>
                  <a:gd name="T57" fmla="*/ 92 h 386"/>
                  <a:gd name="T58" fmla="*/ 32 w 347"/>
                  <a:gd name="T59" fmla="*/ 80 h 386"/>
                  <a:gd name="T60" fmla="*/ 34 w 347"/>
                  <a:gd name="T61" fmla="*/ 66 h 386"/>
                  <a:gd name="T62" fmla="*/ 45 w 347"/>
                  <a:gd name="T63" fmla="*/ 51 h 386"/>
                  <a:gd name="T64" fmla="*/ 47 w 347"/>
                  <a:gd name="T65" fmla="*/ 37 h 386"/>
                  <a:gd name="T66" fmla="*/ 50 w 347"/>
                  <a:gd name="T67" fmla="*/ 24 h 386"/>
                  <a:gd name="T68" fmla="*/ 51 w 347"/>
                  <a:gd name="T69" fmla="*/ 10 h 386"/>
                  <a:gd name="T70" fmla="*/ 66 w 347"/>
                  <a:gd name="T71" fmla="*/ 6 h 386"/>
                  <a:gd name="T72" fmla="*/ 81 w 347"/>
                  <a:gd name="T73" fmla="*/ 10 h 386"/>
                  <a:gd name="T74" fmla="*/ 88 w 347"/>
                  <a:gd name="T75" fmla="*/ 6 h 386"/>
                  <a:gd name="T76" fmla="*/ 102 w 347"/>
                  <a:gd name="T77" fmla="*/ 4 h 386"/>
                  <a:gd name="T78" fmla="*/ 112 w 347"/>
                  <a:gd name="T79" fmla="*/ 0 h 386"/>
                  <a:gd name="T80" fmla="*/ 122 w 347"/>
                  <a:gd name="T81" fmla="*/ 2 h 386"/>
                  <a:gd name="T82" fmla="*/ 131 w 347"/>
                  <a:gd name="T83" fmla="*/ 8 h 386"/>
                  <a:gd name="T84" fmla="*/ 138 w 347"/>
                  <a:gd name="T85" fmla="*/ 6 h 386"/>
                  <a:gd name="T86" fmla="*/ 149 w 347"/>
                  <a:gd name="T87" fmla="*/ 17 h 386"/>
                  <a:gd name="T88" fmla="*/ 153 w 347"/>
                  <a:gd name="T89" fmla="*/ 28 h 386"/>
                  <a:gd name="T90" fmla="*/ 143 w 347"/>
                  <a:gd name="T91" fmla="*/ 40 h 386"/>
                  <a:gd name="T92" fmla="*/ 139 w 347"/>
                  <a:gd name="T93" fmla="*/ 61 h 38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347" h="386">
                    <a:moveTo>
                      <a:pt x="316" y="139"/>
                    </a:moveTo>
                    <a:lnTo>
                      <a:pt x="308" y="152"/>
                    </a:lnTo>
                    <a:lnTo>
                      <a:pt x="305" y="164"/>
                    </a:lnTo>
                    <a:lnTo>
                      <a:pt x="305" y="165"/>
                    </a:lnTo>
                    <a:lnTo>
                      <a:pt x="305" y="167"/>
                    </a:lnTo>
                    <a:lnTo>
                      <a:pt x="310" y="184"/>
                    </a:lnTo>
                    <a:lnTo>
                      <a:pt x="313" y="200"/>
                    </a:lnTo>
                    <a:lnTo>
                      <a:pt x="314" y="215"/>
                    </a:lnTo>
                    <a:lnTo>
                      <a:pt x="314" y="232"/>
                    </a:lnTo>
                    <a:lnTo>
                      <a:pt x="321" y="250"/>
                    </a:lnTo>
                    <a:lnTo>
                      <a:pt x="328" y="261"/>
                    </a:lnTo>
                    <a:lnTo>
                      <a:pt x="336" y="278"/>
                    </a:lnTo>
                    <a:lnTo>
                      <a:pt x="319" y="283"/>
                    </a:lnTo>
                    <a:lnTo>
                      <a:pt x="302" y="286"/>
                    </a:lnTo>
                    <a:lnTo>
                      <a:pt x="293" y="301"/>
                    </a:lnTo>
                    <a:lnTo>
                      <a:pt x="296" y="318"/>
                    </a:lnTo>
                    <a:lnTo>
                      <a:pt x="294" y="336"/>
                    </a:lnTo>
                    <a:lnTo>
                      <a:pt x="293" y="354"/>
                    </a:lnTo>
                    <a:lnTo>
                      <a:pt x="311" y="366"/>
                    </a:lnTo>
                    <a:lnTo>
                      <a:pt x="316" y="359"/>
                    </a:lnTo>
                    <a:lnTo>
                      <a:pt x="313" y="386"/>
                    </a:lnTo>
                    <a:lnTo>
                      <a:pt x="308" y="384"/>
                    </a:lnTo>
                    <a:lnTo>
                      <a:pt x="300" y="384"/>
                    </a:lnTo>
                    <a:lnTo>
                      <a:pt x="287" y="364"/>
                    </a:lnTo>
                    <a:lnTo>
                      <a:pt x="276" y="358"/>
                    </a:lnTo>
                    <a:lnTo>
                      <a:pt x="268" y="348"/>
                    </a:lnTo>
                    <a:lnTo>
                      <a:pt x="260" y="358"/>
                    </a:lnTo>
                    <a:lnTo>
                      <a:pt x="235" y="348"/>
                    </a:lnTo>
                    <a:lnTo>
                      <a:pt x="234" y="341"/>
                    </a:lnTo>
                    <a:lnTo>
                      <a:pt x="218" y="343"/>
                    </a:lnTo>
                    <a:lnTo>
                      <a:pt x="212" y="333"/>
                    </a:lnTo>
                    <a:lnTo>
                      <a:pt x="197" y="336"/>
                    </a:lnTo>
                    <a:lnTo>
                      <a:pt x="181" y="339"/>
                    </a:lnTo>
                    <a:lnTo>
                      <a:pt x="181" y="331"/>
                    </a:lnTo>
                    <a:lnTo>
                      <a:pt x="177" y="310"/>
                    </a:lnTo>
                    <a:lnTo>
                      <a:pt x="175" y="286"/>
                    </a:lnTo>
                    <a:lnTo>
                      <a:pt x="175" y="261"/>
                    </a:lnTo>
                    <a:lnTo>
                      <a:pt x="152" y="260"/>
                    </a:lnTo>
                    <a:lnTo>
                      <a:pt x="152" y="255"/>
                    </a:lnTo>
                    <a:lnTo>
                      <a:pt x="133" y="253"/>
                    </a:lnTo>
                    <a:lnTo>
                      <a:pt x="130" y="273"/>
                    </a:lnTo>
                    <a:lnTo>
                      <a:pt x="107" y="276"/>
                    </a:lnTo>
                    <a:lnTo>
                      <a:pt x="96" y="270"/>
                    </a:lnTo>
                    <a:lnTo>
                      <a:pt x="87" y="251"/>
                    </a:lnTo>
                    <a:lnTo>
                      <a:pt x="79" y="232"/>
                    </a:lnTo>
                    <a:lnTo>
                      <a:pt x="65" y="232"/>
                    </a:lnTo>
                    <a:lnTo>
                      <a:pt x="50" y="232"/>
                    </a:lnTo>
                    <a:lnTo>
                      <a:pt x="34" y="232"/>
                    </a:lnTo>
                    <a:lnTo>
                      <a:pt x="19" y="232"/>
                    </a:lnTo>
                    <a:lnTo>
                      <a:pt x="5" y="232"/>
                    </a:lnTo>
                    <a:lnTo>
                      <a:pt x="0" y="228"/>
                    </a:lnTo>
                    <a:lnTo>
                      <a:pt x="8" y="227"/>
                    </a:lnTo>
                    <a:lnTo>
                      <a:pt x="8" y="210"/>
                    </a:lnTo>
                    <a:lnTo>
                      <a:pt x="17" y="205"/>
                    </a:lnTo>
                    <a:lnTo>
                      <a:pt x="27" y="208"/>
                    </a:lnTo>
                    <a:lnTo>
                      <a:pt x="33" y="202"/>
                    </a:lnTo>
                    <a:lnTo>
                      <a:pt x="42" y="200"/>
                    </a:lnTo>
                    <a:lnTo>
                      <a:pt x="45" y="210"/>
                    </a:lnTo>
                    <a:lnTo>
                      <a:pt x="59" y="195"/>
                    </a:lnTo>
                    <a:lnTo>
                      <a:pt x="73" y="182"/>
                    </a:lnTo>
                    <a:lnTo>
                      <a:pt x="75" y="167"/>
                    </a:lnTo>
                    <a:lnTo>
                      <a:pt x="76" y="150"/>
                    </a:lnTo>
                    <a:lnTo>
                      <a:pt x="90" y="134"/>
                    </a:lnTo>
                    <a:lnTo>
                      <a:pt x="102" y="117"/>
                    </a:lnTo>
                    <a:lnTo>
                      <a:pt x="105" y="102"/>
                    </a:lnTo>
                    <a:lnTo>
                      <a:pt x="107" y="84"/>
                    </a:lnTo>
                    <a:lnTo>
                      <a:pt x="110" y="69"/>
                    </a:lnTo>
                    <a:lnTo>
                      <a:pt x="113" y="54"/>
                    </a:lnTo>
                    <a:lnTo>
                      <a:pt x="116" y="38"/>
                    </a:lnTo>
                    <a:lnTo>
                      <a:pt x="116" y="23"/>
                    </a:lnTo>
                    <a:lnTo>
                      <a:pt x="130" y="3"/>
                    </a:lnTo>
                    <a:lnTo>
                      <a:pt x="150" y="13"/>
                    </a:lnTo>
                    <a:lnTo>
                      <a:pt x="167" y="19"/>
                    </a:lnTo>
                    <a:lnTo>
                      <a:pt x="184" y="23"/>
                    </a:lnTo>
                    <a:lnTo>
                      <a:pt x="194" y="13"/>
                    </a:lnTo>
                    <a:lnTo>
                      <a:pt x="200" y="13"/>
                    </a:lnTo>
                    <a:lnTo>
                      <a:pt x="218" y="8"/>
                    </a:lnTo>
                    <a:lnTo>
                      <a:pt x="232" y="8"/>
                    </a:lnTo>
                    <a:lnTo>
                      <a:pt x="237" y="0"/>
                    </a:lnTo>
                    <a:lnTo>
                      <a:pt x="254" y="1"/>
                    </a:lnTo>
                    <a:lnTo>
                      <a:pt x="268" y="3"/>
                    </a:lnTo>
                    <a:lnTo>
                      <a:pt x="277" y="5"/>
                    </a:lnTo>
                    <a:lnTo>
                      <a:pt x="282" y="9"/>
                    </a:lnTo>
                    <a:lnTo>
                      <a:pt x="296" y="19"/>
                    </a:lnTo>
                    <a:lnTo>
                      <a:pt x="305" y="18"/>
                    </a:lnTo>
                    <a:lnTo>
                      <a:pt x="314" y="13"/>
                    </a:lnTo>
                    <a:lnTo>
                      <a:pt x="327" y="24"/>
                    </a:lnTo>
                    <a:lnTo>
                      <a:pt x="339" y="38"/>
                    </a:lnTo>
                    <a:lnTo>
                      <a:pt x="338" y="54"/>
                    </a:lnTo>
                    <a:lnTo>
                      <a:pt x="347" y="64"/>
                    </a:lnTo>
                    <a:lnTo>
                      <a:pt x="336" y="77"/>
                    </a:lnTo>
                    <a:lnTo>
                      <a:pt x="324" y="91"/>
                    </a:lnTo>
                    <a:lnTo>
                      <a:pt x="321" y="116"/>
                    </a:lnTo>
                    <a:lnTo>
                      <a:pt x="316" y="13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38" name="Freeform 268">
                <a:extLst>
                  <a:ext uri="{FF2B5EF4-FFF2-40B4-BE49-F238E27FC236}">
                    <a16:creationId xmlns:a16="http://schemas.microsoft.com/office/drawing/2014/main" id="{41CA7333-FF16-3179-1C87-47CC52AB63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52" y="3719"/>
                <a:ext cx="95" cy="88"/>
              </a:xfrm>
              <a:custGeom>
                <a:avLst/>
                <a:gdLst>
                  <a:gd name="T0" fmla="*/ 17 w 213"/>
                  <a:gd name="T1" fmla="*/ 42 h 204"/>
                  <a:gd name="T2" fmla="*/ 9 w 213"/>
                  <a:gd name="T3" fmla="*/ 42 h 204"/>
                  <a:gd name="T4" fmla="*/ 0 w 213"/>
                  <a:gd name="T5" fmla="*/ 43 h 204"/>
                  <a:gd name="T6" fmla="*/ 0 w 213"/>
                  <a:gd name="T7" fmla="*/ 50 h 204"/>
                  <a:gd name="T8" fmla="*/ 0 w 213"/>
                  <a:gd name="T9" fmla="*/ 57 h 204"/>
                  <a:gd name="T10" fmla="*/ 0 w 213"/>
                  <a:gd name="T11" fmla="*/ 64 h 204"/>
                  <a:gd name="T12" fmla="*/ 0 w 213"/>
                  <a:gd name="T13" fmla="*/ 71 h 204"/>
                  <a:gd name="T14" fmla="*/ 5 w 213"/>
                  <a:gd name="T15" fmla="*/ 77 h 204"/>
                  <a:gd name="T16" fmla="*/ 11 w 213"/>
                  <a:gd name="T17" fmla="*/ 84 h 204"/>
                  <a:gd name="T18" fmla="*/ 17 w 213"/>
                  <a:gd name="T19" fmla="*/ 82 h 204"/>
                  <a:gd name="T20" fmla="*/ 25 w 213"/>
                  <a:gd name="T21" fmla="*/ 86 h 204"/>
                  <a:gd name="T22" fmla="*/ 37 w 213"/>
                  <a:gd name="T23" fmla="*/ 88 h 204"/>
                  <a:gd name="T24" fmla="*/ 45 w 213"/>
                  <a:gd name="T25" fmla="*/ 81 h 204"/>
                  <a:gd name="T26" fmla="*/ 53 w 213"/>
                  <a:gd name="T27" fmla="*/ 74 h 204"/>
                  <a:gd name="T28" fmla="*/ 56 w 213"/>
                  <a:gd name="T29" fmla="*/ 69 h 204"/>
                  <a:gd name="T30" fmla="*/ 61 w 213"/>
                  <a:gd name="T31" fmla="*/ 68 h 204"/>
                  <a:gd name="T32" fmla="*/ 67 w 213"/>
                  <a:gd name="T33" fmla="*/ 66 h 204"/>
                  <a:gd name="T34" fmla="*/ 66 w 213"/>
                  <a:gd name="T35" fmla="*/ 61 h 204"/>
                  <a:gd name="T36" fmla="*/ 72 w 213"/>
                  <a:gd name="T37" fmla="*/ 59 h 204"/>
                  <a:gd name="T38" fmla="*/ 78 w 213"/>
                  <a:gd name="T39" fmla="*/ 57 h 204"/>
                  <a:gd name="T40" fmla="*/ 85 w 213"/>
                  <a:gd name="T41" fmla="*/ 54 h 204"/>
                  <a:gd name="T42" fmla="*/ 91 w 213"/>
                  <a:gd name="T43" fmla="*/ 51 h 204"/>
                  <a:gd name="T44" fmla="*/ 87 w 213"/>
                  <a:gd name="T45" fmla="*/ 48 h 204"/>
                  <a:gd name="T46" fmla="*/ 91 w 213"/>
                  <a:gd name="T47" fmla="*/ 39 h 204"/>
                  <a:gd name="T48" fmla="*/ 92 w 213"/>
                  <a:gd name="T49" fmla="*/ 37 h 204"/>
                  <a:gd name="T50" fmla="*/ 92 w 213"/>
                  <a:gd name="T51" fmla="*/ 30 h 204"/>
                  <a:gd name="T52" fmla="*/ 93 w 213"/>
                  <a:gd name="T53" fmla="*/ 23 h 204"/>
                  <a:gd name="T54" fmla="*/ 95 w 213"/>
                  <a:gd name="T55" fmla="*/ 20 h 204"/>
                  <a:gd name="T56" fmla="*/ 90 w 213"/>
                  <a:gd name="T57" fmla="*/ 13 h 204"/>
                  <a:gd name="T58" fmla="*/ 90 w 213"/>
                  <a:gd name="T59" fmla="*/ 11 h 204"/>
                  <a:gd name="T60" fmla="*/ 81 w 213"/>
                  <a:gd name="T61" fmla="*/ 6 h 204"/>
                  <a:gd name="T62" fmla="*/ 73 w 213"/>
                  <a:gd name="T63" fmla="*/ 2 h 204"/>
                  <a:gd name="T64" fmla="*/ 72 w 213"/>
                  <a:gd name="T65" fmla="*/ 0 h 204"/>
                  <a:gd name="T66" fmla="*/ 65 w 213"/>
                  <a:gd name="T67" fmla="*/ 2 h 204"/>
                  <a:gd name="T68" fmla="*/ 57 w 213"/>
                  <a:gd name="T69" fmla="*/ 3 h 204"/>
                  <a:gd name="T70" fmla="*/ 53 w 213"/>
                  <a:gd name="T71" fmla="*/ 10 h 204"/>
                  <a:gd name="T72" fmla="*/ 54 w 213"/>
                  <a:gd name="T73" fmla="*/ 17 h 204"/>
                  <a:gd name="T74" fmla="*/ 54 w 213"/>
                  <a:gd name="T75" fmla="*/ 25 h 204"/>
                  <a:gd name="T76" fmla="*/ 53 w 213"/>
                  <a:gd name="T77" fmla="*/ 32 h 204"/>
                  <a:gd name="T78" fmla="*/ 61 w 213"/>
                  <a:gd name="T79" fmla="*/ 38 h 204"/>
                  <a:gd name="T80" fmla="*/ 63 w 213"/>
                  <a:gd name="T81" fmla="*/ 35 h 204"/>
                  <a:gd name="T82" fmla="*/ 62 w 213"/>
                  <a:gd name="T83" fmla="*/ 47 h 204"/>
                  <a:gd name="T84" fmla="*/ 60 w 213"/>
                  <a:gd name="T85" fmla="*/ 46 h 204"/>
                  <a:gd name="T86" fmla="*/ 56 w 213"/>
                  <a:gd name="T87" fmla="*/ 46 h 204"/>
                  <a:gd name="T88" fmla="*/ 50 w 213"/>
                  <a:gd name="T89" fmla="*/ 37 h 204"/>
                  <a:gd name="T90" fmla="*/ 45 w 213"/>
                  <a:gd name="T91" fmla="*/ 34 h 204"/>
                  <a:gd name="T92" fmla="*/ 41 w 213"/>
                  <a:gd name="T93" fmla="*/ 30 h 204"/>
                  <a:gd name="T94" fmla="*/ 38 w 213"/>
                  <a:gd name="T95" fmla="*/ 34 h 204"/>
                  <a:gd name="T96" fmla="*/ 27 w 213"/>
                  <a:gd name="T97" fmla="*/ 30 h 204"/>
                  <a:gd name="T98" fmla="*/ 27 w 213"/>
                  <a:gd name="T99" fmla="*/ 27 h 204"/>
                  <a:gd name="T100" fmla="*/ 20 w 213"/>
                  <a:gd name="T101" fmla="*/ 28 h 204"/>
                  <a:gd name="T102" fmla="*/ 17 w 213"/>
                  <a:gd name="T103" fmla="*/ 24 h 204"/>
                  <a:gd name="T104" fmla="*/ 17 w 213"/>
                  <a:gd name="T105" fmla="*/ 33 h 204"/>
                  <a:gd name="T106" fmla="*/ 17 w 213"/>
                  <a:gd name="T107" fmla="*/ 42 h 20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13" h="204">
                    <a:moveTo>
                      <a:pt x="38" y="98"/>
                    </a:moveTo>
                    <a:lnTo>
                      <a:pt x="20" y="98"/>
                    </a:lnTo>
                    <a:lnTo>
                      <a:pt x="1" y="99"/>
                    </a:lnTo>
                    <a:lnTo>
                      <a:pt x="1" y="116"/>
                    </a:lnTo>
                    <a:lnTo>
                      <a:pt x="1" y="131"/>
                    </a:lnTo>
                    <a:lnTo>
                      <a:pt x="1" y="148"/>
                    </a:lnTo>
                    <a:lnTo>
                      <a:pt x="0" y="164"/>
                    </a:lnTo>
                    <a:lnTo>
                      <a:pt x="12" y="179"/>
                    </a:lnTo>
                    <a:lnTo>
                      <a:pt x="24" y="194"/>
                    </a:lnTo>
                    <a:lnTo>
                      <a:pt x="38" y="191"/>
                    </a:lnTo>
                    <a:lnTo>
                      <a:pt x="57" y="199"/>
                    </a:lnTo>
                    <a:lnTo>
                      <a:pt x="83" y="204"/>
                    </a:lnTo>
                    <a:lnTo>
                      <a:pt x="100" y="187"/>
                    </a:lnTo>
                    <a:lnTo>
                      <a:pt x="119" y="172"/>
                    </a:lnTo>
                    <a:lnTo>
                      <a:pt x="125" y="159"/>
                    </a:lnTo>
                    <a:lnTo>
                      <a:pt x="137" y="157"/>
                    </a:lnTo>
                    <a:lnTo>
                      <a:pt x="150" y="153"/>
                    </a:lnTo>
                    <a:lnTo>
                      <a:pt x="148" y="141"/>
                    </a:lnTo>
                    <a:lnTo>
                      <a:pt x="162" y="136"/>
                    </a:lnTo>
                    <a:lnTo>
                      <a:pt x="176" y="131"/>
                    </a:lnTo>
                    <a:lnTo>
                      <a:pt x="190" y="126"/>
                    </a:lnTo>
                    <a:lnTo>
                      <a:pt x="204" y="119"/>
                    </a:lnTo>
                    <a:lnTo>
                      <a:pt x="195" y="111"/>
                    </a:lnTo>
                    <a:lnTo>
                      <a:pt x="205" y="90"/>
                    </a:lnTo>
                    <a:lnTo>
                      <a:pt x="207" y="85"/>
                    </a:lnTo>
                    <a:lnTo>
                      <a:pt x="207" y="70"/>
                    </a:lnTo>
                    <a:lnTo>
                      <a:pt x="208" y="53"/>
                    </a:lnTo>
                    <a:lnTo>
                      <a:pt x="213" y="46"/>
                    </a:lnTo>
                    <a:lnTo>
                      <a:pt x="201" y="30"/>
                    </a:lnTo>
                    <a:lnTo>
                      <a:pt x="201" y="25"/>
                    </a:lnTo>
                    <a:lnTo>
                      <a:pt x="181" y="13"/>
                    </a:lnTo>
                    <a:lnTo>
                      <a:pt x="164" y="5"/>
                    </a:lnTo>
                    <a:lnTo>
                      <a:pt x="162" y="0"/>
                    </a:lnTo>
                    <a:lnTo>
                      <a:pt x="145" y="5"/>
                    </a:lnTo>
                    <a:lnTo>
                      <a:pt x="128" y="8"/>
                    </a:lnTo>
                    <a:lnTo>
                      <a:pt x="119" y="23"/>
                    </a:lnTo>
                    <a:lnTo>
                      <a:pt x="122" y="40"/>
                    </a:lnTo>
                    <a:lnTo>
                      <a:pt x="120" y="58"/>
                    </a:lnTo>
                    <a:lnTo>
                      <a:pt x="119" y="75"/>
                    </a:lnTo>
                    <a:lnTo>
                      <a:pt x="137" y="88"/>
                    </a:lnTo>
                    <a:lnTo>
                      <a:pt x="142" y="81"/>
                    </a:lnTo>
                    <a:lnTo>
                      <a:pt x="139" y="108"/>
                    </a:lnTo>
                    <a:lnTo>
                      <a:pt x="134" y="106"/>
                    </a:lnTo>
                    <a:lnTo>
                      <a:pt x="126" y="106"/>
                    </a:lnTo>
                    <a:lnTo>
                      <a:pt x="113" y="86"/>
                    </a:lnTo>
                    <a:lnTo>
                      <a:pt x="102" y="78"/>
                    </a:lnTo>
                    <a:lnTo>
                      <a:pt x="92" y="70"/>
                    </a:lnTo>
                    <a:lnTo>
                      <a:pt x="86" y="78"/>
                    </a:lnTo>
                    <a:lnTo>
                      <a:pt x="61" y="70"/>
                    </a:lnTo>
                    <a:lnTo>
                      <a:pt x="60" y="63"/>
                    </a:lnTo>
                    <a:lnTo>
                      <a:pt x="44" y="65"/>
                    </a:lnTo>
                    <a:lnTo>
                      <a:pt x="38" y="55"/>
                    </a:lnTo>
                    <a:lnTo>
                      <a:pt x="38" y="76"/>
                    </a:lnTo>
                    <a:lnTo>
                      <a:pt x="38" y="9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39" name="Freeform 269">
                <a:extLst>
                  <a:ext uri="{FF2B5EF4-FFF2-40B4-BE49-F238E27FC236}">
                    <a16:creationId xmlns:a16="http://schemas.microsoft.com/office/drawing/2014/main" id="{81878615-8EEE-1A48-84AF-AD7AC559E6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78" y="3785"/>
                <a:ext cx="60" cy="60"/>
              </a:xfrm>
              <a:custGeom>
                <a:avLst/>
                <a:gdLst>
                  <a:gd name="T0" fmla="*/ 30 w 138"/>
                  <a:gd name="T1" fmla="*/ 58 h 139"/>
                  <a:gd name="T2" fmla="*/ 27 w 138"/>
                  <a:gd name="T3" fmla="*/ 56 h 139"/>
                  <a:gd name="T4" fmla="*/ 21 w 138"/>
                  <a:gd name="T5" fmla="*/ 53 h 139"/>
                  <a:gd name="T6" fmla="*/ 18 w 138"/>
                  <a:gd name="T7" fmla="*/ 46 h 139"/>
                  <a:gd name="T8" fmla="*/ 16 w 138"/>
                  <a:gd name="T9" fmla="*/ 43 h 139"/>
                  <a:gd name="T10" fmla="*/ 15 w 138"/>
                  <a:gd name="T11" fmla="*/ 41 h 139"/>
                  <a:gd name="T12" fmla="*/ 9 w 138"/>
                  <a:gd name="T13" fmla="*/ 36 h 139"/>
                  <a:gd name="T14" fmla="*/ 5 w 138"/>
                  <a:gd name="T15" fmla="*/ 28 h 139"/>
                  <a:gd name="T16" fmla="*/ 0 w 138"/>
                  <a:gd name="T17" fmla="*/ 20 h 139"/>
                  <a:gd name="T18" fmla="*/ 11 w 138"/>
                  <a:gd name="T19" fmla="*/ 22 h 139"/>
                  <a:gd name="T20" fmla="*/ 18 w 138"/>
                  <a:gd name="T21" fmla="*/ 15 h 139"/>
                  <a:gd name="T22" fmla="*/ 27 w 138"/>
                  <a:gd name="T23" fmla="*/ 8 h 139"/>
                  <a:gd name="T24" fmla="*/ 30 w 138"/>
                  <a:gd name="T25" fmla="*/ 3 h 139"/>
                  <a:gd name="T26" fmla="*/ 34 w 138"/>
                  <a:gd name="T27" fmla="*/ 2 h 139"/>
                  <a:gd name="T28" fmla="*/ 40 w 138"/>
                  <a:gd name="T29" fmla="*/ 0 h 139"/>
                  <a:gd name="T30" fmla="*/ 40 w 138"/>
                  <a:gd name="T31" fmla="*/ 3 h 139"/>
                  <a:gd name="T32" fmla="*/ 44 w 138"/>
                  <a:gd name="T33" fmla="*/ 3 h 139"/>
                  <a:gd name="T34" fmla="*/ 52 w 138"/>
                  <a:gd name="T35" fmla="*/ 6 h 139"/>
                  <a:gd name="T36" fmla="*/ 60 w 138"/>
                  <a:gd name="T37" fmla="*/ 9 h 139"/>
                  <a:gd name="T38" fmla="*/ 60 w 138"/>
                  <a:gd name="T39" fmla="*/ 21 h 139"/>
                  <a:gd name="T40" fmla="*/ 58 w 138"/>
                  <a:gd name="T41" fmla="*/ 28 h 139"/>
                  <a:gd name="T42" fmla="*/ 59 w 138"/>
                  <a:gd name="T43" fmla="*/ 36 h 139"/>
                  <a:gd name="T44" fmla="*/ 57 w 138"/>
                  <a:gd name="T45" fmla="*/ 44 h 139"/>
                  <a:gd name="T46" fmla="*/ 54 w 138"/>
                  <a:gd name="T47" fmla="*/ 51 h 139"/>
                  <a:gd name="T48" fmla="*/ 50 w 138"/>
                  <a:gd name="T49" fmla="*/ 55 h 139"/>
                  <a:gd name="T50" fmla="*/ 44 w 138"/>
                  <a:gd name="T51" fmla="*/ 60 h 139"/>
                  <a:gd name="T52" fmla="*/ 37 w 138"/>
                  <a:gd name="T53" fmla="*/ 59 h 139"/>
                  <a:gd name="T54" fmla="*/ 30 w 138"/>
                  <a:gd name="T55" fmla="*/ 58 h 139"/>
                  <a:gd name="T56" fmla="*/ 30 w 138"/>
                  <a:gd name="T57" fmla="*/ 58 h 13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38" h="139">
                    <a:moveTo>
                      <a:pt x="68" y="134"/>
                    </a:moveTo>
                    <a:lnTo>
                      <a:pt x="63" y="129"/>
                    </a:lnTo>
                    <a:lnTo>
                      <a:pt x="48" y="122"/>
                    </a:lnTo>
                    <a:lnTo>
                      <a:pt x="42" y="106"/>
                    </a:lnTo>
                    <a:lnTo>
                      <a:pt x="37" y="99"/>
                    </a:lnTo>
                    <a:lnTo>
                      <a:pt x="34" y="94"/>
                    </a:lnTo>
                    <a:lnTo>
                      <a:pt x="20" y="84"/>
                    </a:lnTo>
                    <a:lnTo>
                      <a:pt x="11" y="64"/>
                    </a:lnTo>
                    <a:lnTo>
                      <a:pt x="0" y="46"/>
                    </a:lnTo>
                    <a:lnTo>
                      <a:pt x="26" y="51"/>
                    </a:lnTo>
                    <a:lnTo>
                      <a:pt x="42" y="34"/>
                    </a:lnTo>
                    <a:lnTo>
                      <a:pt x="62" y="19"/>
                    </a:lnTo>
                    <a:lnTo>
                      <a:pt x="68" y="6"/>
                    </a:lnTo>
                    <a:lnTo>
                      <a:pt x="79" y="4"/>
                    </a:lnTo>
                    <a:lnTo>
                      <a:pt x="93" y="0"/>
                    </a:lnTo>
                    <a:lnTo>
                      <a:pt x="93" y="8"/>
                    </a:lnTo>
                    <a:lnTo>
                      <a:pt x="102" y="8"/>
                    </a:lnTo>
                    <a:lnTo>
                      <a:pt x="119" y="14"/>
                    </a:lnTo>
                    <a:lnTo>
                      <a:pt x="138" y="21"/>
                    </a:lnTo>
                    <a:lnTo>
                      <a:pt x="138" y="48"/>
                    </a:lnTo>
                    <a:lnTo>
                      <a:pt x="133" y="64"/>
                    </a:lnTo>
                    <a:lnTo>
                      <a:pt x="136" y="84"/>
                    </a:lnTo>
                    <a:lnTo>
                      <a:pt x="130" y="102"/>
                    </a:lnTo>
                    <a:lnTo>
                      <a:pt x="125" y="117"/>
                    </a:lnTo>
                    <a:lnTo>
                      <a:pt x="114" y="127"/>
                    </a:lnTo>
                    <a:lnTo>
                      <a:pt x="102" y="139"/>
                    </a:lnTo>
                    <a:lnTo>
                      <a:pt x="86" y="137"/>
                    </a:lnTo>
                    <a:lnTo>
                      <a:pt x="68" y="13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40" name="Freeform 270">
                <a:extLst>
                  <a:ext uri="{FF2B5EF4-FFF2-40B4-BE49-F238E27FC236}">
                    <a16:creationId xmlns:a16="http://schemas.microsoft.com/office/drawing/2014/main" id="{23DFF557-4238-1AB2-D854-8FF0E66CD5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3" y="3915"/>
                <a:ext cx="40" cy="43"/>
              </a:xfrm>
              <a:custGeom>
                <a:avLst/>
                <a:gdLst>
                  <a:gd name="T0" fmla="*/ 39 w 90"/>
                  <a:gd name="T1" fmla="*/ 22 h 98"/>
                  <a:gd name="T2" fmla="*/ 30 w 90"/>
                  <a:gd name="T3" fmla="*/ 16 h 98"/>
                  <a:gd name="T4" fmla="*/ 22 w 90"/>
                  <a:gd name="T5" fmla="*/ 10 h 98"/>
                  <a:gd name="T6" fmla="*/ 17 w 90"/>
                  <a:gd name="T7" fmla="*/ 8 h 98"/>
                  <a:gd name="T8" fmla="*/ 15 w 90"/>
                  <a:gd name="T9" fmla="*/ 7 h 98"/>
                  <a:gd name="T10" fmla="*/ 5 w 90"/>
                  <a:gd name="T11" fmla="*/ 0 h 98"/>
                  <a:gd name="T12" fmla="*/ 0 w 90"/>
                  <a:gd name="T13" fmla="*/ 1 h 98"/>
                  <a:gd name="T14" fmla="*/ 0 w 90"/>
                  <a:gd name="T15" fmla="*/ 2 h 98"/>
                  <a:gd name="T16" fmla="*/ 0 w 90"/>
                  <a:gd name="T17" fmla="*/ 11 h 98"/>
                  <a:gd name="T18" fmla="*/ 0 w 90"/>
                  <a:gd name="T19" fmla="*/ 21 h 98"/>
                  <a:gd name="T20" fmla="*/ 0 w 90"/>
                  <a:gd name="T21" fmla="*/ 22 h 98"/>
                  <a:gd name="T22" fmla="*/ 0 w 90"/>
                  <a:gd name="T23" fmla="*/ 30 h 98"/>
                  <a:gd name="T24" fmla="*/ 4 w 90"/>
                  <a:gd name="T25" fmla="*/ 37 h 98"/>
                  <a:gd name="T26" fmla="*/ 14 w 90"/>
                  <a:gd name="T27" fmla="*/ 41 h 98"/>
                  <a:gd name="T28" fmla="*/ 28 w 90"/>
                  <a:gd name="T29" fmla="*/ 43 h 98"/>
                  <a:gd name="T30" fmla="*/ 34 w 90"/>
                  <a:gd name="T31" fmla="*/ 40 h 98"/>
                  <a:gd name="T32" fmla="*/ 40 w 90"/>
                  <a:gd name="T33" fmla="*/ 32 h 98"/>
                  <a:gd name="T34" fmla="*/ 38 w 90"/>
                  <a:gd name="T35" fmla="*/ 26 h 98"/>
                  <a:gd name="T36" fmla="*/ 39 w 90"/>
                  <a:gd name="T37" fmla="*/ 22 h 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90" h="98">
                    <a:moveTo>
                      <a:pt x="88" y="50"/>
                    </a:moveTo>
                    <a:lnTo>
                      <a:pt x="68" y="36"/>
                    </a:lnTo>
                    <a:lnTo>
                      <a:pt x="49" y="23"/>
                    </a:lnTo>
                    <a:lnTo>
                      <a:pt x="39" y="18"/>
                    </a:lnTo>
                    <a:lnTo>
                      <a:pt x="34" y="16"/>
                    </a:lnTo>
                    <a:lnTo>
                      <a:pt x="11" y="0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1" y="26"/>
                    </a:lnTo>
                    <a:lnTo>
                      <a:pt x="1" y="48"/>
                    </a:lnTo>
                    <a:lnTo>
                      <a:pt x="1" y="50"/>
                    </a:lnTo>
                    <a:lnTo>
                      <a:pt x="0" y="68"/>
                    </a:lnTo>
                    <a:lnTo>
                      <a:pt x="9" y="84"/>
                    </a:lnTo>
                    <a:lnTo>
                      <a:pt x="31" y="93"/>
                    </a:lnTo>
                    <a:lnTo>
                      <a:pt x="62" y="98"/>
                    </a:lnTo>
                    <a:lnTo>
                      <a:pt x="77" y="91"/>
                    </a:lnTo>
                    <a:lnTo>
                      <a:pt x="90" y="73"/>
                    </a:lnTo>
                    <a:lnTo>
                      <a:pt x="85" y="60"/>
                    </a:lnTo>
                    <a:lnTo>
                      <a:pt x="88" y="5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41" name="Freeform 271">
                <a:extLst>
                  <a:ext uri="{FF2B5EF4-FFF2-40B4-BE49-F238E27FC236}">
                    <a16:creationId xmlns:a16="http://schemas.microsoft.com/office/drawing/2014/main" id="{C8B53634-90DA-DCBB-1329-347EBE38FE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38" y="3841"/>
                <a:ext cx="124" cy="273"/>
              </a:xfrm>
              <a:custGeom>
                <a:avLst/>
                <a:gdLst>
                  <a:gd name="T0" fmla="*/ 69 w 278"/>
                  <a:gd name="T1" fmla="*/ 173 h 623"/>
                  <a:gd name="T2" fmla="*/ 67 w 278"/>
                  <a:gd name="T3" fmla="*/ 184 h 623"/>
                  <a:gd name="T4" fmla="*/ 72 w 278"/>
                  <a:gd name="T5" fmla="*/ 184 h 623"/>
                  <a:gd name="T6" fmla="*/ 77 w 278"/>
                  <a:gd name="T7" fmla="*/ 190 h 623"/>
                  <a:gd name="T8" fmla="*/ 67 w 278"/>
                  <a:gd name="T9" fmla="*/ 188 h 623"/>
                  <a:gd name="T10" fmla="*/ 68 w 278"/>
                  <a:gd name="T11" fmla="*/ 198 h 623"/>
                  <a:gd name="T12" fmla="*/ 67 w 278"/>
                  <a:gd name="T13" fmla="*/ 209 h 623"/>
                  <a:gd name="T14" fmla="*/ 60 w 278"/>
                  <a:gd name="T15" fmla="*/ 222 h 623"/>
                  <a:gd name="T16" fmla="*/ 75 w 278"/>
                  <a:gd name="T17" fmla="*/ 230 h 623"/>
                  <a:gd name="T18" fmla="*/ 75 w 278"/>
                  <a:gd name="T19" fmla="*/ 235 h 623"/>
                  <a:gd name="T20" fmla="*/ 67 w 278"/>
                  <a:gd name="T21" fmla="*/ 246 h 623"/>
                  <a:gd name="T22" fmla="*/ 63 w 278"/>
                  <a:gd name="T23" fmla="*/ 252 h 623"/>
                  <a:gd name="T24" fmla="*/ 65 w 278"/>
                  <a:gd name="T25" fmla="*/ 254 h 623"/>
                  <a:gd name="T26" fmla="*/ 62 w 278"/>
                  <a:gd name="T27" fmla="*/ 262 h 623"/>
                  <a:gd name="T28" fmla="*/ 63 w 278"/>
                  <a:gd name="T29" fmla="*/ 267 h 623"/>
                  <a:gd name="T30" fmla="*/ 73 w 278"/>
                  <a:gd name="T31" fmla="*/ 273 h 623"/>
                  <a:gd name="T32" fmla="*/ 46 w 278"/>
                  <a:gd name="T33" fmla="*/ 269 h 623"/>
                  <a:gd name="T34" fmla="*/ 38 w 278"/>
                  <a:gd name="T35" fmla="*/ 258 h 623"/>
                  <a:gd name="T36" fmla="*/ 26 w 278"/>
                  <a:gd name="T37" fmla="*/ 246 h 623"/>
                  <a:gd name="T38" fmla="*/ 29 w 278"/>
                  <a:gd name="T39" fmla="*/ 230 h 623"/>
                  <a:gd name="T40" fmla="*/ 28 w 278"/>
                  <a:gd name="T41" fmla="*/ 212 h 623"/>
                  <a:gd name="T42" fmla="*/ 23 w 278"/>
                  <a:gd name="T43" fmla="*/ 207 h 623"/>
                  <a:gd name="T44" fmla="*/ 22 w 278"/>
                  <a:gd name="T45" fmla="*/ 201 h 623"/>
                  <a:gd name="T46" fmla="*/ 14 w 278"/>
                  <a:gd name="T47" fmla="*/ 188 h 623"/>
                  <a:gd name="T48" fmla="*/ 11 w 278"/>
                  <a:gd name="T49" fmla="*/ 169 h 623"/>
                  <a:gd name="T50" fmla="*/ 12 w 278"/>
                  <a:gd name="T51" fmla="*/ 152 h 623"/>
                  <a:gd name="T52" fmla="*/ 8 w 278"/>
                  <a:gd name="T53" fmla="*/ 140 h 623"/>
                  <a:gd name="T54" fmla="*/ 10 w 278"/>
                  <a:gd name="T55" fmla="*/ 127 h 623"/>
                  <a:gd name="T56" fmla="*/ 9 w 278"/>
                  <a:gd name="T57" fmla="*/ 109 h 623"/>
                  <a:gd name="T58" fmla="*/ 4 w 278"/>
                  <a:gd name="T59" fmla="*/ 97 h 623"/>
                  <a:gd name="T60" fmla="*/ 0 w 278"/>
                  <a:gd name="T61" fmla="*/ 84 h 623"/>
                  <a:gd name="T62" fmla="*/ 0 w 278"/>
                  <a:gd name="T63" fmla="*/ 71 h 623"/>
                  <a:gd name="T64" fmla="*/ 4 w 278"/>
                  <a:gd name="T65" fmla="*/ 57 h 623"/>
                  <a:gd name="T66" fmla="*/ 9 w 278"/>
                  <a:gd name="T67" fmla="*/ 46 h 623"/>
                  <a:gd name="T68" fmla="*/ 5 w 278"/>
                  <a:gd name="T69" fmla="*/ 28 h 623"/>
                  <a:gd name="T70" fmla="*/ 13 w 278"/>
                  <a:gd name="T71" fmla="*/ 21 h 623"/>
                  <a:gd name="T72" fmla="*/ 13 w 278"/>
                  <a:gd name="T73" fmla="*/ 10 h 623"/>
                  <a:gd name="T74" fmla="*/ 22 w 278"/>
                  <a:gd name="T75" fmla="*/ 1 h 623"/>
                  <a:gd name="T76" fmla="*/ 36 w 278"/>
                  <a:gd name="T77" fmla="*/ 9 h 623"/>
                  <a:gd name="T78" fmla="*/ 48 w 278"/>
                  <a:gd name="T79" fmla="*/ 2 h 623"/>
                  <a:gd name="T80" fmla="*/ 57 w 278"/>
                  <a:gd name="T81" fmla="*/ 12 h 623"/>
                  <a:gd name="T82" fmla="*/ 71 w 278"/>
                  <a:gd name="T83" fmla="*/ 22 h 623"/>
                  <a:gd name="T84" fmla="*/ 85 w 278"/>
                  <a:gd name="T85" fmla="*/ 29 h 623"/>
                  <a:gd name="T86" fmla="*/ 89 w 278"/>
                  <a:gd name="T87" fmla="*/ 41 h 623"/>
                  <a:gd name="T88" fmla="*/ 96 w 278"/>
                  <a:gd name="T89" fmla="*/ 51 h 623"/>
                  <a:gd name="T90" fmla="*/ 110 w 278"/>
                  <a:gd name="T91" fmla="*/ 49 h 623"/>
                  <a:gd name="T92" fmla="*/ 116 w 278"/>
                  <a:gd name="T93" fmla="*/ 34 h 623"/>
                  <a:gd name="T94" fmla="*/ 124 w 278"/>
                  <a:gd name="T95" fmla="*/ 46 h 623"/>
                  <a:gd name="T96" fmla="*/ 115 w 278"/>
                  <a:gd name="T97" fmla="*/ 54 h 623"/>
                  <a:gd name="T98" fmla="*/ 106 w 278"/>
                  <a:gd name="T99" fmla="*/ 65 h 623"/>
                  <a:gd name="T100" fmla="*/ 98 w 278"/>
                  <a:gd name="T101" fmla="*/ 76 h 623"/>
                  <a:gd name="T102" fmla="*/ 97 w 278"/>
                  <a:gd name="T103" fmla="*/ 86 h 623"/>
                  <a:gd name="T104" fmla="*/ 98 w 278"/>
                  <a:gd name="T105" fmla="*/ 103 h 623"/>
                  <a:gd name="T106" fmla="*/ 99 w 278"/>
                  <a:gd name="T107" fmla="*/ 116 h 623"/>
                  <a:gd name="T108" fmla="*/ 110 w 278"/>
                  <a:gd name="T109" fmla="*/ 130 h 623"/>
                  <a:gd name="T110" fmla="*/ 112 w 278"/>
                  <a:gd name="T111" fmla="*/ 142 h 623"/>
                  <a:gd name="T112" fmla="*/ 103 w 278"/>
                  <a:gd name="T113" fmla="*/ 150 h 623"/>
                  <a:gd name="T114" fmla="*/ 90 w 278"/>
                  <a:gd name="T115" fmla="*/ 154 h 623"/>
                  <a:gd name="T116" fmla="*/ 78 w 278"/>
                  <a:gd name="T117" fmla="*/ 155 h 623"/>
                  <a:gd name="T118" fmla="*/ 81 w 278"/>
                  <a:gd name="T119" fmla="*/ 169 h 62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278" h="623">
                    <a:moveTo>
                      <a:pt x="178" y="396"/>
                    </a:moveTo>
                    <a:lnTo>
                      <a:pt x="155" y="395"/>
                    </a:lnTo>
                    <a:lnTo>
                      <a:pt x="138" y="393"/>
                    </a:lnTo>
                    <a:lnTo>
                      <a:pt x="151" y="420"/>
                    </a:lnTo>
                    <a:lnTo>
                      <a:pt x="158" y="423"/>
                    </a:lnTo>
                    <a:lnTo>
                      <a:pt x="162" y="421"/>
                    </a:lnTo>
                    <a:lnTo>
                      <a:pt x="168" y="418"/>
                    </a:lnTo>
                    <a:lnTo>
                      <a:pt x="173" y="433"/>
                    </a:lnTo>
                    <a:lnTo>
                      <a:pt x="164" y="430"/>
                    </a:lnTo>
                    <a:lnTo>
                      <a:pt x="151" y="430"/>
                    </a:lnTo>
                    <a:lnTo>
                      <a:pt x="164" y="436"/>
                    </a:lnTo>
                    <a:lnTo>
                      <a:pt x="153" y="451"/>
                    </a:lnTo>
                    <a:lnTo>
                      <a:pt x="155" y="468"/>
                    </a:lnTo>
                    <a:lnTo>
                      <a:pt x="151" y="476"/>
                    </a:lnTo>
                    <a:lnTo>
                      <a:pt x="131" y="486"/>
                    </a:lnTo>
                    <a:lnTo>
                      <a:pt x="134" y="506"/>
                    </a:lnTo>
                    <a:lnTo>
                      <a:pt x="159" y="519"/>
                    </a:lnTo>
                    <a:lnTo>
                      <a:pt x="168" y="524"/>
                    </a:lnTo>
                    <a:lnTo>
                      <a:pt x="164" y="534"/>
                    </a:lnTo>
                    <a:lnTo>
                      <a:pt x="168" y="536"/>
                    </a:lnTo>
                    <a:lnTo>
                      <a:pt x="159" y="549"/>
                    </a:lnTo>
                    <a:lnTo>
                      <a:pt x="151" y="562"/>
                    </a:lnTo>
                    <a:lnTo>
                      <a:pt x="150" y="579"/>
                    </a:lnTo>
                    <a:lnTo>
                      <a:pt x="141" y="575"/>
                    </a:lnTo>
                    <a:lnTo>
                      <a:pt x="138" y="577"/>
                    </a:lnTo>
                    <a:lnTo>
                      <a:pt x="145" y="580"/>
                    </a:lnTo>
                    <a:lnTo>
                      <a:pt x="139" y="592"/>
                    </a:lnTo>
                    <a:lnTo>
                      <a:pt x="139" y="597"/>
                    </a:lnTo>
                    <a:lnTo>
                      <a:pt x="145" y="609"/>
                    </a:lnTo>
                    <a:lnTo>
                      <a:pt x="141" y="609"/>
                    </a:lnTo>
                    <a:lnTo>
                      <a:pt x="155" y="614"/>
                    </a:lnTo>
                    <a:lnTo>
                      <a:pt x="164" y="623"/>
                    </a:lnTo>
                    <a:lnTo>
                      <a:pt x="136" y="617"/>
                    </a:lnTo>
                    <a:lnTo>
                      <a:pt x="103" y="614"/>
                    </a:lnTo>
                    <a:lnTo>
                      <a:pt x="94" y="604"/>
                    </a:lnTo>
                    <a:lnTo>
                      <a:pt x="85" y="589"/>
                    </a:lnTo>
                    <a:lnTo>
                      <a:pt x="76" y="589"/>
                    </a:lnTo>
                    <a:lnTo>
                      <a:pt x="59" y="562"/>
                    </a:lnTo>
                    <a:lnTo>
                      <a:pt x="69" y="551"/>
                    </a:lnTo>
                    <a:lnTo>
                      <a:pt x="66" y="524"/>
                    </a:lnTo>
                    <a:lnTo>
                      <a:pt x="63" y="501"/>
                    </a:lnTo>
                    <a:lnTo>
                      <a:pt x="62" y="484"/>
                    </a:lnTo>
                    <a:lnTo>
                      <a:pt x="57" y="476"/>
                    </a:lnTo>
                    <a:lnTo>
                      <a:pt x="51" y="473"/>
                    </a:lnTo>
                    <a:lnTo>
                      <a:pt x="62" y="468"/>
                    </a:lnTo>
                    <a:lnTo>
                      <a:pt x="49" y="459"/>
                    </a:lnTo>
                    <a:lnTo>
                      <a:pt x="42" y="439"/>
                    </a:lnTo>
                    <a:lnTo>
                      <a:pt x="32" y="428"/>
                    </a:lnTo>
                    <a:lnTo>
                      <a:pt x="32" y="411"/>
                    </a:lnTo>
                    <a:lnTo>
                      <a:pt x="25" y="385"/>
                    </a:lnTo>
                    <a:lnTo>
                      <a:pt x="23" y="362"/>
                    </a:lnTo>
                    <a:lnTo>
                      <a:pt x="28" y="348"/>
                    </a:lnTo>
                    <a:lnTo>
                      <a:pt x="25" y="337"/>
                    </a:lnTo>
                    <a:lnTo>
                      <a:pt x="18" y="320"/>
                    </a:lnTo>
                    <a:lnTo>
                      <a:pt x="15" y="302"/>
                    </a:lnTo>
                    <a:lnTo>
                      <a:pt x="23" y="289"/>
                    </a:lnTo>
                    <a:lnTo>
                      <a:pt x="18" y="275"/>
                    </a:lnTo>
                    <a:lnTo>
                      <a:pt x="21" y="249"/>
                    </a:lnTo>
                    <a:lnTo>
                      <a:pt x="18" y="237"/>
                    </a:lnTo>
                    <a:lnTo>
                      <a:pt x="8" y="221"/>
                    </a:lnTo>
                    <a:lnTo>
                      <a:pt x="0" y="204"/>
                    </a:lnTo>
                    <a:lnTo>
                      <a:pt x="1" y="191"/>
                    </a:lnTo>
                    <a:lnTo>
                      <a:pt x="4" y="178"/>
                    </a:lnTo>
                    <a:lnTo>
                      <a:pt x="1" y="163"/>
                    </a:lnTo>
                    <a:lnTo>
                      <a:pt x="1" y="148"/>
                    </a:lnTo>
                    <a:lnTo>
                      <a:pt x="9" y="129"/>
                    </a:lnTo>
                    <a:lnTo>
                      <a:pt x="15" y="111"/>
                    </a:lnTo>
                    <a:lnTo>
                      <a:pt x="21" y="106"/>
                    </a:lnTo>
                    <a:lnTo>
                      <a:pt x="15" y="93"/>
                    </a:lnTo>
                    <a:lnTo>
                      <a:pt x="12" y="63"/>
                    </a:lnTo>
                    <a:lnTo>
                      <a:pt x="15" y="55"/>
                    </a:lnTo>
                    <a:lnTo>
                      <a:pt x="29" y="47"/>
                    </a:lnTo>
                    <a:lnTo>
                      <a:pt x="34" y="25"/>
                    </a:lnTo>
                    <a:lnTo>
                      <a:pt x="29" y="22"/>
                    </a:lnTo>
                    <a:lnTo>
                      <a:pt x="46" y="0"/>
                    </a:lnTo>
                    <a:lnTo>
                      <a:pt x="49" y="3"/>
                    </a:lnTo>
                    <a:lnTo>
                      <a:pt x="71" y="7"/>
                    </a:lnTo>
                    <a:lnTo>
                      <a:pt x="80" y="20"/>
                    </a:lnTo>
                    <a:lnTo>
                      <a:pt x="85" y="8"/>
                    </a:lnTo>
                    <a:lnTo>
                      <a:pt x="107" y="5"/>
                    </a:lnTo>
                    <a:lnTo>
                      <a:pt x="110" y="10"/>
                    </a:lnTo>
                    <a:lnTo>
                      <a:pt x="127" y="27"/>
                    </a:lnTo>
                    <a:lnTo>
                      <a:pt x="144" y="43"/>
                    </a:lnTo>
                    <a:lnTo>
                      <a:pt x="159" y="50"/>
                    </a:lnTo>
                    <a:lnTo>
                      <a:pt x="175" y="57"/>
                    </a:lnTo>
                    <a:lnTo>
                      <a:pt x="190" y="66"/>
                    </a:lnTo>
                    <a:lnTo>
                      <a:pt x="206" y="75"/>
                    </a:lnTo>
                    <a:lnTo>
                      <a:pt x="199" y="93"/>
                    </a:lnTo>
                    <a:lnTo>
                      <a:pt x="195" y="113"/>
                    </a:lnTo>
                    <a:lnTo>
                      <a:pt x="215" y="116"/>
                    </a:lnTo>
                    <a:lnTo>
                      <a:pt x="237" y="118"/>
                    </a:lnTo>
                    <a:lnTo>
                      <a:pt x="246" y="111"/>
                    </a:lnTo>
                    <a:lnTo>
                      <a:pt x="260" y="91"/>
                    </a:lnTo>
                    <a:lnTo>
                      <a:pt x="260" y="78"/>
                    </a:lnTo>
                    <a:lnTo>
                      <a:pt x="271" y="78"/>
                    </a:lnTo>
                    <a:lnTo>
                      <a:pt x="278" y="106"/>
                    </a:lnTo>
                    <a:lnTo>
                      <a:pt x="267" y="115"/>
                    </a:lnTo>
                    <a:lnTo>
                      <a:pt x="257" y="124"/>
                    </a:lnTo>
                    <a:lnTo>
                      <a:pt x="246" y="138"/>
                    </a:lnTo>
                    <a:lnTo>
                      <a:pt x="237" y="149"/>
                    </a:lnTo>
                    <a:lnTo>
                      <a:pt x="227" y="163"/>
                    </a:lnTo>
                    <a:lnTo>
                      <a:pt x="220" y="173"/>
                    </a:lnTo>
                    <a:lnTo>
                      <a:pt x="220" y="176"/>
                    </a:lnTo>
                    <a:lnTo>
                      <a:pt x="218" y="197"/>
                    </a:lnTo>
                    <a:lnTo>
                      <a:pt x="218" y="219"/>
                    </a:lnTo>
                    <a:lnTo>
                      <a:pt x="220" y="234"/>
                    </a:lnTo>
                    <a:lnTo>
                      <a:pt x="215" y="242"/>
                    </a:lnTo>
                    <a:lnTo>
                      <a:pt x="223" y="265"/>
                    </a:lnTo>
                    <a:lnTo>
                      <a:pt x="246" y="282"/>
                    </a:lnTo>
                    <a:lnTo>
                      <a:pt x="247" y="297"/>
                    </a:lnTo>
                    <a:lnTo>
                      <a:pt x="260" y="305"/>
                    </a:lnTo>
                    <a:lnTo>
                      <a:pt x="252" y="323"/>
                    </a:lnTo>
                    <a:lnTo>
                      <a:pt x="246" y="340"/>
                    </a:lnTo>
                    <a:lnTo>
                      <a:pt x="232" y="343"/>
                    </a:lnTo>
                    <a:lnTo>
                      <a:pt x="216" y="348"/>
                    </a:lnTo>
                    <a:lnTo>
                      <a:pt x="202" y="352"/>
                    </a:lnTo>
                    <a:lnTo>
                      <a:pt x="187" y="355"/>
                    </a:lnTo>
                    <a:lnTo>
                      <a:pt x="175" y="353"/>
                    </a:lnTo>
                    <a:lnTo>
                      <a:pt x="178" y="362"/>
                    </a:lnTo>
                    <a:lnTo>
                      <a:pt x="182" y="386"/>
                    </a:lnTo>
                    <a:lnTo>
                      <a:pt x="178" y="39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42" name="Freeform 272">
                <a:extLst>
                  <a:ext uri="{FF2B5EF4-FFF2-40B4-BE49-F238E27FC236}">
                    <a16:creationId xmlns:a16="http://schemas.microsoft.com/office/drawing/2014/main" id="{83239642-80E1-287E-10D7-B44E5600D7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1" y="4116"/>
                <a:ext cx="29" cy="19"/>
              </a:xfrm>
              <a:custGeom>
                <a:avLst/>
                <a:gdLst>
                  <a:gd name="T0" fmla="*/ 3 w 68"/>
                  <a:gd name="T1" fmla="*/ 4 h 45"/>
                  <a:gd name="T2" fmla="*/ 0 w 68"/>
                  <a:gd name="T3" fmla="*/ 0 h 45"/>
                  <a:gd name="T4" fmla="*/ 4 w 68"/>
                  <a:gd name="T5" fmla="*/ 9 h 45"/>
                  <a:gd name="T6" fmla="*/ 8 w 68"/>
                  <a:gd name="T7" fmla="*/ 19 h 45"/>
                  <a:gd name="T8" fmla="*/ 19 w 68"/>
                  <a:gd name="T9" fmla="*/ 19 h 45"/>
                  <a:gd name="T10" fmla="*/ 29 w 68"/>
                  <a:gd name="T11" fmla="*/ 19 h 45"/>
                  <a:gd name="T12" fmla="*/ 28 w 68"/>
                  <a:gd name="T13" fmla="*/ 17 h 45"/>
                  <a:gd name="T14" fmla="*/ 13 w 68"/>
                  <a:gd name="T15" fmla="*/ 12 h 45"/>
                  <a:gd name="T16" fmla="*/ 3 w 68"/>
                  <a:gd name="T17" fmla="*/ 4 h 4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8" h="45">
                    <a:moveTo>
                      <a:pt x="6" y="9"/>
                    </a:moveTo>
                    <a:lnTo>
                      <a:pt x="0" y="0"/>
                    </a:lnTo>
                    <a:lnTo>
                      <a:pt x="10" y="22"/>
                    </a:lnTo>
                    <a:lnTo>
                      <a:pt x="19" y="45"/>
                    </a:lnTo>
                    <a:lnTo>
                      <a:pt x="44" y="45"/>
                    </a:lnTo>
                    <a:lnTo>
                      <a:pt x="68" y="45"/>
                    </a:lnTo>
                    <a:lnTo>
                      <a:pt x="65" y="40"/>
                    </a:lnTo>
                    <a:lnTo>
                      <a:pt x="30" y="29"/>
                    </a:lnTo>
                    <a:lnTo>
                      <a:pt x="6" y="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43" name="Freeform 273">
                <a:extLst>
                  <a:ext uri="{FF2B5EF4-FFF2-40B4-BE49-F238E27FC236}">
                    <a16:creationId xmlns:a16="http://schemas.microsoft.com/office/drawing/2014/main" id="{F9004349-6CF8-7C12-B7CF-20DD80A8A0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22" y="3802"/>
                <a:ext cx="89" cy="324"/>
              </a:xfrm>
              <a:custGeom>
                <a:avLst/>
                <a:gdLst>
                  <a:gd name="T0" fmla="*/ 8 w 199"/>
                  <a:gd name="T1" fmla="*/ 129 h 741"/>
                  <a:gd name="T2" fmla="*/ 9 w 199"/>
                  <a:gd name="T3" fmla="*/ 150 h 741"/>
                  <a:gd name="T4" fmla="*/ 8 w 199"/>
                  <a:gd name="T5" fmla="*/ 174 h 741"/>
                  <a:gd name="T6" fmla="*/ 11 w 199"/>
                  <a:gd name="T7" fmla="*/ 193 h 741"/>
                  <a:gd name="T8" fmla="*/ 17 w 199"/>
                  <a:gd name="T9" fmla="*/ 217 h 741"/>
                  <a:gd name="T10" fmla="*/ 23 w 199"/>
                  <a:gd name="T11" fmla="*/ 217 h 741"/>
                  <a:gd name="T12" fmla="*/ 27 w 199"/>
                  <a:gd name="T13" fmla="*/ 223 h 741"/>
                  <a:gd name="T14" fmla="*/ 27 w 199"/>
                  <a:gd name="T15" fmla="*/ 230 h 741"/>
                  <a:gd name="T16" fmla="*/ 32 w 199"/>
                  <a:gd name="T17" fmla="*/ 243 h 741"/>
                  <a:gd name="T18" fmla="*/ 31 w 199"/>
                  <a:gd name="T19" fmla="*/ 250 h 741"/>
                  <a:gd name="T20" fmla="*/ 32 w 199"/>
                  <a:gd name="T21" fmla="*/ 258 h 741"/>
                  <a:gd name="T22" fmla="*/ 26 w 199"/>
                  <a:gd name="T23" fmla="*/ 258 h 741"/>
                  <a:gd name="T24" fmla="*/ 23 w 199"/>
                  <a:gd name="T25" fmla="*/ 256 h 741"/>
                  <a:gd name="T26" fmla="*/ 22 w 199"/>
                  <a:gd name="T27" fmla="*/ 260 h 741"/>
                  <a:gd name="T28" fmla="*/ 30 w 199"/>
                  <a:gd name="T29" fmla="*/ 268 h 741"/>
                  <a:gd name="T30" fmla="*/ 35 w 199"/>
                  <a:gd name="T31" fmla="*/ 271 h 741"/>
                  <a:gd name="T32" fmla="*/ 38 w 199"/>
                  <a:gd name="T33" fmla="*/ 275 h 741"/>
                  <a:gd name="T34" fmla="*/ 34 w 199"/>
                  <a:gd name="T35" fmla="*/ 279 h 741"/>
                  <a:gd name="T36" fmla="*/ 40 w 199"/>
                  <a:gd name="T37" fmla="*/ 292 h 741"/>
                  <a:gd name="T38" fmla="*/ 45 w 199"/>
                  <a:gd name="T39" fmla="*/ 299 h 741"/>
                  <a:gd name="T40" fmla="*/ 50 w 199"/>
                  <a:gd name="T41" fmla="*/ 305 h 741"/>
                  <a:gd name="T42" fmla="*/ 52 w 199"/>
                  <a:gd name="T43" fmla="*/ 310 h 741"/>
                  <a:gd name="T44" fmla="*/ 60 w 199"/>
                  <a:gd name="T45" fmla="*/ 317 h 741"/>
                  <a:gd name="T46" fmla="*/ 64 w 199"/>
                  <a:gd name="T47" fmla="*/ 321 h 741"/>
                  <a:gd name="T48" fmla="*/ 81 w 199"/>
                  <a:gd name="T49" fmla="*/ 310 h 741"/>
                  <a:gd name="T50" fmla="*/ 63 w 199"/>
                  <a:gd name="T51" fmla="*/ 307 h 741"/>
                  <a:gd name="T52" fmla="*/ 50 w 199"/>
                  <a:gd name="T53" fmla="*/ 296 h 741"/>
                  <a:gd name="T54" fmla="*/ 46 w 199"/>
                  <a:gd name="T55" fmla="*/ 268 h 741"/>
                  <a:gd name="T56" fmla="*/ 42 w 199"/>
                  <a:gd name="T57" fmla="*/ 247 h 741"/>
                  <a:gd name="T58" fmla="*/ 38 w 199"/>
                  <a:gd name="T59" fmla="*/ 239 h 741"/>
                  <a:gd name="T60" fmla="*/ 30 w 199"/>
                  <a:gd name="T61" fmla="*/ 218 h 741"/>
                  <a:gd name="T62" fmla="*/ 28 w 199"/>
                  <a:gd name="T63" fmla="*/ 192 h 741"/>
                  <a:gd name="T64" fmla="*/ 23 w 199"/>
                  <a:gd name="T65" fmla="*/ 171 h 741"/>
                  <a:gd name="T66" fmla="*/ 26 w 199"/>
                  <a:gd name="T67" fmla="*/ 147 h 741"/>
                  <a:gd name="T68" fmla="*/ 16 w 199"/>
                  <a:gd name="T69" fmla="*/ 128 h 741"/>
                  <a:gd name="T70" fmla="*/ 17 w 199"/>
                  <a:gd name="T71" fmla="*/ 110 h 741"/>
                  <a:gd name="T72" fmla="*/ 23 w 199"/>
                  <a:gd name="T73" fmla="*/ 87 h 741"/>
                  <a:gd name="T74" fmla="*/ 22 w 199"/>
                  <a:gd name="T75" fmla="*/ 67 h 741"/>
                  <a:gd name="T76" fmla="*/ 31 w 199"/>
                  <a:gd name="T77" fmla="*/ 49 h 741"/>
                  <a:gd name="T78" fmla="*/ 21 w 199"/>
                  <a:gd name="T79" fmla="*/ 39 h 741"/>
                  <a:gd name="T80" fmla="*/ 16 w 199"/>
                  <a:gd name="T81" fmla="*/ 16 h 741"/>
                  <a:gd name="T82" fmla="*/ 6 w 199"/>
                  <a:gd name="T83" fmla="*/ 0 h 741"/>
                  <a:gd name="T84" fmla="*/ 0 w 199"/>
                  <a:gd name="T85" fmla="*/ 8 h 741"/>
                  <a:gd name="T86" fmla="*/ 4 w 199"/>
                  <a:gd name="T87" fmla="*/ 41 h 741"/>
                  <a:gd name="T88" fmla="*/ 5 w 199"/>
                  <a:gd name="T89" fmla="*/ 65 h 741"/>
                  <a:gd name="T90" fmla="*/ 5 w 199"/>
                  <a:gd name="T91" fmla="*/ 101 h 741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99" h="741">
                    <a:moveTo>
                      <a:pt x="12" y="264"/>
                    </a:moveTo>
                    <a:lnTo>
                      <a:pt x="17" y="279"/>
                    </a:lnTo>
                    <a:lnTo>
                      <a:pt x="18" y="294"/>
                    </a:lnTo>
                    <a:lnTo>
                      <a:pt x="21" y="310"/>
                    </a:lnTo>
                    <a:lnTo>
                      <a:pt x="23" y="325"/>
                    </a:lnTo>
                    <a:lnTo>
                      <a:pt x="21" y="343"/>
                    </a:lnTo>
                    <a:lnTo>
                      <a:pt x="18" y="362"/>
                    </a:lnTo>
                    <a:lnTo>
                      <a:pt x="18" y="382"/>
                    </a:lnTo>
                    <a:lnTo>
                      <a:pt x="17" y="398"/>
                    </a:lnTo>
                    <a:lnTo>
                      <a:pt x="12" y="405"/>
                    </a:lnTo>
                    <a:lnTo>
                      <a:pt x="18" y="423"/>
                    </a:lnTo>
                    <a:lnTo>
                      <a:pt x="24" y="441"/>
                    </a:lnTo>
                    <a:lnTo>
                      <a:pt x="29" y="459"/>
                    </a:lnTo>
                    <a:lnTo>
                      <a:pt x="28" y="479"/>
                    </a:lnTo>
                    <a:lnTo>
                      <a:pt x="37" y="496"/>
                    </a:lnTo>
                    <a:lnTo>
                      <a:pt x="38" y="499"/>
                    </a:lnTo>
                    <a:lnTo>
                      <a:pt x="46" y="496"/>
                    </a:lnTo>
                    <a:lnTo>
                      <a:pt x="52" y="496"/>
                    </a:lnTo>
                    <a:lnTo>
                      <a:pt x="58" y="493"/>
                    </a:lnTo>
                    <a:lnTo>
                      <a:pt x="55" y="504"/>
                    </a:lnTo>
                    <a:lnTo>
                      <a:pt x="60" y="509"/>
                    </a:lnTo>
                    <a:lnTo>
                      <a:pt x="58" y="508"/>
                    </a:lnTo>
                    <a:lnTo>
                      <a:pt x="58" y="514"/>
                    </a:lnTo>
                    <a:lnTo>
                      <a:pt x="60" y="526"/>
                    </a:lnTo>
                    <a:lnTo>
                      <a:pt x="62" y="539"/>
                    </a:lnTo>
                    <a:lnTo>
                      <a:pt x="62" y="547"/>
                    </a:lnTo>
                    <a:lnTo>
                      <a:pt x="72" y="556"/>
                    </a:lnTo>
                    <a:lnTo>
                      <a:pt x="66" y="567"/>
                    </a:lnTo>
                    <a:lnTo>
                      <a:pt x="72" y="572"/>
                    </a:lnTo>
                    <a:lnTo>
                      <a:pt x="69" y="572"/>
                    </a:lnTo>
                    <a:lnTo>
                      <a:pt x="69" y="579"/>
                    </a:lnTo>
                    <a:lnTo>
                      <a:pt x="69" y="589"/>
                    </a:lnTo>
                    <a:lnTo>
                      <a:pt x="72" y="589"/>
                    </a:lnTo>
                    <a:lnTo>
                      <a:pt x="66" y="595"/>
                    </a:lnTo>
                    <a:lnTo>
                      <a:pt x="65" y="590"/>
                    </a:lnTo>
                    <a:lnTo>
                      <a:pt x="58" y="589"/>
                    </a:lnTo>
                    <a:lnTo>
                      <a:pt x="58" y="582"/>
                    </a:lnTo>
                    <a:lnTo>
                      <a:pt x="55" y="584"/>
                    </a:lnTo>
                    <a:lnTo>
                      <a:pt x="51" y="585"/>
                    </a:lnTo>
                    <a:lnTo>
                      <a:pt x="41" y="602"/>
                    </a:lnTo>
                    <a:lnTo>
                      <a:pt x="45" y="600"/>
                    </a:lnTo>
                    <a:lnTo>
                      <a:pt x="49" y="595"/>
                    </a:lnTo>
                    <a:lnTo>
                      <a:pt x="60" y="600"/>
                    </a:lnTo>
                    <a:lnTo>
                      <a:pt x="72" y="609"/>
                    </a:lnTo>
                    <a:lnTo>
                      <a:pt x="66" y="614"/>
                    </a:lnTo>
                    <a:lnTo>
                      <a:pt x="72" y="617"/>
                    </a:lnTo>
                    <a:lnTo>
                      <a:pt x="63" y="620"/>
                    </a:lnTo>
                    <a:lnTo>
                      <a:pt x="79" y="620"/>
                    </a:lnTo>
                    <a:lnTo>
                      <a:pt x="79" y="619"/>
                    </a:lnTo>
                    <a:lnTo>
                      <a:pt x="86" y="625"/>
                    </a:lnTo>
                    <a:lnTo>
                      <a:pt x="86" y="630"/>
                    </a:lnTo>
                    <a:lnTo>
                      <a:pt x="74" y="627"/>
                    </a:lnTo>
                    <a:lnTo>
                      <a:pt x="69" y="627"/>
                    </a:lnTo>
                    <a:lnTo>
                      <a:pt x="77" y="639"/>
                    </a:lnTo>
                    <a:lnTo>
                      <a:pt x="86" y="653"/>
                    </a:lnTo>
                    <a:lnTo>
                      <a:pt x="86" y="660"/>
                    </a:lnTo>
                    <a:lnTo>
                      <a:pt x="89" y="667"/>
                    </a:lnTo>
                    <a:lnTo>
                      <a:pt x="86" y="668"/>
                    </a:lnTo>
                    <a:lnTo>
                      <a:pt x="96" y="675"/>
                    </a:lnTo>
                    <a:lnTo>
                      <a:pt x="100" y="683"/>
                    </a:lnTo>
                    <a:lnTo>
                      <a:pt x="100" y="687"/>
                    </a:lnTo>
                    <a:lnTo>
                      <a:pt x="110" y="692"/>
                    </a:lnTo>
                    <a:lnTo>
                      <a:pt x="111" y="697"/>
                    </a:lnTo>
                    <a:lnTo>
                      <a:pt x="106" y="695"/>
                    </a:lnTo>
                    <a:lnTo>
                      <a:pt x="116" y="702"/>
                    </a:lnTo>
                    <a:lnTo>
                      <a:pt x="116" y="708"/>
                    </a:lnTo>
                    <a:lnTo>
                      <a:pt x="123" y="718"/>
                    </a:lnTo>
                    <a:lnTo>
                      <a:pt x="127" y="720"/>
                    </a:lnTo>
                    <a:lnTo>
                      <a:pt x="134" y="725"/>
                    </a:lnTo>
                    <a:lnTo>
                      <a:pt x="137" y="728"/>
                    </a:lnTo>
                    <a:lnTo>
                      <a:pt x="134" y="730"/>
                    </a:lnTo>
                    <a:lnTo>
                      <a:pt x="144" y="733"/>
                    </a:lnTo>
                    <a:lnTo>
                      <a:pt x="167" y="741"/>
                    </a:lnTo>
                    <a:lnTo>
                      <a:pt x="170" y="718"/>
                    </a:lnTo>
                    <a:lnTo>
                      <a:pt x="181" y="710"/>
                    </a:lnTo>
                    <a:lnTo>
                      <a:pt x="199" y="711"/>
                    </a:lnTo>
                    <a:lnTo>
                      <a:pt x="171" y="705"/>
                    </a:lnTo>
                    <a:lnTo>
                      <a:pt x="140" y="702"/>
                    </a:lnTo>
                    <a:lnTo>
                      <a:pt x="130" y="692"/>
                    </a:lnTo>
                    <a:lnTo>
                      <a:pt x="120" y="678"/>
                    </a:lnTo>
                    <a:lnTo>
                      <a:pt x="111" y="678"/>
                    </a:lnTo>
                    <a:lnTo>
                      <a:pt x="96" y="650"/>
                    </a:lnTo>
                    <a:lnTo>
                      <a:pt x="106" y="639"/>
                    </a:lnTo>
                    <a:lnTo>
                      <a:pt x="103" y="612"/>
                    </a:lnTo>
                    <a:lnTo>
                      <a:pt x="99" y="589"/>
                    </a:lnTo>
                    <a:lnTo>
                      <a:pt x="97" y="572"/>
                    </a:lnTo>
                    <a:lnTo>
                      <a:pt x="93" y="566"/>
                    </a:lnTo>
                    <a:lnTo>
                      <a:pt x="86" y="561"/>
                    </a:lnTo>
                    <a:lnTo>
                      <a:pt x="97" y="556"/>
                    </a:lnTo>
                    <a:lnTo>
                      <a:pt x="86" y="547"/>
                    </a:lnTo>
                    <a:lnTo>
                      <a:pt x="77" y="527"/>
                    </a:lnTo>
                    <a:lnTo>
                      <a:pt x="69" y="516"/>
                    </a:lnTo>
                    <a:lnTo>
                      <a:pt x="68" y="499"/>
                    </a:lnTo>
                    <a:lnTo>
                      <a:pt x="60" y="473"/>
                    </a:lnTo>
                    <a:lnTo>
                      <a:pt x="58" y="450"/>
                    </a:lnTo>
                    <a:lnTo>
                      <a:pt x="63" y="438"/>
                    </a:lnTo>
                    <a:lnTo>
                      <a:pt x="60" y="426"/>
                    </a:lnTo>
                    <a:lnTo>
                      <a:pt x="55" y="408"/>
                    </a:lnTo>
                    <a:lnTo>
                      <a:pt x="51" y="390"/>
                    </a:lnTo>
                    <a:lnTo>
                      <a:pt x="58" y="377"/>
                    </a:lnTo>
                    <a:lnTo>
                      <a:pt x="55" y="363"/>
                    </a:lnTo>
                    <a:lnTo>
                      <a:pt x="58" y="337"/>
                    </a:lnTo>
                    <a:lnTo>
                      <a:pt x="54" y="325"/>
                    </a:lnTo>
                    <a:lnTo>
                      <a:pt x="45" y="310"/>
                    </a:lnTo>
                    <a:lnTo>
                      <a:pt x="35" y="292"/>
                    </a:lnTo>
                    <a:lnTo>
                      <a:pt x="37" y="279"/>
                    </a:lnTo>
                    <a:lnTo>
                      <a:pt x="40" y="266"/>
                    </a:lnTo>
                    <a:lnTo>
                      <a:pt x="38" y="251"/>
                    </a:lnTo>
                    <a:lnTo>
                      <a:pt x="38" y="236"/>
                    </a:lnTo>
                    <a:lnTo>
                      <a:pt x="46" y="217"/>
                    </a:lnTo>
                    <a:lnTo>
                      <a:pt x="52" y="199"/>
                    </a:lnTo>
                    <a:lnTo>
                      <a:pt x="58" y="194"/>
                    </a:lnTo>
                    <a:lnTo>
                      <a:pt x="51" y="181"/>
                    </a:lnTo>
                    <a:lnTo>
                      <a:pt x="49" y="153"/>
                    </a:lnTo>
                    <a:lnTo>
                      <a:pt x="51" y="143"/>
                    </a:lnTo>
                    <a:lnTo>
                      <a:pt x="66" y="135"/>
                    </a:lnTo>
                    <a:lnTo>
                      <a:pt x="69" y="113"/>
                    </a:lnTo>
                    <a:lnTo>
                      <a:pt x="66" y="110"/>
                    </a:lnTo>
                    <a:lnTo>
                      <a:pt x="54" y="108"/>
                    </a:lnTo>
                    <a:lnTo>
                      <a:pt x="46" y="90"/>
                    </a:lnTo>
                    <a:lnTo>
                      <a:pt x="38" y="70"/>
                    </a:lnTo>
                    <a:lnTo>
                      <a:pt x="35" y="52"/>
                    </a:lnTo>
                    <a:lnTo>
                      <a:pt x="35" y="37"/>
                    </a:lnTo>
                    <a:lnTo>
                      <a:pt x="24" y="24"/>
                    </a:lnTo>
                    <a:lnTo>
                      <a:pt x="18" y="10"/>
                    </a:lnTo>
                    <a:lnTo>
                      <a:pt x="14" y="0"/>
                    </a:lnTo>
                    <a:lnTo>
                      <a:pt x="9" y="9"/>
                    </a:lnTo>
                    <a:lnTo>
                      <a:pt x="3" y="17"/>
                    </a:lnTo>
                    <a:lnTo>
                      <a:pt x="0" y="19"/>
                    </a:lnTo>
                    <a:lnTo>
                      <a:pt x="4" y="45"/>
                    </a:lnTo>
                    <a:lnTo>
                      <a:pt x="9" y="70"/>
                    </a:lnTo>
                    <a:lnTo>
                      <a:pt x="9" y="93"/>
                    </a:lnTo>
                    <a:lnTo>
                      <a:pt x="9" y="115"/>
                    </a:lnTo>
                    <a:lnTo>
                      <a:pt x="7" y="125"/>
                    </a:lnTo>
                    <a:lnTo>
                      <a:pt x="11" y="149"/>
                    </a:lnTo>
                    <a:lnTo>
                      <a:pt x="12" y="173"/>
                    </a:lnTo>
                    <a:lnTo>
                      <a:pt x="11" y="201"/>
                    </a:lnTo>
                    <a:lnTo>
                      <a:pt x="11" y="231"/>
                    </a:lnTo>
                    <a:lnTo>
                      <a:pt x="12" y="242"/>
                    </a:lnTo>
                    <a:lnTo>
                      <a:pt x="12" y="26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44" name="Freeform 274">
                <a:extLst>
                  <a:ext uri="{FF2B5EF4-FFF2-40B4-BE49-F238E27FC236}">
                    <a16:creationId xmlns:a16="http://schemas.microsoft.com/office/drawing/2014/main" id="{D372EA26-5659-8CD1-6346-3554C22F7A0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5" y="4115"/>
                <a:ext cx="23" cy="20"/>
              </a:xfrm>
              <a:custGeom>
                <a:avLst/>
                <a:gdLst>
                  <a:gd name="T0" fmla="*/ 15 w 52"/>
                  <a:gd name="T1" fmla="*/ 1 h 46"/>
                  <a:gd name="T2" fmla="*/ 20 w 52"/>
                  <a:gd name="T3" fmla="*/ 11 h 46"/>
                  <a:gd name="T4" fmla="*/ 23 w 52"/>
                  <a:gd name="T5" fmla="*/ 20 h 46"/>
                  <a:gd name="T6" fmla="*/ 21 w 52"/>
                  <a:gd name="T7" fmla="*/ 20 h 46"/>
                  <a:gd name="T8" fmla="*/ 18 w 52"/>
                  <a:gd name="T9" fmla="*/ 20 h 46"/>
                  <a:gd name="T10" fmla="*/ 9 w 52"/>
                  <a:gd name="T11" fmla="*/ 20 h 46"/>
                  <a:gd name="T12" fmla="*/ 7 w 52"/>
                  <a:gd name="T13" fmla="*/ 18 h 46"/>
                  <a:gd name="T14" fmla="*/ 0 w 52"/>
                  <a:gd name="T15" fmla="*/ 18 h 46"/>
                  <a:gd name="T16" fmla="*/ 2 w 52"/>
                  <a:gd name="T17" fmla="*/ 17 h 46"/>
                  <a:gd name="T18" fmla="*/ 6 w 52"/>
                  <a:gd name="T19" fmla="*/ 16 h 46"/>
                  <a:gd name="T20" fmla="*/ 8 w 52"/>
                  <a:gd name="T21" fmla="*/ 17 h 46"/>
                  <a:gd name="T22" fmla="*/ 11 w 52"/>
                  <a:gd name="T23" fmla="*/ 17 h 46"/>
                  <a:gd name="T24" fmla="*/ 7 w 52"/>
                  <a:gd name="T25" fmla="*/ 14 h 46"/>
                  <a:gd name="T26" fmla="*/ 12 w 52"/>
                  <a:gd name="T27" fmla="*/ 16 h 46"/>
                  <a:gd name="T28" fmla="*/ 14 w 52"/>
                  <a:gd name="T29" fmla="*/ 16 h 46"/>
                  <a:gd name="T30" fmla="*/ 18 w 52"/>
                  <a:gd name="T31" fmla="*/ 17 h 46"/>
                  <a:gd name="T32" fmla="*/ 19 w 52"/>
                  <a:gd name="T33" fmla="*/ 17 h 46"/>
                  <a:gd name="T34" fmla="*/ 9 w 52"/>
                  <a:gd name="T35" fmla="*/ 12 h 46"/>
                  <a:gd name="T36" fmla="*/ 14 w 52"/>
                  <a:gd name="T37" fmla="*/ 8 h 46"/>
                  <a:gd name="T38" fmla="*/ 8 w 52"/>
                  <a:gd name="T39" fmla="*/ 8 h 46"/>
                  <a:gd name="T40" fmla="*/ 5 w 52"/>
                  <a:gd name="T41" fmla="*/ 2 h 46"/>
                  <a:gd name="T42" fmla="*/ 8 w 52"/>
                  <a:gd name="T43" fmla="*/ 0 h 46"/>
                  <a:gd name="T44" fmla="*/ 15 w 52"/>
                  <a:gd name="T45" fmla="*/ 1 h 4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52" h="46">
                    <a:moveTo>
                      <a:pt x="34" y="3"/>
                    </a:moveTo>
                    <a:lnTo>
                      <a:pt x="45" y="25"/>
                    </a:lnTo>
                    <a:lnTo>
                      <a:pt x="52" y="46"/>
                    </a:lnTo>
                    <a:lnTo>
                      <a:pt x="48" y="45"/>
                    </a:lnTo>
                    <a:lnTo>
                      <a:pt x="40" y="45"/>
                    </a:lnTo>
                    <a:lnTo>
                      <a:pt x="21" y="45"/>
                    </a:lnTo>
                    <a:lnTo>
                      <a:pt x="15" y="41"/>
                    </a:lnTo>
                    <a:lnTo>
                      <a:pt x="0" y="41"/>
                    </a:lnTo>
                    <a:lnTo>
                      <a:pt x="4" y="38"/>
                    </a:lnTo>
                    <a:lnTo>
                      <a:pt x="14" y="36"/>
                    </a:lnTo>
                    <a:lnTo>
                      <a:pt x="18" y="38"/>
                    </a:lnTo>
                    <a:lnTo>
                      <a:pt x="24" y="38"/>
                    </a:lnTo>
                    <a:lnTo>
                      <a:pt x="15" y="33"/>
                    </a:lnTo>
                    <a:lnTo>
                      <a:pt x="26" y="36"/>
                    </a:lnTo>
                    <a:lnTo>
                      <a:pt x="31" y="36"/>
                    </a:lnTo>
                    <a:lnTo>
                      <a:pt x="40" y="40"/>
                    </a:lnTo>
                    <a:lnTo>
                      <a:pt x="43" y="40"/>
                    </a:lnTo>
                    <a:lnTo>
                      <a:pt x="21" y="28"/>
                    </a:lnTo>
                    <a:lnTo>
                      <a:pt x="31" y="18"/>
                    </a:lnTo>
                    <a:lnTo>
                      <a:pt x="17" y="18"/>
                    </a:lnTo>
                    <a:lnTo>
                      <a:pt x="11" y="5"/>
                    </a:lnTo>
                    <a:lnTo>
                      <a:pt x="18" y="0"/>
                    </a:lnTo>
                    <a:lnTo>
                      <a:pt x="34" y="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45" name="Freeform 275">
                <a:extLst>
                  <a:ext uri="{FF2B5EF4-FFF2-40B4-BE49-F238E27FC236}">
                    <a16:creationId xmlns:a16="http://schemas.microsoft.com/office/drawing/2014/main" id="{0EFBDF9D-A59A-5687-A79E-D8F1CACA6C8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37" y="4020"/>
                <a:ext cx="6" cy="14"/>
              </a:xfrm>
              <a:custGeom>
                <a:avLst/>
                <a:gdLst>
                  <a:gd name="T0" fmla="*/ 2 w 14"/>
                  <a:gd name="T1" fmla="*/ 0 h 30"/>
                  <a:gd name="T2" fmla="*/ 0 w 14"/>
                  <a:gd name="T3" fmla="*/ 1 h 30"/>
                  <a:gd name="T4" fmla="*/ 2 w 14"/>
                  <a:gd name="T5" fmla="*/ 14 h 30"/>
                  <a:gd name="T6" fmla="*/ 5 w 14"/>
                  <a:gd name="T7" fmla="*/ 13 h 30"/>
                  <a:gd name="T8" fmla="*/ 6 w 14"/>
                  <a:gd name="T9" fmla="*/ 11 h 30"/>
                  <a:gd name="T10" fmla="*/ 4 w 14"/>
                  <a:gd name="T11" fmla="*/ 5 h 30"/>
                  <a:gd name="T12" fmla="*/ 5 w 14"/>
                  <a:gd name="T13" fmla="*/ 5 h 30"/>
                  <a:gd name="T14" fmla="*/ 2 w 14"/>
                  <a:gd name="T15" fmla="*/ 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4" h="30">
                    <a:moveTo>
                      <a:pt x="4" y="0"/>
                    </a:moveTo>
                    <a:lnTo>
                      <a:pt x="0" y="2"/>
                    </a:lnTo>
                    <a:lnTo>
                      <a:pt x="4" y="30"/>
                    </a:lnTo>
                    <a:lnTo>
                      <a:pt x="12" y="28"/>
                    </a:lnTo>
                    <a:lnTo>
                      <a:pt x="14" y="23"/>
                    </a:lnTo>
                    <a:lnTo>
                      <a:pt x="9" y="10"/>
                    </a:lnTo>
                    <a:lnTo>
                      <a:pt x="12" y="1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46" name="Freeform 276">
                <a:extLst>
                  <a:ext uri="{FF2B5EF4-FFF2-40B4-BE49-F238E27FC236}">
                    <a16:creationId xmlns:a16="http://schemas.microsoft.com/office/drawing/2014/main" id="{8BA04711-2305-E971-3C01-D0550B4459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1" y="4083"/>
                <a:ext cx="7" cy="11"/>
              </a:xfrm>
              <a:custGeom>
                <a:avLst/>
                <a:gdLst>
                  <a:gd name="T0" fmla="*/ 4 w 16"/>
                  <a:gd name="T1" fmla="*/ 0 h 27"/>
                  <a:gd name="T2" fmla="*/ 0 w 16"/>
                  <a:gd name="T3" fmla="*/ 4 h 27"/>
                  <a:gd name="T4" fmla="*/ 4 w 16"/>
                  <a:gd name="T5" fmla="*/ 9 h 27"/>
                  <a:gd name="T6" fmla="*/ 6 w 16"/>
                  <a:gd name="T7" fmla="*/ 11 h 27"/>
                  <a:gd name="T8" fmla="*/ 7 w 16"/>
                  <a:gd name="T9" fmla="*/ 7 h 27"/>
                  <a:gd name="T10" fmla="*/ 4 w 16"/>
                  <a:gd name="T11" fmla="*/ 0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" h="27">
                    <a:moveTo>
                      <a:pt x="8" y="0"/>
                    </a:moveTo>
                    <a:lnTo>
                      <a:pt x="0" y="10"/>
                    </a:lnTo>
                    <a:lnTo>
                      <a:pt x="9" y="22"/>
                    </a:lnTo>
                    <a:lnTo>
                      <a:pt x="14" y="27"/>
                    </a:lnTo>
                    <a:lnTo>
                      <a:pt x="16" y="18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47" name="Freeform 277">
                <a:extLst>
                  <a:ext uri="{FF2B5EF4-FFF2-40B4-BE49-F238E27FC236}">
                    <a16:creationId xmlns:a16="http://schemas.microsoft.com/office/drawing/2014/main" id="{AD1AD742-849E-FC25-9914-0CBF3F0207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0" y="3631"/>
                <a:ext cx="44" cy="59"/>
              </a:xfrm>
              <a:custGeom>
                <a:avLst/>
                <a:gdLst>
                  <a:gd name="T0" fmla="*/ 0 w 101"/>
                  <a:gd name="T1" fmla="*/ 23 h 134"/>
                  <a:gd name="T2" fmla="*/ 1 w 101"/>
                  <a:gd name="T3" fmla="*/ 33 h 134"/>
                  <a:gd name="T4" fmla="*/ 0 w 101"/>
                  <a:gd name="T5" fmla="*/ 34 h 134"/>
                  <a:gd name="T6" fmla="*/ 6 w 101"/>
                  <a:gd name="T7" fmla="*/ 37 h 134"/>
                  <a:gd name="T8" fmla="*/ 7 w 101"/>
                  <a:gd name="T9" fmla="*/ 34 h 134"/>
                  <a:gd name="T10" fmla="*/ 8 w 101"/>
                  <a:gd name="T11" fmla="*/ 37 h 134"/>
                  <a:gd name="T12" fmla="*/ 8 w 101"/>
                  <a:gd name="T13" fmla="*/ 42 h 134"/>
                  <a:gd name="T14" fmla="*/ 5 w 101"/>
                  <a:gd name="T15" fmla="*/ 44 h 134"/>
                  <a:gd name="T16" fmla="*/ 6 w 101"/>
                  <a:gd name="T17" fmla="*/ 49 h 134"/>
                  <a:gd name="T18" fmla="*/ 3 w 101"/>
                  <a:gd name="T19" fmla="*/ 53 h 134"/>
                  <a:gd name="T20" fmla="*/ 6 w 101"/>
                  <a:gd name="T21" fmla="*/ 52 h 134"/>
                  <a:gd name="T22" fmla="*/ 15 w 101"/>
                  <a:gd name="T23" fmla="*/ 59 h 134"/>
                  <a:gd name="T24" fmla="*/ 18 w 101"/>
                  <a:gd name="T25" fmla="*/ 55 h 134"/>
                  <a:gd name="T26" fmla="*/ 18 w 101"/>
                  <a:gd name="T27" fmla="*/ 52 h 134"/>
                  <a:gd name="T28" fmla="*/ 20 w 101"/>
                  <a:gd name="T29" fmla="*/ 48 h 134"/>
                  <a:gd name="T30" fmla="*/ 20 w 101"/>
                  <a:gd name="T31" fmla="*/ 42 h 134"/>
                  <a:gd name="T32" fmla="*/ 22 w 101"/>
                  <a:gd name="T33" fmla="*/ 42 h 134"/>
                  <a:gd name="T34" fmla="*/ 22 w 101"/>
                  <a:gd name="T35" fmla="*/ 44 h 134"/>
                  <a:gd name="T36" fmla="*/ 24 w 101"/>
                  <a:gd name="T37" fmla="*/ 44 h 134"/>
                  <a:gd name="T38" fmla="*/ 22 w 101"/>
                  <a:gd name="T39" fmla="*/ 42 h 134"/>
                  <a:gd name="T40" fmla="*/ 24 w 101"/>
                  <a:gd name="T41" fmla="*/ 40 h 134"/>
                  <a:gd name="T42" fmla="*/ 30 w 101"/>
                  <a:gd name="T43" fmla="*/ 38 h 134"/>
                  <a:gd name="T44" fmla="*/ 38 w 101"/>
                  <a:gd name="T45" fmla="*/ 33 h 134"/>
                  <a:gd name="T46" fmla="*/ 43 w 101"/>
                  <a:gd name="T47" fmla="*/ 22 h 134"/>
                  <a:gd name="T48" fmla="*/ 44 w 101"/>
                  <a:gd name="T49" fmla="*/ 22 h 134"/>
                  <a:gd name="T50" fmla="*/ 42 w 101"/>
                  <a:gd name="T51" fmla="*/ 15 h 134"/>
                  <a:gd name="T52" fmla="*/ 43 w 101"/>
                  <a:gd name="T53" fmla="*/ 14 h 134"/>
                  <a:gd name="T54" fmla="*/ 34 w 101"/>
                  <a:gd name="T55" fmla="*/ 10 h 134"/>
                  <a:gd name="T56" fmla="*/ 28 w 101"/>
                  <a:gd name="T57" fmla="*/ 10 h 134"/>
                  <a:gd name="T58" fmla="*/ 22 w 101"/>
                  <a:gd name="T59" fmla="*/ 5 h 134"/>
                  <a:gd name="T60" fmla="*/ 16 w 101"/>
                  <a:gd name="T61" fmla="*/ 0 h 134"/>
                  <a:gd name="T62" fmla="*/ 13 w 101"/>
                  <a:gd name="T63" fmla="*/ 4 h 134"/>
                  <a:gd name="T64" fmla="*/ 6 w 101"/>
                  <a:gd name="T65" fmla="*/ 7 h 134"/>
                  <a:gd name="T66" fmla="*/ 4 w 101"/>
                  <a:gd name="T67" fmla="*/ 14 h 134"/>
                  <a:gd name="T68" fmla="*/ 3 w 101"/>
                  <a:gd name="T69" fmla="*/ 18 h 134"/>
                  <a:gd name="T70" fmla="*/ 0 w 101"/>
                  <a:gd name="T71" fmla="*/ 23 h 13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01" h="134">
                    <a:moveTo>
                      <a:pt x="0" y="53"/>
                    </a:moveTo>
                    <a:lnTo>
                      <a:pt x="2" y="75"/>
                    </a:lnTo>
                    <a:lnTo>
                      <a:pt x="0" y="78"/>
                    </a:lnTo>
                    <a:lnTo>
                      <a:pt x="13" y="85"/>
                    </a:lnTo>
                    <a:lnTo>
                      <a:pt x="16" y="78"/>
                    </a:lnTo>
                    <a:lnTo>
                      <a:pt x="19" y="83"/>
                    </a:lnTo>
                    <a:lnTo>
                      <a:pt x="19" y="96"/>
                    </a:lnTo>
                    <a:lnTo>
                      <a:pt x="11" y="100"/>
                    </a:lnTo>
                    <a:lnTo>
                      <a:pt x="13" y="111"/>
                    </a:lnTo>
                    <a:lnTo>
                      <a:pt x="8" y="121"/>
                    </a:lnTo>
                    <a:lnTo>
                      <a:pt x="14" y="119"/>
                    </a:lnTo>
                    <a:lnTo>
                      <a:pt x="34" y="134"/>
                    </a:lnTo>
                    <a:lnTo>
                      <a:pt x="41" y="126"/>
                    </a:lnTo>
                    <a:lnTo>
                      <a:pt x="41" y="118"/>
                    </a:lnTo>
                    <a:lnTo>
                      <a:pt x="47" y="108"/>
                    </a:lnTo>
                    <a:lnTo>
                      <a:pt x="47" y="96"/>
                    </a:lnTo>
                    <a:lnTo>
                      <a:pt x="50" y="96"/>
                    </a:lnTo>
                    <a:lnTo>
                      <a:pt x="50" y="101"/>
                    </a:lnTo>
                    <a:lnTo>
                      <a:pt x="54" y="101"/>
                    </a:lnTo>
                    <a:lnTo>
                      <a:pt x="51" y="96"/>
                    </a:lnTo>
                    <a:lnTo>
                      <a:pt x="56" y="91"/>
                    </a:lnTo>
                    <a:lnTo>
                      <a:pt x="68" y="86"/>
                    </a:lnTo>
                    <a:lnTo>
                      <a:pt x="87" y="75"/>
                    </a:lnTo>
                    <a:lnTo>
                      <a:pt x="98" y="50"/>
                    </a:lnTo>
                    <a:lnTo>
                      <a:pt x="101" y="50"/>
                    </a:lnTo>
                    <a:lnTo>
                      <a:pt x="96" y="33"/>
                    </a:lnTo>
                    <a:lnTo>
                      <a:pt x="99" y="32"/>
                    </a:lnTo>
                    <a:lnTo>
                      <a:pt x="79" y="22"/>
                    </a:lnTo>
                    <a:lnTo>
                      <a:pt x="64" y="22"/>
                    </a:lnTo>
                    <a:lnTo>
                      <a:pt x="51" y="12"/>
                    </a:lnTo>
                    <a:lnTo>
                      <a:pt x="37" y="0"/>
                    </a:lnTo>
                    <a:lnTo>
                      <a:pt x="30" y="8"/>
                    </a:lnTo>
                    <a:lnTo>
                      <a:pt x="14" y="17"/>
                    </a:lnTo>
                    <a:lnTo>
                      <a:pt x="10" y="32"/>
                    </a:lnTo>
                    <a:lnTo>
                      <a:pt x="8" y="42"/>
                    </a:lnTo>
                    <a:lnTo>
                      <a:pt x="0" y="5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48" name="Freeform 278">
                <a:extLst>
                  <a:ext uri="{FF2B5EF4-FFF2-40B4-BE49-F238E27FC236}">
                    <a16:creationId xmlns:a16="http://schemas.microsoft.com/office/drawing/2014/main" id="{E26548D4-E844-1358-8547-11AFC7CEA5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5" y="3669"/>
                <a:ext cx="3" cy="1"/>
              </a:xfrm>
              <a:custGeom>
                <a:avLst/>
                <a:gdLst>
                  <a:gd name="T0" fmla="*/ 3 w 4"/>
                  <a:gd name="T1" fmla="*/ 0 h 2"/>
                  <a:gd name="T2" fmla="*/ 0 w 4"/>
                  <a:gd name="T3" fmla="*/ 1 h 2"/>
                  <a:gd name="T4" fmla="*/ 0 w 4"/>
                  <a:gd name="T5" fmla="*/ 0 h 2"/>
                  <a:gd name="T6" fmla="*/ 3 w 4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49" name="Freeform 279">
                <a:extLst>
                  <a:ext uri="{FF2B5EF4-FFF2-40B4-BE49-F238E27FC236}">
                    <a16:creationId xmlns:a16="http://schemas.microsoft.com/office/drawing/2014/main" id="{C1097290-96D9-D92C-E969-C7BDB986FB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" y="3645"/>
                <a:ext cx="105" cy="165"/>
              </a:xfrm>
              <a:custGeom>
                <a:avLst/>
                <a:gdLst>
                  <a:gd name="T0" fmla="*/ 101 w 238"/>
                  <a:gd name="T1" fmla="*/ 130 h 376"/>
                  <a:gd name="T2" fmla="*/ 103 w 238"/>
                  <a:gd name="T3" fmla="*/ 144 h 376"/>
                  <a:gd name="T4" fmla="*/ 101 w 238"/>
                  <a:gd name="T5" fmla="*/ 153 h 376"/>
                  <a:gd name="T6" fmla="*/ 100 w 238"/>
                  <a:gd name="T7" fmla="*/ 161 h 376"/>
                  <a:gd name="T8" fmla="*/ 95 w 238"/>
                  <a:gd name="T9" fmla="*/ 165 h 376"/>
                  <a:gd name="T10" fmla="*/ 86 w 238"/>
                  <a:gd name="T11" fmla="*/ 156 h 376"/>
                  <a:gd name="T12" fmla="*/ 73 w 238"/>
                  <a:gd name="T13" fmla="*/ 149 h 376"/>
                  <a:gd name="T14" fmla="*/ 59 w 238"/>
                  <a:gd name="T15" fmla="*/ 140 h 376"/>
                  <a:gd name="T16" fmla="*/ 45 w 238"/>
                  <a:gd name="T17" fmla="*/ 126 h 376"/>
                  <a:gd name="T18" fmla="*/ 40 w 238"/>
                  <a:gd name="T19" fmla="*/ 113 h 376"/>
                  <a:gd name="T20" fmla="*/ 31 w 238"/>
                  <a:gd name="T21" fmla="*/ 96 h 376"/>
                  <a:gd name="T22" fmla="*/ 24 w 238"/>
                  <a:gd name="T23" fmla="*/ 83 h 376"/>
                  <a:gd name="T24" fmla="*/ 17 w 238"/>
                  <a:gd name="T25" fmla="*/ 70 h 376"/>
                  <a:gd name="T26" fmla="*/ 8 w 238"/>
                  <a:gd name="T27" fmla="*/ 59 h 376"/>
                  <a:gd name="T28" fmla="*/ 3 w 238"/>
                  <a:gd name="T29" fmla="*/ 52 h 376"/>
                  <a:gd name="T30" fmla="*/ 4 w 238"/>
                  <a:gd name="T31" fmla="*/ 35 h 376"/>
                  <a:gd name="T32" fmla="*/ 9 w 238"/>
                  <a:gd name="T33" fmla="*/ 35 h 376"/>
                  <a:gd name="T34" fmla="*/ 9 w 238"/>
                  <a:gd name="T35" fmla="*/ 38 h 376"/>
                  <a:gd name="T36" fmla="*/ 21 w 238"/>
                  <a:gd name="T37" fmla="*/ 40 h 376"/>
                  <a:gd name="T38" fmla="*/ 24 w 238"/>
                  <a:gd name="T39" fmla="*/ 33 h 376"/>
                  <a:gd name="T40" fmla="*/ 26 w 238"/>
                  <a:gd name="T41" fmla="*/ 28 h 376"/>
                  <a:gd name="T42" fmla="*/ 27 w 238"/>
                  <a:gd name="T43" fmla="*/ 30 h 376"/>
                  <a:gd name="T44" fmla="*/ 28 w 238"/>
                  <a:gd name="T45" fmla="*/ 27 h 376"/>
                  <a:gd name="T46" fmla="*/ 42 w 238"/>
                  <a:gd name="T47" fmla="*/ 19 h 376"/>
                  <a:gd name="T48" fmla="*/ 48 w 238"/>
                  <a:gd name="T49" fmla="*/ 8 h 376"/>
                  <a:gd name="T50" fmla="*/ 48 w 238"/>
                  <a:gd name="T51" fmla="*/ 0 h 376"/>
                  <a:gd name="T52" fmla="*/ 53 w 238"/>
                  <a:gd name="T53" fmla="*/ 4 h 376"/>
                  <a:gd name="T54" fmla="*/ 63 w 238"/>
                  <a:gd name="T55" fmla="*/ 16 h 376"/>
                  <a:gd name="T56" fmla="*/ 75 w 238"/>
                  <a:gd name="T57" fmla="*/ 20 h 376"/>
                  <a:gd name="T58" fmla="*/ 89 w 238"/>
                  <a:gd name="T59" fmla="*/ 22 h 376"/>
                  <a:gd name="T60" fmla="*/ 90 w 238"/>
                  <a:gd name="T61" fmla="*/ 37 h 376"/>
                  <a:gd name="T62" fmla="*/ 81 w 238"/>
                  <a:gd name="T63" fmla="*/ 38 h 376"/>
                  <a:gd name="T64" fmla="*/ 69 w 238"/>
                  <a:gd name="T65" fmla="*/ 45 h 376"/>
                  <a:gd name="T66" fmla="*/ 64 w 238"/>
                  <a:gd name="T67" fmla="*/ 59 h 376"/>
                  <a:gd name="T68" fmla="*/ 64 w 238"/>
                  <a:gd name="T69" fmla="*/ 72 h 376"/>
                  <a:gd name="T70" fmla="*/ 68 w 238"/>
                  <a:gd name="T71" fmla="*/ 83 h 376"/>
                  <a:gd name="T72" fmla="*/ 75 w 238"/>
                  <a:gd name="T73" fmla="*/ 88 h 376"/>
                  <a:gd name="T74" fmla="*/ 86 w 238"/>
                  <a:gd name="T75" fmla="*/ 85 h 376"/>
                  <a:gd name="T76" fmla="*/ 88 w 238"/>
                  <a:gd name="T77" fmla="*/ 98 h 376"/>
                  <a:gd name="T78" fmla="*/ 100 w 238"/>
                  <a:gd name="T79" fmla="*/ 105 h 376"/>
                  <a:gd name="T80" fmla="*/ 103 w 238"/>
                  <a:gd name="T81" fmla="*/ 114 h 37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238" h="376">
                    <a:moveTo>
                      <a:pt x="233" y="286"/>
                    </a:moveTo>
                    <a:lnTo>
                      <a:pt x="230" y="296"/>
                    </a:lnTo>
                    <a:lnTo>
                      <a:pt x="230" y="315"/>
                    </a:lnTo>
                    <a:lnTo>
                      <a:pt x="233" y="329"/>
                    </a:lnTo>
                    <a:lnTo>
                      <a:pt x="238" y="333"/>
                    </a:lnTo>
                    <a:lnTo>
                      <a:pt x="230" y="349"/>
                    </a:lnTo>
                    <a:lnTo>
                      <a:pt x="230" y="358"/>
                    </a:lnTo>
                    <a:lnTo>
                      <a:pt x="226" y="366"/>
                    </a:lnTo>
                    <a:lnTo>
                      <a:pt x="219" y="374"/>
                    </a:lnTo>
                    <a:lnTo>
                      <a:pt x="216" y="376"/>
                    </a:lnTo>
                    <a:lnTo>
                      <a:pt x="202" y="366"/>
                    </a:lnTo>
                    <a:lnTo>
                      <a:pt x="196" y="356"/>
                    </a:lnTo>
                    <a:lnTo>
                      <a:pt x="179" y="348"/>
                    </a:lnTo>
                    <a:lnTo>
                      <a:pt x="165" y="339"/>
                    </a:lnTo>
                    <a:lnTo>
                      <a:pt x="150" y="329"/>
                    </a:lnTo>
                    <a:lnTo>
                      <a:pt x="133" y="320"/>
                    </a:lnTo>
                    <a:lnTo>
                      <a:pt x="119" y="303"/>
                    </a:lnTo>
                    <a:lnTo>
                      <a:pt x="102" y="288"/>
                    </a:lnTo>
                    <a:lnTo>
                      <a:pt x="103" y="278"/>
                    </a:lnTo>
                    <a:lnTo>
                      <a:pt x="91" y="257"/>
                    </a:lnTo>
                    <a:lnTo>
                      <a:pt x="79" y="233"/>
                    </a:lnTo>
                    <a:lnTo>
                      <a:pt x="71" y="218"/>
                    </a:lnTo>
                    <a:lnTo>
                      <a:pt x="61" y="205"/>
                    </a:lnTo>
                    <a:lnTo>
                      <a:pt x="54" y="190"/>
                    </a:lnTo>
                    <a:lnTo>
                      <a:pt x="48" y="175"/>
                    </a:lnTo>
                    <a:lnTo>
                      <a:pt x="38" y="159"/>
                    </a:lnTo>
                    <a:lnTo>
                      <a:pt x="32" y="144"/>
                    </a:lnTo>
                    <a:lnTo>
                      <a:pt x="18" y="134"/>
                    </a:lnTo>
                    <a:lnTo>
                      <a:pt x="6" y="124"/>
                    </a:lnTo>
                    <a:lnTo>
                      <a:pt x="7" y="119"/>
                    </a:lnTo>
                    <a:lnTo>
                      <a:pt x="0" y="92"/>
                    </a:lnTo>
                    <a:lnTo>
                      <a:pt x="10" y="79"/>
                    </a:lnTo>
                    <a:lnTo>
                      <a:pt x="18" y="66"/>
                    </a:lnTo>
                    <a:lnTo>
                      <a:pt x="20" y="79"/>
                    </a:lnTo>
                    <a:lnTo>
                      <a:pt x="15" y="87"/>
                    </a:lnTo>
                    <a:lnTo>
                      <a:pt x="21" y="87"/>
                    </a:lnTo>
                    <a:lnTo>
                      <a:pt x="41" y="102"/>
                    </a:lnTo>
                    <a:lnTo>
                      <a:pt x="48" y="92"/>
                    </a:lnTo>
                    <a:lnTo>
                      <a:pt x="48" y="84"/>
                    </a:lnTo>
                    <a:lnTo>
                      <a:pt x="54" y="76"/>
                    </a:lnTo>
                    <a:lnTo>
                      <a:pt x="55" y="64"/>
                    </a:lnTo>
                    <a:lnTo>
                      <a:pt x="58" y="64"/>
                    </a:lnTo>
                    <a:lnTo>
                      <a:pt x="58" y="69"/>
                    </a:lnTo>
                    <a:lnTo>
                      <a:pt x="61" y="69"/>
                    </a:lnTo>
                    <a:lnTo>
                      <a:pt x="58" y="64"/>
                    </a:lnTo>
                    <a:lnTo>
                      <a:pt x="63" y="61"/>
                    </a:lnTo>
                    <a:lnTo>
                      <a:pt x="75" y="54"/>
                    </a:lnTo>
                    <a:lnTo>
                      <a:pt x="96" y="43"/>
                    </a:lnTo>
                    <a:lnTo>
                      <a:pt x="105" y="18"/>
                    </a:lnTo>
                    <a:lnTo>
                      <a:pt x="108" y="19"/>
                    </a:lnTo>
                    <a:lnTo>
                      <a:pt x="103" y="1"/>
                    </a:lnTo>
                    <a:lnTo>
                      <a:pt x="108" y="0"/>
                    </a:lnTo>
                    <a:lnTo>
                      <a:pt x="119" y="10"/>
                    </a:lnTo>
                    <a:lnTo>
                      <a:pt x="130" y="19"/>
                    </a:lnTo>
                    <a:lnTo>
                      <a:pt x="142" y="36"/>
                    </a:lnTo>
                    <a:lnTo>
                      <a:pt x="147" y="46"/>
                    </a:lnTo>
                    <a:lnTo>
                      <a:pt x="170" y="46"/>
                    </a:lnTo>
                    <a:lnTo>
                      <a:pt x="182" y="46"/>
                    </a:lnTo>
                    <a:lnTo>
                      <a:pt x="201" y="51"/>
                    </a:lnTo>
                    <a:lnTo>
                      <a:pt x="193" y="76"/>
                    </a:lnTo>
                    <a:lnTo>
                      <a:pt x="205" y="84"/>
                    </a:lnTo>
                    <a:lnTo>
                      <a:pt x="199" y="84"/>
                    </a:lnTo>
                    <a:lnTo>
                      <a:pt x="184" y="87"/>
                    </a:lnTo>
                    <a:lnTo>
                      <a:pt x="170" y="94"/>
                    </a:lnTo>
                    <a:lnTo>
                      <a:pt x="156" y="102"/>
                    </a:lnTo>
                    <a:lnTo>
                      <a:pt x="151" y="117"/>
                    </a:lnTo>
                    <a:lnTo>
                      <a:pt x="145" y="134"/>
                    </a:lnTo>
                    <a:lnTo>
                      <a:pt x="136" y="149"/>
                    </a:lnTo>
                    <a:lnTo>
                      <a:pt x="145" y="164"/>
                    </a:lnTo>
                    <a:lnTo>
                      <a:pt x="153" y="182"/>
                    </a:lnTo>
                    <a:lnTo>
                      <a:pt x="153" y="190"/>
                    </a:lnTo>
                    <a:lnTo>
                      <a:pt x="159" y="190"/>
                    </a:lnTo>
                    <a:lnTo>
                      <a:pt x="170" y="200"/>
                    </a:lnTo>
                    <a:lnTo>
                      <a:pt x="184" y="203"/>
                    </a:lnTo>
                    <a:lnTo>
                      <a:pt x="196" y="194"/>
                    </a:lnTo>
                    <a:lnTo>
                      <a:pt x="198" y="208"/>
                    </a:lnTo>
                    <a:lnTo>
                      <a:pt x="199" y="223"/>
                    </a:lnTo>
                    <a:lnTo>
                      <a:pt x="219" y="223"/>
                    </a:lnTo>
                    <a:lnTo>
                      <a:pt x="226" y="240"/>
                    </a:lnTo>
                    <a:lnTo>
                      <a:pt x="236" y="255"/>
                    </a:lnTo>
                    <a:lnTo>
                      <a:pt x="233" y="260"/>
                    </a:lnTo>
                    <a:lnTo>
                      <a:pt x="233" y="28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50" name="Freeform 280">
                <a:extLst>
                  <a:ext uri="{FF2B5EF4-FFF2-40B4-BE49-F238E27FC236}">
                    <a16:creationId xmlns:a16="http://schemas.microsoft.com/office/drawing/2014/main" id="{9BB8F2FF-8B39-7BA4-05AB-CC4831358A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24" y="3167"/>
                <a:ext cx="407" cy="295"/>
              </a:xfrm>
              <a:custGeom>
                <a:avLst/>
                <a:gdLst>
                  <a:gd name="T0" fmla="*/ 159 w 924"/>
                  <a:gd name="T1" fmla="*/ 225 h 674"/>
                  <a:gd name="T2" fmla="*/ 126 w 924"/>
                  <a:gd name="T3" fmla="*/ 226 h 674"/>
                  <a:gd name="T4" fmla="*/ 100 w 924"/>
                  <a:gd name="T5" fmla="*/ 214 h 674"/>
                  <a:gd name="T6" fmla="*/ 77 w 924"/>
                  <a:gd name="T7" fmla="*/ 207 h 674"/>
                  <a:gd name="T8" fmla="*/ 57 w 924"/>
                  <a:gd name="T9" fmla="*/ 185 h 674"/>
                  <a:gd name="T10" fmla="*/ 52 w 924"/>
                  <a:gd name="T11" fmla="*/ 168 h 674"/>
                  <a:gd name="T12" fmla="*/ 43 w 924"/>
                  <a:gd name="T13" fmla="*/ 159 h 674"/>
                  <a:gd name="T14" fmla="*/ 13 w 924"/>
                  <a:gd name="T15" fmla="*/ 144 h 674"/>
                  <a:gd name="T16" fmla="*/ 4 w 924"/>
                  <a:gd name="T17" fmla="*/ 131 h 674"/>
                  <a:gd name="T18" fmla="*/ 16 w 924"/>
                  <a:gd name="T19" fmla="*/ 114 h 674"/>
                  <a:gd name="T20" fmla="*/ 38 w 924"/>
                  <a:gd name="T21" fmla="*/ 93 h 674"/>
                  <a:gd name="T22" fmla="*/ 29 w 924"/>
                  <a:gd name="T23" fmla="*/ 74 h 674"/>
                  <a:gd name="T24" fmla="*/ 42 w 924"/>
                  <a:gd name="T25" fmla="*/ 54 h 674"/>
                  <a:gd name="T26" fmla="*/ 63 w 924"/>
                  <a:gd name="T27" fmla="*/ 37 h 674"/>
                  <a:gd name="T28" fmla="*/ 88 w 924"/>
                  <a:gd name="T29" fmla="*/ 49 h 674"/>
                  <a:gd name="T30" fmla="*/ 122 w 924"/>
                  <a:gd name="T31" fmla="*/ 73 h 674"/>
                  <a:gd name="T32" fmla="*/ 165 w 924"/>
                  <a:gd name="T33" fmla="*/ 93 h 674"/>
                  <a:gd name="T34" fmla="*/ 207 w 924"/>
                  <a:gd name="T35" fmla="*/ 100 h 674"/>
                  <a:gd name="T36" fmla="*/ 241 w 924"/>
                  <a:gd name="T37" fmla="*/ 97 h 674"/>
                  <a:gd name="T38" fmla="*/ 257 w 924"/>
                  <a:gd name="T39" fmla="*/ 72 h 674"/>
                  <a:gd name="T40" fmla="*/ 292 w 924"/>
                  <a:gd name="T41" fmla="*/ 59 h 674"/>
                  <a:gd name="T42" fmla="*/ 280 w 924"/>
                  <a:gd name="T43" fmla="*/ 49 h 674"/>
                  <a:gd name="T44" fmla="*/ 266 w 924"/>
                  <a:gd name="T45" fmla="*/ 30 h 674"/>
                  <a:gd name="T46" fmla="*/ 274 w 924"/>
                  <a:gd name="T47" fmla="*/ 7 h 674"/>
                  <a:gd name="T48" fmla="*/ 311 w 924"/>
                  <a:gd name="T49" fmla="*/ 6 h 674"/>
                  <a:gd name="T50" fmla="*/ 348 w 924"/>
                  <a:gd name="T51" fmla="*/ 33 h 674"/>
                  <a:gd name="T52" fmla="*/ 400 w 924"/>
                  <a:gd name="T53" fmla="*/ 44 h 674"/>
                  <a:gd name="T54" fmla="*/ 396 w 924"/>
                  <a:gd name="T55" fmla="*/ 76 h 674"/>
                  <a:gd name="T56" fmla="*/ 397 w 924"/>
                  <a:gd name="T57" fmla="*/ 91 h 674"/>
                  <a:gd name="T58" fmla="*/ 382 w 924"/>
                  <a:gd name="T59" fmla="*/ 103 h 674"/>
                  <a:gd name="T60" fmla="*/ 363 w 924"/>
                  <a:gd name="T61" fmla="*/ 122 h 674"/>
                  <a:gd name="T62" fmla="*/ 352 w 924"/>
                  <a:gd name="T63" fmla="*/ 113 h 674"/>
                  <a:gd name="T64" fmla="*/ 331 w 924"/>
                  <a:gd name="T65" fmla="*/ 126 h 674"/>
                  <a:gd name="T66" fmla="*/ 349 w 924"/>
                  <a:gd name="T67" fmla="*/ 141 h 674"/>
                  <a:gd name="T68" fmla="*/ 365 w 924"/>
                  <a:gd name="T69" fmla="*/ 146 h 674"/>
                  <a:gd name="T70" fmla="*/ 365 w 924"/>
                  <a:gd name="T71" fmla="*/ 171 h 674"/>
                  <a:gd name="T72" fmla="*/ 373 w 924"/>
                  <a:gd name="T73" fmla="*/ 190 h 674"/>
                  <a:gd name="T74" fmla="*/ 382 w 924"/>
                  <a:gd name="T75" fmla="*/ 207 h 674"/>
                  <a:gd name="T76" fmla="*/ 392 w 924"/>
                  <a:gd name="T77" fmla="*/ 214 h 674"/>
                  <a:gd name="T78" fmla="*/ 392 w 924"/>
                  <a:gd name="T79" fmla="*/ 222 h 674"/>
                  <a:gd name="T80" fmla="*/ 384 w 924"/>
                  <a:gd name="T81" fmla="*/ 239 h 674"/>
                  <a:gd name="T82" fmla="*/ 383 w 924"/>
                  <a:gd name="T83" fmla="*/ 245 h 674"/>
                  <a:gd name="T84" fmla="*/ 379 w 924"/>
                  <a:gd name="T85" fmla="*/ 254 h 674"/>
                  <a:gd name="T86" fmla="*/ 371 w 924"/>
                  <a:gd name="T87" fmla="*/ 263 h 674"/>
                  <a:gd name="T88" fmla="*/ 358 w 924"/>
                  <a:gd name="T89" fmla="*/ 272 h 674"/>
                  <a:gd name="T90" fmla="*/ 349 w 924"/>
                  <a:gd name="T91" fmla="*/ 276 h 674"/>
                  <a:gd name="T92" fmla="*/ 340 w 924"/>
                  <a:gd name="T93" fmla="*/ 276 h 674"/>
                  <a:gd name="T94" fmla="*/ 333 w 924"/>
                  <a:gd name="T95" fmla="*/ 282 h 674"/>
                  <a:gd name="T96" fmla="*/ 320 w 924"/>
                  <a:gd name="T97" fmla="*/ 291 h 674"/>
                  <a:gd name="T98" fmla="*/ 310 w 924"/>
                  <a:gd name="T99" fmla="*/ 284 h 674"/>
                  <a:gd name="T100" fmla="*/ 293 w 924"/>
                  <a:gd name="T101" fmla="*/ 281 h 674"/>
                  <a:gd name="T102" fmla="*/ 271 w 924"/>
                  <a:gd name="T103" fmla="*/ 274 h 674"/>
                  <a:gd name="T104" fmla="*/ 260 w 924"/>
                  <a:gd name="T105" fmla="*/ 276 h 674"/>
                  <a:gd name="T106" fmla="*/ 249 w 924"/>
                  <a:gd name="T107" fmla="*/ 286 h 674"/>
                  <a:gd name="T108" fmla="*/ 231 w 924"/>
                  <a:gd name="T109" fmla="*/ 277 h 674"/>
                  <a:gd name="T110" fmla="*/ 216 w 924"/>
                  <a:gd name="T111" fmla="*/ 262 h 674"/>
                  <a:gd name="T112" fmla="*/ 219 w 924"/>
                  <a:gd name="T113" fmla="*/ 237 h 674"/>
                  <a:gd name="T114" fmla="*/ 198 w 924"/>
                  <a:gd name="T115" fmla="*/ 221 h 674"/>
                  <a:gd name="T116" fmla="*/ 188 w 924"/>
                  <a:gd name="T117" fmla="*/ 216 h 67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924" h="674">
                    <a:moveTo>
                      <a:pt x="412" y="490"/>
                    </a:moveTo>
                    <a:lnTo>
                      <a:pt x="399" y="503"/>
                    </a:lnTo>
                    <a:lnTo>
                      <a:pt x="387" y="515"/>
                    </a:lnTo>
                    <a:lnTo>
                      <a:pt x="370" y="520"/>
                    </a:lnTo>
                    <a:lnTo>
                      <a:pt x="362" y="515"/>
                    </a:lnTo>
                    <a:lnTo>
                      <a:pt x="336" y="512"/>
                    </a:lnTo>
                    <a:lnTo>
                      <a:pt x="325" y="532"/>
                    </a:lnTo>
                    <a:lnTo>
                      <a:pt x="317" y="515"/>
                    </a:lnTo>
                    <a:lnTo>
                      <a:pt x="308" y="518"/>
                    </a:lnTo>
                    <a:lnTo>
                      <a:pt x="286" y="517"/>
                    </a:lnTo>
                    <a:lnTo>
                      <a:pt x="271" y="515"/>
                    </a:lnTo>
                    <a:lnTo>
                      <a:pt x="254" y="507"/>
                    </a:lnTo>
                    <a:lnTo>
                      <a:pt x="251" y="503"/>
                    </a:lnTo>
                    <a:lnTo>
                      <a:pt x="234" y="497"/>
                    </a:lnTo>
                    <a:lnTo>
                      <a:pt x="228" y="490"/>
                    </a:lnTo>
                    <a:lnTo>
                      <a:pt x="221" y="492"/>
                    </a:lnTo>
                    <a:lnTo>
                      <a:pt x="198" y="474"/>
                    </a:lnTo>
                    <a:lnTo>
                      <a:pt x="184" y="467"/>
                    </a:lnTo>
                    <a:lnTo>
                      <a:pt x="177" y="472"/>
                    </a:lnTo>
                    <a:lnTo>
                      <a:pt x="175" y="472"/>
                    </a:lnTo>
                    <a:lnTo>
                      <a:pt x="158" y="459"/>
                    </a:lnTo>
                    <a:lnTo>
                      <a:pt x="136" y="445"/>
                    </a:lnTo>
                    <a:lnTo>
                      <a:pt x="129" y="444"/>
                    </a:lnTo>
                    <a:lnTo>
                      <a:pt x="119" y="422"/>
                    </a:lnTo>
                    <a:lnTo>
                      <a:pt x="130" y="422"/>
                    </a:lnTo>
                    <a:lnTo>
                      <a:pt x="133" y="416"/>
                    </a:lnTo>
                    <a:lnTo>
                      <a:pt x="124" y="401"/>
                    </a:lnTo>
                    <a:lnTo>
                      <a:pt x="124" y="392"/>
                    </a:lnTo>
                    <a:lnTo>
                      <a:pt x="121" y="387"/>
                    </a:lnTo>
                    <a:lnTo>
                      <a:pt x="119" y="384"/>
                    </a:lnTo>
                    <a:lnTo>
                      <a:pt x="115" y="379"/>
                    </a:lnTo>
                    <a:lnTo>
                      <a:pt x="115" y="374"/>
                    </a:lnTo>
                    <a:lnTo>
                      <a:pt x="112" y="369"/>
                    </a:lnTo>
                    <a:lnTo>
                      <a:pt x="107" y="366"/>
                    </a:lnTo>
                    <a:lnTo>
                      <a:pt x="98" y="364"/>
                    </a:lnTo>
                    <a:lnTo>
                      <a:pt x="93" y="361"/>
                    </a:lnTo>
                    <a:lnTo>
                      <a:pt x="70" y="356"/>
                    </a:lnTo>
                    <a:lnTo>
                      <a:pt x="56" y="348"/>
                    </a:lnTo>
                    <a:lnTo>
                      <a:pt x="50" y="336"/>
                    </a:lnTo>
                    <a:lnTo>
                      <a:pt x="30" y="329"/>
                    </a:lnTo>
                    <a:lnTo>
                      <a:pt x="28" y="324"/>
                    </a:lnTo>
                    <a:lnTo>
                      <a:pt x="33" y="326"/>
                    </a:lnTo>
                    <a:lnTo>
                      <a:pt x="36" y="323"/>
                    </a:lnTo>
                    <a:lnTo>
                      <a:pt x="25" y="300"/>
                    </a:lnTo>
                    <a:lnTo>
                      <a:pt x="9" y="300"/>
                    </a:lnTo>
                    <a:lnTo>
                      <a:pt x="0" y="281"/>
                    </a:lnTo>
                    <a:lnTo>
                      <a:pt x="8" y="266"/>
                    </a:lnTo>
                    <a:lnTo>
                      <a:pt x="19" y="260"/>
                    </a:lnTo>
                    <a:lnTo>
                      <a:pt x="26" y="258"/>
                    </a:lnTo>
                    <a:lnTo>
                      <a:pt x="36" y="261"/>
                    </a:lnTo>
                    <a:lnTo>
                      <a:pt x="47" y="248"/>
                    </a:lnTo>
                    <a:lnTo>
                      <a:pt x="65" y="243"/>
                    </a:lnTo>
                    <a:lnTo>
                      <a:pt x="78" y="233"/>
                    </a:lnTo>
                    <a:lnTo>
                      <a:pt x="91" y="222"/>
                    </a:lnTo>
                    <a:lnTo>
                      <a:pt x="87" y="213"/>
                    </a:lnTo>
                    <a:lnTo>
                      <a:pt x="90" y="208"/>
                    </a:lnTo>
                    <a:lnTo>
                      <a:pt x="90" y="203"/>
                    </a:lnTo>
                    <a:lnTo>
                      <a:pt x="82" y="190"/>
                    </a:lnTo>
                    <a:lnTo>
                      <a:pt x="74" y="175"/>
                    </a:lnTo>
                    <a:lnTo>
                      <a:pt x="65" y="170"/>
                    </a:lnTo>
                    <a:lnTo>
                      <a:pt x="84" y="162"/>
                    </a:lnTo>
                    <a:lnTo>
                      <a:pt x="107" y="165"/>
                    </a:lnTo>
                    <a:lnTo>
                      <a:pt x="99" y="157"/>
                    </a:lnTo>
                    <a:lnTo>
                      <a:pt x="98" y="139"/>
                    </a:lnTo>
                    <a:lnTo>
                      <a:pt x="96" y="124"/>
                    </a:lnTo>
                    <a:lnTo>
                      <a:pt x="121" y="127"/>
                    </a:lnTo>
                    <a:lnTo>
                      <a:pt x="136" y="126"/>
                    </a:lnTo>
                    <a:lnTo>
                      <a:pt x="130" y="104"/>
                    </a:lnTo>
                    <a:lnTo>
                      <a:pt x="136" y="97"/>
                    </a:lnTo>
                    <a:lnTo>
                      <a:pt x="144" y="84"/>
                    </a:lnTo>
                    <a:lnTo>
                      <a:pt x="156" y="82"/>
                    </a:lnTo>
                    <a:lnTo>
                      <a:pt x="156" y="86"/>
                    </a:lnTo>
                    <a:lnTo>
                      <a:pt x="164" y="94"/>
                    </a:lnTo>
                    <a:lnTo>
                      <a:pt x="187" y="109"/>
                    </a:lnTo>
                    <a:lnTo>
                      <a:pt x="200" y="111"/>
                    </a:lnTo>
                    <a:lnTo>
                      <a:pt x="225" y="127"/>
                    </a:lnTo>
                    <a:lnTo>
                      <a:pt x="231" y="144"/>
                    </a:lnTo>
                    <a:lnTo>
                      <a:pt x="237" y="160"/>
                    </a:lnTo>
                    <a:lnTo>
                      <a:pt x="255" y="165"/>
                    </a:lnTo>
                    <a:lnTo>
                      <a:pt x="276" y="167"/>
                    </a:lnTo>
                    <a:lnTo>
                      <a:pt x="299" y="174"/>
                    </a:lnTo>
                    <a:lnTo>
                      <a:pt x="322" y="184"/>
                    </a:lnTo>
                    <a:lnTo>
                      <a:pt x="337" y="198"/>
                    </a:lnTo>
                    <a:lnTo>
                      <a:pt x="351" y="213"/>
                    </a:lnTo>
                    <a:lnTo>
                      <a:pt x="375" y="213"/>
                    </a:lnTo>
                    <a:lnTo>
                      <a:pt x="398" y="217"/>
                    </a:lnTo>
                    <a:lnTo>
                      <a:pt x="421" y="217"/>
                    </a:lnTo>
                    <a:lnTo>
                      <a:pt x="444" y="218"/>
                    </a:lnTo>
                    <a:lnTo>
                      <a:pt x="450" y="225"/>
                    </a:lnTo>
                    <a:lnTo>
                      <a:pt x="471" y="228"/>
                    </a:lnTo>
                    <a:lnTo>
                      <a:pt x="491" y="232"/>
                    </a:lnTo>
                    <a:lnTo>
                      <a:pt x="505" y="237"/>
                    </a:lnTo>
                    <a:lnTo>
                      <a:pt x="517" y="230"/>
                    </a:lnTo>
                    <a:lnTo>
                      <a:pt x="528" y="222"/>
                    </a:lnTo>
                    <a:lnTo>
                      <a:pt x="548" y="222"/>
                    </a:lnTo>
                    <a:lnTo>
                      <a:pt x="568" y="220"/>
                    </a:lnTo>
                    <a:lnTo>
                      <a:pt x="582" y="207"/>
                    </a:lnTo>
                    <a:lnTo>
                      <a:pt x="597" y="193"/>
                    </a:lnTo>
                    <a:lnTo>
                      <a:pt x="587" y="184"/>
                    </a:lnTo>
                    <a:lnTo>
                      <a:pt x="583" y="165"/>
                    </a:lnTo>
                    <a:lnTo>
                      <a:pt x="607" y="172"/>
                    </a:lnTo>
                    <a:lnTo>
                      <a:pt x="622" y="162"/>
                    </a:lnTo>
                    <a:lnTo>
                      <a:pt x="639" y="157"/>
                    </a:lnTo>
                    <a:lnTo>
                      <a:pt x="642" y="144"/>
                    </a:lnTo>
                    <a:lnTo>
                      <a:pt x="662" y="134"/>
                    </a:lnTo>
                    <a:lnTo>
                      <a:pt x="690" y="135"/>
                    </a:lnTo>
                    <a:lnTo>
                      <a:pt x="686" y="124"/>
                    </a:lnTo>
                    <a:lnTo>
                      <a:pt x="648" y="106"/>
                    </a:lnTo>
                    <a:lnTo>
                      <a:pt x="642" y="114"/>
                    </a:lnTo>
                    <a:lnTo>
                      <a:pt x="635" y="111"/>
                    </a:lnTo>
                    <a:lnTo>
                      <a:pt x="619" y="111"/>
                    </a:lnTo>
                    <a:lnTo>
                      <a:pt x="605" y="102"/>
                    </a:lnTo>
                    <a:lnTo>
                      <a:pt x="608" y="101"/>
                    </a:lnTo>
                    <a:lnTo>
                      <a:pt x="607" y="86"/>
                    </a:lnTo>
                    <a:lnTo>
                      <a:pt x="605" y="69"/>
                    </a:lnTo>
                    <a:lnTo>
                      <a:pt x="628" y="74"/>
                    </a:lnTo>
                    <a:lnTo>
                      <a:pt x="639" y="61"/>
                    </a:lnTo>
                    <a:lnTo>
                      <a:pt x="635" y="46"/>
                    </a:lnTo>
                    <a:lnTo>
                      <a:pt x="633" y="23"/>
                    </a:lnTo>
                    <a:lnTo>
                      <a:pt x="622" y="16"/>
                    </a:lnTo>
                    <a:lnTo>
                      <a:pt x="614" y="13"/>
                    </a:lnTo>
                    <a:lnTo>
                      <a:pt x="625" y="1"/>
                    </a:lnTo>
                    <a:lnTo>
                      <a:pt x="647" y="0"/>
                    </a:lnTo>
                    <a:lnTo>
                      <a:pt x="665" y="0"/>
                    </a:lnTo>
                    <a:lnTo>
                      <a:pt x="707" y="13"/>
                    </a:lnTo>
                    <a:lnTo>
                      <a:pt x="723" y="26"/>
                    </a:lnTo>
                    <a:lnTo>
                      <a:pt x="740" y="39"/>
                    </a:lnTo>
                    <a:lnTo>
                      <a:pt x="757" y="54"/>
                    </a:lnTo>
                    <a:lnTo>
                      <a:pt x="774" y="67"/>
                    </a:lnTo>
                    <a:lnTo>
                      <a:pt x="791" y="76"/>
                    </a:lnTo>
                    <a:lnTo>
                      <a:pt x="820" y="82"/>
                    </a:lnTo>
                    <a:lnTo>
                      <a:pt x="837" y="91"/>
                    </a:lnTo>
                    <a:lnTo>
                      <a:pt x="857" y="114"/>
                    </a:lnTo>
                    <a:lnTo>
                      <a:pt x="882" y="109"/>
                    </a:lnTo>
                    <a:lnTo>
                      <a:pt x="907" y="101"/>
                    </a:lnTo>
                    <a:lnTo>
                      <a:pt x="916" y="117"/>
                    </a:lnTo>
                    <a:lnTo>
                      <a:pt x="921" y="142"/>
                    </a:lnTo>
                    <a:lnTo>
                      <a:pt x="924" y="165"/>
                    </a:lnTo>
                    <a:lnTo>
                      <a:pt x="902" y="162"/>
                    </a:lnTo>
                    <a:lnTo>
                      <a:pt x="899" y="174"/>
                    </a:lnTo>
                    <a:lnTo>
                      <a:pt x="910" y="190"/>
                    </a:lnTo>
                    <a:lnTo>
                      <a:pt x="921" y="210"/>
                    </a:lnTo>
                    <a:lnTo>
                      <a:pt x="915" y="213"/>
                    </a:lnTo>
                    <a:lnTo>
                      <a:pt x="918" y="220"/>
                    </a:lnTo>
                    <a:lnTo>
                      <a:pt x="901" y="208"/>
                    </a:lnTo>
                    <a:lnTo>
                      <a:pt x="899" y="220"/>
                    </a:lnTo>
                    <a:lnTo>
                      <a:pt x="888" y="228"/>
                    </a:lnTo>
                    <a:lnTo>
                      <a:pt x="882" y="230"/>
                    </a:lnTo>
                    <a:lnTo>
                      <a:pt x="888" y="240"/>
                    </a:lnTo>
                    <a:lnTo>
                      <a:pt x="868" y="235"/>
                    </a:lnTo>
                    <a:lnTo>
                      <a:pt x="864" y="237"/>
                    </a:lnTo>
                    <a:lnTo>
                      <a:pt x="851" y="255"/>
                    </a:lnTo>
                    <a:lnTo>
                      <a:pt x="842" y="266"/>
                    </a:lnTo>
                    <a:lnTo>
                      <a:pt x="834" y="273"/>
                    </a:lnTo>
                    <a:lnTo>
                      <a:pt x="823" y="278"/>
                    </a:lnTo>
                    <a:lnTo>
                      <a:pt x="814" y="288"/>
                    </a:lnTo>
                    <a:lnTo>
                      <a:pt x="800" y="293"/>
                    </a:lnTo>
                    <a:lnTo>
                      <a:pt x="806" y="281"/>
                    </a:lnTo>
                    <a:lnTo>
                      <a:pt x="795" y="278"/>
                    </a:lnTo>
                    <a:lnTo>
                      <a:pt x="800" y="258"/>
                    </a:lnTo>
                    <a:lnTo>
                      <a:pt x="791" y="252"/>
                    </a:lnTo>
                    <a:lnTo>
                      <a:pt x="778" y="255"/>
                    </a:lnTo>
                    <a:lnTo>
                      <a:pt x="771" y="266"/>
                    </a:lnTo>
                    <a:lnTo>
                      <a:pt x="763" y="281"/>
                    </a:lnTo>
                    <a:lnTo>
                      <a:pt x="751" y="288"/>
                    </a:lnTo>
                    <a:lnTo>
                      <a:pt x="741" y="288"/>
                    </a:lnTo>
                    <a:lnTo>
                      <a:pt x="747" y="303"/>
                    </a:lnTo>
                    <a:lnTo>
                      <a:pt x="771" y="310"/>
                    </a:lnTo>
                    <a:lnTo>
                      <a:pt x="780" y="326"/>
                    </a:lnTo>
                    <a:lnTo>
                      <a:pt x="792" y="323"/>
                    </a:lnTo>
                    <a:lnTo>
                      <a:pt x="806" y="314"/>
                    </a:lnTo>
                    <a:lnTo>
                      <a:pt x="828" y="323"/>
                    </a:lnTo>
                    <a:lnTo>
                      <a:pt x="837" y="323"/>
                    </a:lnTo>
                    <a:lnTo>
                      <a:pt x="839" y="334"/>
                    </a:lnTo>
                    <a:lnTo>
                      <a:pt x="829" y="333"/>
                    </a:lnTo>
                    <a:lnTo>
                      <a:pt x="817" y="339"/>
                    </a:lnTo>
                    <a:lnTo>
                      <a:pt x="812" y="351"/>
                    </a:lnTo>
                    <a:lnTo>
                      <a:pt x="809" y="356"/>
                    </a:lnTo>
                    <a:lnTo>
                      <a:pt x="805" y="376"/>
                    </a:lnTo>
                    <a:lnTo>
                      <a:pt x="829" y="391"/>
                    </a:lnTo>
                    <a:lnTo>
                      <a:pt x="842" y="407"/>
                    </a:lnTo>
                    <a:lnTo>
                      <a:pt x="854" y="422"/>
                    </a:lnTo>
                    <a:lnTo>
                      <a:pt x="873" y="440"/>
                    </a:lnTo>
                    <a:lnTo>
                      <a:pt x="847" y="431"/>
                    </a:lnTo>
                    <a:lnTo>
                      <a:pt x="847" y="434"/>
                    </a:lnTo>
                    <a:lnTo>
                      <a:pt x="864" y="444"/>
                    </a:lnTo>
                    <a:lnTo>
                      <a:pt x="879" y="455"/>
                    </a:lnTo>
                    <a:lnTo>
                      <a:pt x="864" y="467"/>
                    </a:lnTo>
                    <a:lnTo>
                      <a:pt x="857" y="470"/>
                    </a:lnTo>
                    <a:lnTo>
                      <a:pt x="867" y="472"/>
                    </a:lnTo>
                    <a:lnTo>
                      <a:pt x="879" y="472"/>
                    </a:lnTo>
                    <a:lnTo>
                      <a:pt x="890" y="479"/>
                    </a:lnTo>
                    <a:lnTo>
                      <a:pt x="884" y="485"/>
                    </a:lnTo>
                    <a:lnTo>
                      <a:pt x="890" y="485"/>
                    </a:lnTo>
                    <a:lnTo>
                      <a:pt x="890" y="490"/>
                    </a:lnTo>
                    <a:lnTo>
                      <a:pt x="885" y="494"/>
                    </a:lnTo>
                    <a:lnTo>
                      <a:pt x="887" y="497"/>
                    </a:lnTo>
                    <a:lnTo>
                      <a:pt x="888" y="502"/>
                    </a:lnTo>
                    <a:lnTo>
                      <a:pt x="885" y="502"/>
                    </a:lnTo>
                    <a:lnTo>
                      <a:pt x="890" y="508"/>
                    </a:lnTo>
                    <a:lnTo>
                      <a:pt x="885" y="510"/>
                    </a:lnTo>
                    <a:lnTo>
                      <a:pt x="874" y="515"/>
                    </a:lnTo>
                    <a:lnTo>
                      <a:pt x="879" y="520"/>
                    </a:lnTo>
                    <a:lnTo>
                      <a:pt x="876" y="532"/>
                    </a:lnTo>
                    <a:lnTo>
                      <a:pt x="871" y="547"/>
                    </a:lnTo>
                    <a:lnTo>
                      <a:pt x="867" y="547"/>
                    </a:lnTo>
                    <a:lnTo>
                      <a:pt x="871" y="552"/>
                    </a:lnTo>
                    <a:lnTo>
                      <a:pt x="864" y="557"/>
                    </a:lnTo>
                    <a:lnTo>
                      <a:pt x="862" y="557"/>
                    </a:lnTo>
                    <a:lnTo>
                      <a:pt x="870" y="560"/>
                    </a:lnTo>
                    <a:lnTo>
                      <a:pt x="871" y="570"/>
                    </a:lnTo>
                    <a:lnTo>
                      <a:pt x="865" y="568"/>
                    </a:lnTo>
                    <a:lnTo>
                      <a:pt x="865" y="575"/>
                    </a:lnTo>
                    <a:lnTo>
                      <a:pt x="864" y="578"/>
                    </a:lnTo>
                    <a:lnTo>
                      <a:pt x="860" y="580"/>
                    </a:lnTo>
                    <a:lnTo>
                      <a:pt x="859" y="588"/>
                    </a:lnTo>
                    <a:lnTo>
                      <a:pt x="850" y="590"/>
                    </a:lnTo>
                    <a:lnTo>
                      <a:pt x="848" y="590"/>
                    </a:lnTo>
                    <a:lnTo>
                      <a:pt x="850" y="595"/>
                    </a:lnTo>
                    <a:lnTo>
                      <a:pt x="843" y="601"/>
                    </a:lnTo>
                    <a:lnTo>
                      <a:pt x="829" y="613"/>
                    </a:lnTo>
                    <a:lnTo>
                      <a:pt x="825" y="620"/>
                    </a:lnTo>
                    <a:lnTo>
                      <a:pt x="814" y="621"/>
                    </a:lnTo>
                    <a:lnTo>
                      <a:pt x="812" y="621"/>
                    </a:lnTo>
                    <a:lnTo>
                      <a:pt x="811" y="624"/>
                    </a:lnTo>
                    <a:lnTo>
                      <a:pt x="802" y="626"/>
                    </a:lnTo>
                    <a:lnTo>
                      <a:pt x="799" y="624"/>
                    </a:lnTo>
                    <a:lnTo>
                      <a:pt x="794" y="629"/>
                    </a:lnTo>
                    <a:lnTo>
                      <a:pt x="792" y="631"/>
                    </a:lnTo>
                    <a:lnTo>
                      <a:pt x="786" y="631"/>
                    </a:lnTo>
                    <a:lnTo>
                      <a:pt x="777" y="616"/>
                    </a:lnTo>
                    <a:lnTo>
                      <a:pt x="774" y="621"/>
                    </a:lnTo>
                    <a:lnTo>
                      <a:pt x="777" y="636"/>
                    </a:lnTo>
                    <a:lnTo>
                      <a:pt x="772" y="631"/>
                    </a:lnTo>
                    <a:lnTo>
                      <a:pt x="774" y="639"/>
                    </a:lnTo>
                    <a:lnTo>
                      <a:pt x="769" y="636"/>
                    </a:lnTo>
                    <a:lnTo>
                      <a:pt x="764" y="644"/>
                    </a:lnTo>
                    <a:lnTo>
                      <a:pt x="758" y="639"/>
                    </a:lnTo>
                    <a:lnTo>
                      <a:pt x="757" y="644"/>
                    </a:lnTo>
                    <a:lnTo>
                      <a:pt x="751" y="644"/>
                    </a:lnTo>
                    <a:lnTo>
                      <a:pt x="740" y="649"/>
                    </a:lnTo>
                    <a:lnTo>
                      <a:pt x="730" y="654"/>
                    </a:lnTo>
                    <a:lnTo>
                      <a:pt x="727" y="654"/>
                    </a:lnTo>
                    <a:lnTo>
                      <a:pt x="726" y="664"/>
                    </a:lnTo>
                    <a:lnTo>
                      <a:pt x="730" y="674"/>
                    </a:lnTo>
                    <a:lnTo>
                      <a:pt x="720" y="673"/>
                    </a:lnTo>
                    <a:lnTo>
                      <a:pt x="717" y="654"/>
                    </a:lnTo>
                    <a:lnTo>
                      <a:pt x="712" y="649"/>
                    </a:lnTo>
                    <a:lnTo>
                      <a:pt x="703" y="649"/>
                    </a:lnTo>
                    <a:lnTo>
                      <a:pt x="698" y="646"/>
                    </a:lnTo>
                    <a:lnTo>
                      <a:pt x="690" y="644"/>
                    </a:lnTo>
                    <a:lnTo>
                      <a:pt x="689" y="646"/>
                    </a:lnTo>
                    <a:lnTo>
                      <a:pt x="682" y="649"/>
                    </a:lnTo>
                    <a:lnTo>
                      <a:pt x="665" y="641"/>
                    </a:lnTo>
                    <a:lnTo>
                      <a:pt x="656" y="636"/>
                    </a:lnTo>
                    <a:lnTo>
                      <a:pt x="653" y="621"/>
                    </a:lnTo>
                    <a:lnTo>
                      <a:pt x="633" y="616"/>
                    </a:lnTo>
                    <a:lnTo>
                      <a:pt x="625" y="613"/>
                    </a:lnTo>
                    <a:lnTo>
                      <a:pt x="616" y="626"/>
                    </a:lnTo>
                    <a:lnTo>
                      <a:pt x="608" y="626"/>
                    </a:lnTo>
                    <a:lnTo>
                      <a:pt x="605" y="628"/>
                    </a:lnTo>
                    <a:lnTo>
                      <a:pt x="602" y="626"/>
                    </a:lnTo>
                    <a:lnTo>
                      <a:pt x="593" y="626"/>
                    </a:lnTo>
                    <a:lnTo>
                      <a:pt x="591" y="631"/>
                    </a:lnTo>
                    <a:lnTo>
                      <a:pt x="582" y="626"/>
                    </a:lnTo>
                    <a:lnTo>
                      <a:pt x="574" y="631"/>
                    </a:lnTo>
                    <a:lnTo>
                      <a:pt x="568" y="631"/>
                    </a:lnTo>
                    <a:lnTo>
                      <a:pt x="571" y="658"/>
                    </a:lnTo>
                    <a:lnTo>
                      <a:pt x="565" y="653"/>
                    </a:lnTo>
                    <a:lnTo>
                      <a:pt x="562" y="649"/>
                    </a:lnTo>
                    <a:lnTo>
                      <a:pt x="556" y="646"/>
                    </a:lnTo>
                    <a:lnTo>
                      <a:pt x="545" y="649"/>
                    </a:lnTo>
                    <a:lnTo>
                      <a:pt x="536" y="639"/>
                    </a:lnTo>
                    <a:lnTo>
                      <a:pt x="525" y="634"/>
                    </a:lnTo>
                    <a:lnTo>
                      <a:pt x="528" y="618"/>
                    </a:lnTo>
                    <a:lnTo>
                      <a:pt x="514" y="613"/>
                    </a:lnTo>
                    <a:lnTo>
                      <a:pt x="511" y="598"/>
                    </a:lnTo>
                    <a:lnTo>
                      <a:pt x="509" y="595"/>
                    </a:lnTo>
                    <a:lnTo>
                      <a:pt x="491" y="598"/>
                    </a:lnTo>
                    <a:lnTo>
                      <a:pt x="491" y="590"/>
                    </a:lnTo>
                    <a:lnTo>
                      <a:pt x="489" y="583"/>
                    </a:lnTo>
                    <a:lnTo>
                      <a:pt x="497" y="566"/>
                    </a:lnTo>
                    <a:lnTo>
                      <a:pt x="500" y="557"/>
                    </a:lnTo>
                    <a:lnTo>
                      <a:pt x="497" y="542"/>
                    </a:lnTo>
                    <a:lnTo>
                      <a:pt x="494" y="523"/>
                    </a:lnTo>
                    <a:lnTo>
                      <a:pt x="484" y="520"/>
                    </a:lnTo>
                    <a:lnTo>
                      <a:pt x="471" y="505"/>
                    </a:lnTo>
                    <a:lnTo>
                      <a:pt x="467" y="512"/>
                    </a:lnTo>
                    <a:lnTo>
                      <a:pt x="449" y="505"/>
                    </a:lnTo>
                    <a:lnTo>
                      <a:pt x="450" y="497"/>
                    </a:lnTo>
                    <a:lnTo>
                      <a:pt x="443" y="494"/>
                    </a:lnTo>
                    <a:lnTo>
                      <a:pt x="444" y="490"/>
                    </a:lnTo>
                    <a:lnTo>
                      <a:pt x="436" y="487"/>
                    </a:lnTo>
                    <a:lnTo>
                      <a:pt x="427" y="494"/>
                    </a:lnTo>
                    <a:lnTo>
                      <a:pt x="412" y="49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51" name="Freeform 281">
                <a:extLst>
                  <a:ext uri="{FF2B5EF4-FFF2-40B4-BE49-F238E27FC236}">
                    <a16:creationId xmlns:a16="http://schemas.microsoft.com/office/drawing/2014/main" id="{A5204350-824A-FE9A-D2D3-3C3A1B65A34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35" y="3464"/>
                <a:ext cx="17" cy="15"/>
              </a:xfrm>
              <a:custGeom>
                <a:avLst/>
                <a:gdLst>
                  <a:gd name="T0" fmla="*/ 14 w 38"/>
                  <a:gd name="T1" fmla="*/ 0 h 33"/>
                  <a:gd name="T2" fmla="*/ 5 w 38"/>
                  <a:gd name="T3" fmla="*/ 1 h 33"/>
                  <a:gd name="T4" fmla="*/ 0 w 38"/>
                  <a:gd name="T5" fmla="*/ 5 h 33"/>
                  <a:gd name="T6" fmla="*/ 0 w 38"/>
                  <a:gd name="T7" fmla="*/ 12 h 33"/>
                  <a:gd name="T8" fmla="*/ 7 w 38"/>
                  <a:gd name="T9" fmla="*/ 15 h 33"/>
                  <a:gd name="T10" fmla="*/ 9 w 38"/>
                  <a:gd name="T11" fmla="*/ 14 h 33"/>
                  <a:gd name="T12" fmla="*/ 14 w 38"/>
                  <a:gd name="T13" fmla="*/ 9 h 33"/>
                  <a:gd name="T14" fmla="*/ 17 w 38"/>
                  <a:gd name="T15" fmla="*/ 3 h 33"/>
                  <a:gd name="T16" fmla="*/ 17 w 38"/>
                  <a:gd name="T17" fmla="*/ 0 h 33"/>
                  <a:gd name="T18" fmla="*/ 14 w 38"/>
                  <a:gd name="T19" fmla="*/ 0 h 3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8" h="33">
                    <a:moveTo>
                      <a:pt x="31" y="0"/>
                    </a:moveTo>
                    <a:lnTo>
                      <a:pt x="11" y="3"/>
                    </a:lnTo>
                    <a:lnTo>
                      <a:pt x="0" y="10"/>
                    </a:lnTo>
                    <a:lnTo>
                      <a:pt x="0" y="26"/>
                    </a:lnTo>
                    <a:lnTo>
                      <a:pt x="15" y="33"/>
                    </a:lnTo>
                    <a:lnTo>
                      <a:pt x="21" y="31"/>
                    </a:lnTo>
                    <a:lnTo>
                      <a:pt x="31" y="20"/>
                    </a:lnTo>
                    <a:lnTo>
                      <a:pt x="38" y="6"/>
                    </a:lnTo>
                    <a:lnTo>
                      <a:pt x="37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52" name="Freeform 282">
                <a:extLst>
                  <a:ext uri="{FF2B5EF4-FFF2-40B4-BE49-F238E27FC236}">
                    <a16:creationId xmlns:a16="http://schemas.microsoft.com/office/drawing/2014/main" id="{8277CD40-44A0-9DE8-D5D7-6CE65F8688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69" y="3271"/>
                <a:ext cx="68" cy="72"/>
              </a:xfrm>
              <a:custGeom>
                <a:avLst/>
                <a:gdLst>
                  <a:gd name="T0" fmla="*/ 64 w 153"/>
                  <a:gd name="T1" fmla="*/ 54 h 164"/>
                  <a:gd name="T2" fmla="*/ 62 w 153"/>
                  <a:gd name="T3" fmla="*/ 52 h 164"/>
                  <a:gd name="T4" fmla="*/ 62 w 153"/>
                  <a:gd name="T5" fmla="*/ 56 h 164"/>
                  <a:gd name="T6" fmla="*/ 59 w 153"/>
                  <a:gd name="T7" fmla="*/ 58 h 164"/>
                  <a:gd name="T8" fmla="*/ 58 w 153"/>
                  <a:gd name="T9" fmla="*/ 61 h 164"/>
                  <a:gd name="T10" fmla="*/ 56 w 153"/>
                  <a:gd name="T11" fmla="*/ 57 h 164"/>
                  <a:gd name="T12" fmla="*/ 54 w 153"/>
                  <a:gd name="T13" fmla="*/ 62 h 164"/>
                  <a:gd name="T14" fmla="*/ 47 w 153"/>
                  <a:gd name="T15" fmla="*/ 61 h 164"/>
                  <a:gd name="T16" fmla="*/ 43 w 153"/>
                  <a:gd name="T17" fmla="*/ 60 h 164"/>
                  <a:gd name="T18" fmla="*/ 41 w 153"/>
                  <a:gd name="T19" fmla="*/ 58 h 164"/>
                  <a:gd name="T20" fmla="*/ 43 w 153"/>
                  <a:gd name="T21" fmla="*/ 62 h 164"/>
                  <a:gd name="T22" fmla="*/ 45 w 153"/>
                  <a:gd name="T23" fmla="*/ 65 h 164"/>
                  <a:gd name="T24" fmla="*/ 40 w 153"/>
                  <a:gd name="T25" fmla="*/ 68 h 164"/>
                  <a:gd name="T26" fmla="*/ 40 w 153"/>
                  <a:gd name="T27" fmla="*/ 72 h 164"/>
                  <a:gd name="T28" fmla="*/ 32 w 153"/>
                  <a:gd name="T29" fmla="*/ 66 h 164"/>
                  <a:gd name="T30" fmla="*/ 32 w 153"/>
                  <a:gd name="T31" fmla="*/ 61 h 164"/>
                  <a:gd name="T32" fmla="*/ 23 w 153"/>
                  <a:gd name="T33" fmla="*/ 62 h 164"/>
                  <a:gd name="T34" fmla="*/ 12 w 153"/>
                  <a:gd name="T35" fmla="*/ 64 h 164"/>
                  <a:gd name="T36" fmla="*/ 9 w 153"/>
                  <a:gd name="T37" fmla="*/ 68 h 164"/>
                  <a:gd name="T38" fmla="*/ 0 w 153"/>
                  <a:gd name="T39" fmla="*/ 66 h 164"/>
                  <a:gd name="T40" fmla="*/ 2 w 153"/>
                  <a:gd name="T41" fmla="*/ 63 h 164"/>
                  <a:gd name="T42" fmla="*/ 8 w 153"/>
                  <a:gd name="T43" fmla="*/ 58 h 164"/>
                  <a:gd name="T44" fmla="*/ 12 w 153"/>
                  <a:gd name="T45" fmla="*/ 53 h 164"/>
                  <a:gd name="T46" fmla="*/ 20 w 153"/>
                  <a:gd name="T47" fmla="*/ 53 h 164"/>
                  <a:gd name="T48" fmla="*/ 28 w 153"/>
                  <a:gd name="T49" fmla="*/ 52 h 164"/>
                  <a:gd name="T50" fmla="*/ 29 w 153"/>
                  <a:gd name="T51" fmla="*/ 53 h 164"/>
                  <a:gd name="T52" fmla="*/ 33 w 153"/>
                  <a:gd name="T53" fmla="*/ 51 h 164"/>
                  <a:gd name="T54" fmla="*/ 32 w 153"/>
                  <a:gd name="T55" fmla="*/ 46 h 164"/>
                  <a:gd name="T56" fmla="*/ 31 w 153"/>
                  <a:gd name="T57" fmla="*/ 39 h 164"/>
                  <a:gd name="T58" fmla="*/ 35 w 153"/>
                  <a:gd name="T59" fmla="*/ 37 h 164"/>
                  <a:gd name="T60" fmla="*/ 34 w 153"/>
                  <a:gd name="T61" fmla="*/ 40 h 164"/>
                  <a:gd name="T62" fmla="*/ 36 w 153"/>
                  <a:gd name="T63" fmla="*/ 42 h 164"/>
                  <a:gd name="T64" fmla="*/ 40 w 153"/>
                  <a:gd name="T65" fmla="*/ 39 h 164"/>
                  <a:gd name="T66" fmla="*/ 45 w 153"/>
                  <a:gd name="T67" fmla="*/ 35 h 164"/>
                  <a:gd name="T68" fmla="*/ 45 w 153"/>
                  <a:gd name="T69" fmla="*/ 28 h 164"/>
                  <a:gd name="T70" fmla="*/ 45 w 153"/>
                  <a:gd name="T71" fmla="*/ 21 h 164"/>
                  <a:gd name="T72" fmla="*/ 42 w 153"/>
                  <a:gd name="T73" fmla="*/ 14 h 164"/>
                  <a:gd name="T74" fmla="*/ 39 w 153"/>
                  <a:gd name="T75" fmla="*/ 7 h 164"/>
                  <a:gd name="T76" fmla="*/ 39 w 153"/>
                  <a:gd name="T77" fmla="*/ 2 h 164"/>
                  <a:gd name="T78" fmla="*/ 43 w 153"/>
                  <a:gd name="T79" fmla="*/ 4 h 164"/>
                  <a:gd name="T80" fmla="*/ 45 w 153"/>
                  <a:gd name="T81" fmla="*/ 4 h 164"/>
                  <a:gd name="T82" fmla="*/ 45 w 153"/>
                  <a:gd name="T83" fmla="*/ 2 h 164"/>
                  <a:gd name="T84" fmla="*/ 40 w 153"/>
                  <a:gd name="T85" fmla="*/ 2 h 164"/>
                  <a:gd name="T86" fmla="*/ 42 w 153"/>
                  <a:gd name="T87" fmla="*/ 0 h 164"/>
                  <a:gd name="T88" fmla="*/ 45 w 153"/>
                  <a:gd name="T89" fmla="*/ 1 h 164"/>
                  <a:gd name="T90" fmla="*/ 52 w 153"/>
                  <a:gd name="T91" fmla="*/ 9 h 164"/>
                  <a:gd name="T92" fmla="*/ 60 w 153"/>
                  <a:gd name="T93" fmla="*/ 17 h 164"/>
                  <a:gd name="T94" fmla="*/ 60 w 153"/>
                  <a:gd name="T95" fmla="*/ 28 h 164"/>
                  <a:gd name="T96" fmla="*/ 58 w 153"/>
                  <a:gd name="T97" fmla="*/ 31 h 164"/>
                  <a:gd name="T98" fmla="*/ 63 w 153"/>
                  <a:gd name="T99" fmla="*/ 42 h 164"/>
                  <a:gd name="T100" fmla="*/ 68 w 153"/>
                  <a:gd name="T101" fmla="*/ 51 h 164"/>
                  <a:gd name="T102" fmla="*/ 65 w 153"/>
                  <a:gd name="T103" fmla="*/ 59 h 164"/>
                  <a:gd name="T104" fmla="*/ 64 w 153"/>
                  <a:gd name="T105" fmla="*/ 54 h 16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53" h="164">
                    <a:moveTo>
                      <a:pt x="144" y="123"/>
                    </a:moveTo>
                    <a:lnTo>
                      <a:pt x="139" y="118"/>
                    </a:lnTo>
                    <a:lnTo>
                      <a:pt x="139" y="128"/>
                    </a:lnTo>
                    <a:lnTo>
                      <a:pt x="133" y="131"/>
                    </a:lnTo>
                    <a:lnTo>
                      <a:pt x="130" y="139"/>
                    </a:lnTo>
                    <a:lnTo>
                      <a:pt x="125" y="130"/>
                    </a:lnTo>
                    <a:lnTo>
                      <a:pt x="122" y="141"/>
                    </a:lnTo>
                    <a:lnTo>
                      <a:pt x="105" y="139"/>
                    </a:lnTo>
                    <a:lnTo>
                      <a:pt x="97" y="136"/>
                    </a:lnTo>
                    <a:lnTo>
                      <a:pt x="93" y="133"/>
                    </a:lnTo>
                    <a:lnTo>
                      <a:pt x="96" y="141"/>
                    </a:lnTo>
                    <a:lnTo>
                      <a:pt x="101" y="148"/>
                    </a:lnTo>
                    <a:lnTo>
                      <a:pt x="91" y="156"/>
                    </a:lnTo>
                    <a:lnTo>
                      <a:pt x="91" y="164"/>
                    </a:lnTo>
                    <a:lnTo>
                      <a:pt x="73" y="151"/>
                    </a:lnTo>
                    <a:lnTo>
                      <a:pt x="71" y="139"/>
                    </a:lnTo>
                    <a:lnTo>
                      <a:pt x="51" y="141"/>
                    </a:lnTo>
                    <a:lnTo>
                      <a:pt x="28" y="146"/>
                    </a:lnTo>
                    <a:lnTo>
                      <a:pt x="20" y="154"/>
                    </a:lnTo>
                    <a:lnTo>
                      <a:pt x="0" y="151"/>
                    </a:lnTo>
                    <a:lnTo>
                      <a:pt x="5" y="144"/>
                    </a:lnTo>
                    <a:lnTo>
                      <a:pt x="17" y="133"/>
                    </a:lnTo>
                    <a:lnTo>
                      <a:pt x="26" y="121"/>
                    </a:lnTo>
                    <a:lnTo>
                      <a:pt x="45" y="121"/>
                    </a:lnTo>
                    <a:lnTo>
                      <a:pt x="62" y="118"/>
                    </a:lnTo>
                    <a:lnTo>
                      <a:pt x="65" y="121"/>
                    </a:lnTo>
                    <a:lnTo>
                      <a:pt x="74" y="116"/>
                    </a:lnTo>
                    <a:lnTo>
                      <a:pt x="71" y="105"/>
                    </a:lnTo>
                    <a:lnTo>
                      <a:pt x="70" y="88"/>
                    </a:lnTo>
                    <a:lnTo>
                      <a:pt x="79" y="85"/>
                    </a:lnTo>
                    <a:lnTo>
                      <a:pt x="77" y="90"/>
                    </a:lnTo>
                    <a:lnTo>
                      <a:pt x="82" y="96"/>
                    </a:lnTo>
                    <a:lnTo>
                      <a:pt x="91" y="88"/>
                    </a:lnTo>
                    <a:lnTo>
                      <a:pt x="101" y="80"/>
                    </a:lnTo>
                    <a:lnTo>
                      <a:pt x="102" y="63"/>
                    </a:lnTo>
                    <a:lnTo>
                      <a:pt x="102" y="48"/>
                    </a:lnTo>
                    <a:lnTo>
                      <a:pt x="94" y="33"/>
                    </a:lnTo>
                    <a:lnTo>
                      <a:pt x="88" y="15"/>
                    </a:lnTo>
                    <a:lnTo>
                      <a:pt x="88" y="5"/>
                    </a:lnTo>
                    <a:lnTo>
                      <a:pt x="97" y="10"/>
                    </a:lnTo>
                    <a:lnTo>
                      <a:pt x="102" y="9"/>
                    </a:lnTo>
                    <a:lnTo>
                      <a:pt x="101" y="5"/>
                    </a:lnTo>
                    <a:lnTo>
                      <a:pt x="91" y="5"/>
                    </a:lnTo>
                    <a:lnTo>
                      <a:pt x="94" y="0"/>
                    </a:lnTo>
                    <a:lnTo>
                      <a:pt x="102" y="2"/>
                    </a:lnTo>
                    <a:lnTo>
                      <a:pt x="118" y="20"/>
                    </a:lnTo>
                    <a:lnTo>
                      <a:pt x="135" y="38"/>
                    </a:lnTo>
                    <a:lnTo>
                      <a:pt x="135" y="63"/>
                    </a:lnTo>
                    <a:lnTo>
                      <a:pt x="131" y="70"/>
                    </a:lnTo>
                    <a:lnTo>
                      <a:pt x="142" y="95"/>
                    </a:lnTo>
                    <a:lnTo>
                      <a:pt x="153" y="116"/>
                    </a:lnTo>
                    <a:lnTo>
                      <a:pt x="147" y="135"/>
                    </a:lnTo>
                    <a:lnTo>
                      <a:pt x="144" y="12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53" name="Freeform 283">
                <a:extLst>
                  <a:ext uri="{FF2B5EF4-FFF2-40B4-BE49-F238E27FC236}">
                    <a16:creationId xmlns:a16="http://schemas.microsoft.com/office/drawing/2014/main" id="{252DC417-C203-EC15-FCB7-98C4523DADC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94" y="3236"/>
                <a:ext cx="39" cy="35"/>
              </a:xfrm>
              <a:custGeom>
                <a:avLst/>
                <a:gdLst>
                  <a:gd name="T0" fmla="*/ 30 w 88"/>
                  <a:gd name="T1" fmla="*/ 13 h 81"/>
                  <a:gd name="T2" fmla="*/ 24 w 88"/>
                  <a:gd name="T3" fmla="*/ 12 h 81"/>
                  <a:gd name="T4" fmla="*/ 12 w 88"/>
                  <a:gd name="T5" fmla="*/ 6 h 81"/>
                  <a:gd name="T6" fmla="*/ 0 w 88"/>
                  <a:gd name="T7" fmla="*/ 0 h 81"/>
                  <a:gd name="T8" fmla="*/ 2 w 88"/>
                  <a:gd name="T9" fmla="*/ 4 h 81"/>
                  <a:gd name="T10" fmla="*/ 5 w 88"/>
                  <a:gd name="T11" fmla="*/ 12 h 81"/>
                  <a:gd name="T12" fmla="*/ 9 w 88"/>
                  <a:gd name="T13" fmla="*/ 19 h 81"/>
                  <a:gd name="T14" fmla="*/ 4 w 88"/>
                  <a:gd name="T15" fmla="*/ 19 h 81"/>
                  <a:gd name="T16" fmla="*/ 3 w 88"/>
                  <a:gd name="T17" fmla="*/ 20 h 81"/>
                  <a:gd name="T18" fmla="*/ 3 w 88"/>
                  <a:gd name="T19" fmla="*/ 24 h 81"/>
                  <a:gd name="T20" fmla="*/ 4 w 88"/>
                  <a:gd name="T21" fmla="*/ 29 h 81"/>
                  <a:gd name="T22" fmla="*/ 9 w 88"/>
                  <a:gd name="T23" fmla="*/ 35 h 81"/>
                  <a:gd name="T24" fmla="*/ 12 w 88"/>
                  <a:gd name="T25" fmla="*/ 33 h 81"/>
                  <a:gd name="T26" fmla="*/ 16 w 88"/>
                  <a:gd name="T27" fmla="*/ 33 h 81"/>
                  <a:gd name="T28" fmla="*/ 6 w 88"/>
                  <a:gd name="T29" fmla="*/ 27 h 81"/>
                  <a:gd name="T30" fmla="*/ 10 w 88"/>
                  <a:gd name="T31" fmla="*/ 27 h 81"/>
                  <a:gd name="T32" fmla="*/ 14 w 88"/>
                  <a:gd name="T33" fmla="*/ 26 h 81"/>
                  <a:gd name="T34" fmla="*/ 29 w 88"/>
                  <a:gd name="T35" fmla="*/ 30 h 81"/>
                  <a:gd name="T36" fmla="*/ 29 w 88"/>
                  <a:gd name="T37" fmla="*/ 28 h 81"/>
                  <a:gd name="T38" fmla="*/ 32 w 88"/>
                  <a:gd name="T39" fmla="*/ 22 h 81"/>
                  <a:gd name="T40" fmla="*/ 39 w 88"/>
                  <a:gd name="T41" fmla="*/ 19 h 81"/>
                  <a:gd name="T42" fmla="*/ 35 w 88"/>
                  <a:gd name="T43" fmla="*/ 17 h 81"/>
                  <a:gd name="T44" fmla="*/ 32 w 88"/>
                  <a:gd name="T45" fmla="*/ 11 h 81"/>
                  <a:gd name="T46" fmla="*/ 30 w 88"/>
                  <a:gd name="T47" fmla="*/ 13 h 8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88" h="81">
                    <a:moveTo>
                      <a:pt x="68" y="30"/>
                    </a:moveTo>
                    <a:lnTo>
                      <a:pt x="54" y="28"/>
                    </a:lnTo>
                    <a:lnTo>
                      <a:pt x="26" y="13"/>
                    </a:lnTo>
                    <a:lnTo>
                      <a:pt x="0" y="0"/>
                    </a:lnTo>
                    <a:lnTo>
                      <a:pt x="4" y="10"/>
                    </a:lnTo>
                    <a:lnTo>
                      <a:pt x="12" y="28"/>
                    </a:lnTo>
                    <a:lnTo>
                      <a:pt x="21" y="45"/>
                    </a:lnTo>
                    <a:lnTo>
                      <a:pt x="9" y="45"/>
                    </a:lnTo>
                    <a:lnTo>
                      <a:pt x="6" y="46"/>
                    </a:lnTo>
                    <a:lnTo>
                      <a:pt x="6" y="55"/>
                    </a:lnTo>
                    <a:lnTo>
                      <a:pt x="10" y="66"/>
                    </a:lnTo>
                    <a:lnTo>
                      <a:pt x="21" y="81"/>
                    </a:lnTo>
                    <a:lnTo>
                      <a:pt x="26" y="76"/>
                    </a:lnTo>
                    <a:lnTo>
                      <a:pt x="35" y="76"/>
                    </a:lnTo>
                    <a:lnTo>
                      <a:pt x="14" y="63"/>
                    </a:lnTo>
                    <a:lnTo>
                      <a:pt x="23" y="63"/>
                    </a:lnTo>
                    <a:lnTo>
                      <a:pt x="31" y="60"/>
                    </a:lnTo>
                    <a:lnTo>
                      <a:pt x="65" y="70"/>
                    </a:lnTo>
                    <a:lnTo>
                      <a:pt x="65" y="65"/>
                    </a:lnTo>
                    <a:lnTo>
                      <a:pt x="72" y="51"/>
                    </a:lnTo>
                    <a:lnTo>
                      <a:pt x="88" y="45"/>
                    </a:lnTo>
                    <a:lnTo>
                      <a:pt x="79" y="40"/>
                    </a:lnTo>
                    <a:lnTo>
                      <a:pt x="72" y="25"/>
                    </a:lnTo>
                    <a:lnTo>
                      <a:pt x="68" y="3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54" name="Freeform 284">
                <a:extLst>
                  <a:ext uri="{FF2B5EF4-FFF2-40B4-BE49-F238E27FC236}">
                    <a16:creationId xmlns:a16="http://schemas.microsoft.com/office/drawing/2014/main" id="{272C1645-1C43-9CE5-1182-833D225813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63" y="3339"/>
                <a:ext cx="19" cy="26"/>
              </a:xfrm>
              <a:custGeom>
                <a:avLst/>
                <a:gdLst>
                  <a:gd name="T0" fmla="*/ 19 w 45"/>
                  <a:gd name="T1" fmla="*/ 9 h 58"/>
                  <a:gd name="T2" fmla="*/ 18 w 45"/>
                  <a:gd name="T3" fmla="*/ 16 h 58"/>
                  <a:gd name="T4" fmla="*/ 18 w 45"/>
                  <a:gd name="T5" fmla="*/ 22 h 58"/>
                  <a:gd name="T6" fmla="*/ 16 w 45"/>
                  <a:gd name="T7" fmla="*/ 26 h 58"/>
                  <a:gd name="T8" fmla="*/ 13 w 45"/>
                  <a:gd name="T9" fmla="*/ 20 h 58"/>
                  <a:gd name="T10" fmla="*/ 14 w 45"/>
                  <a:gd name="T11" fmla="*/ 25 h 58"/>
                  <a:gd name="T12" fmla="*/ 11 w 45"/>
                  <a:gd name="T13" fmla="*/ 22 h 58"/>
                  <a:gd name="T14" fmla="*/ 9 w 45"/>
                  <a:gd name="T15" fmla="*/ 16 h 58"/>
                  <a:gd name="T16" fmla="*/ 9 w 45"/>
                  <a:gd name="T17" fmla="*/ 12 h 58"/>
                  <a:gd name="T18" fmla="*/ 4 w 45"/>
                  <a:gd name="T19" fmla="*/ 8 h 58"/>
                  <a:gd name="T20" fmla="*/ 7 w 45"/>
                  <a:gd name="T21" fmla="*/ 12 h 58"/>
                  <a:gd name="T22" fmla="*/ 4 w 45"/>
                  <a:gd name="T23" fmla="*/ 12 h 58"/>
                  <a:gd name="T24" fmla="*/ 2 w 45"/>
                  <a:gd name="T25" fmla="*/ 8 h 58"/>
                  <a:gd name="T26" fmla="*/ 4 w 45"/>
                  <a:gd name="T27" fmla="*/ 8 h 58"/>
                  <a:gd name="T28" fmla="*/ 0 w 45"/>
                  <a:gd name="T29" fmla="*/ 5 h 58"/>
                  <a:gd name="T30" fmla="*/ 8 w 45"/>
                  <a:gd name="T31" fmla="*/ 0 h 58"/>
                  <a:gd name="T32" fmla="*/ 12 w 45"/>
                  <a:gd name="T33" fmla="*/ 3 h 58"/>
                  <a:gd name="T34" fmla="*/ 14 w 45"/>
                  <a:gd name="T35" fmla="*/ 4 h 58"/>
                  <a:gd name="T36" fmla="*/ 15 w 45"/>
                  <a:gd name="T37" fmla="*/ 6 h 58"/>
                  <a:gd name="T38" fmla="*/ 19 w 45"/>
                  <a:gd name="T39" fmla="*/ 9 h 5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45" h="58">
                    <a:moveTo>
                      <a:pt x="45" y="20"/>
                    </a:moveTo>
                    <a:lnTo>
                      <a:pt x="43" y="35"/>
                    </a:lnTo>
                    <a:lnTo>
                      <a:pt x="42" y="50"/>
                    </a:lnTo>
                    <a:lnTo>
                      <a:pt x="37" y="58"/>
                    </a:lnTo>
                    <a:lnTo>
                      <a:pt x="31" y="45"/>
                    </a:lnTo>
                    <a:lnTo>
                      <a:pt x="33" y="55"/>
                    </a:lnTo>
                    <a:lnTo>
                      <a:pt x="26" y="50"/>
                    </a:lnTo>
                    <a:lnTo>
                      <a:pt x="22" y="35"/>
                    </a:lnTo>
                    <a:lnTo>
                      <a:pt x="22" y="27"/>
                    </a:lnTo>
                    <a:lnTo>
                      <a:pt x="9" y="17"/>
                    </a:lnTo>
                    <a:lnTo>
                      <a:pt x="16" y="27"/>
                    </a:lnTo>
                    <a:lnTo>
                      <a:pt x="9" y="27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9" y="7"/>
                    </a:lnTo>
                    <a:lnTo>
                      <a:pt x="34" y="10"/>
                    </a:lnTo>
                    <a:lnTo>
                      <a:pt x="36" y="13"/>
                    </a:lnTo>
                    <a:lnTo>
                      <a:pt x="45" y="2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55" name="Freeform 285">
                <a:extLst>
                  <a:ext uri="{FF2B5EF4-FFF2-40B4-BE49-F238E27FC236}">
                    <a16:creationId xmlns:a16="http://schemas.microsoft.com/office/drawing/2014/main" id="{73242920-22FF-1DC4-A731-328A39F3B1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82" y="3336"/>
                <a:ext cx="19" cy="14"/>
              </a:xfrm>
              <a:custGeom>
                <a:avLst/>
                <a:gdLst>
                  <a:gd name="T0" fmla="*/ 15 w 41"/>
                  <a:gd name="T1" fmla="*/ 9 h 31"/>
                  <a:gd name="T2" fmla="*/ 9 w 41"/>
                  <a:gd name="T3" fmla="*/ 8 h 31"/>
                  <a:gd name="T4" fmla="*/ 8 w 41"/>
                  <a:gd name="T5" fmla="*/ 14 h 31"/>
                  <a:gd name="T6" fmla="*/ 4 w 41"/>
                  <a:gd name="T7" fmla="*/ 10 h 31"/>
                  <a:gd name="T8" fmla="*/ 1 w 41"/>
                  <a:gd name="T9" fmla="*/ 8 h 31"/>
                  <a:gd name="T10" fmla="*/ 0 w 41"/>
                  <a:gd name="T11" fmla="*/ 8 h 31"/>
                  <a:gd name="T12" fmla="*/ 5 w 41"/>
                  <a:gd name="T13" fmla="*/ 3 h 31"/>
                  <a:gd name="T14" fmla="*/ 9 w 41"/>
                  <a:gd name="T15" fmla="*/ 2 h 31"/>
                  <a:gd name="T16" fmla="*/ 13 w 41"/>
                  <a:gd name="T17" fmla="*/ 0 h 31"/>
                  <a:gd name="T18" fmla="*/ 17 w 41"/>
                  <a:gd name="T19" fmla="*/ 2 h 31"/>
                  <a:gd name="T20" fmla="*/ 19 w 41"/>
                  <a:gd name="T21" fmla="*/ 5 h 31"/>
                  <a:gd name="T22" fmla="*/ 15 w 41"/>
                  <a:gd name="T23" fmla="*/ 9 h 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1" h="31">
                    <a:moveTo>
                      <a:pt x="33" y="21"/>
                    </a:moveTo>
                    <a:lnTo>
                      <a:pt x="19" y="18"/>
                    </a:lnTo>
                    <a:lnTo>
                      <a:pt x="17" y="31"/>
                    </a:lnTo>
                    <a:lnTo>
                      <a:pt x="8" y="23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10" y="6"/>
                    </a:lnTo>
                    <a:lnTo>
                      <a:pt x="19" y="5"/>
                    </a:lnTo>
                    <a:lnTo>
                      <a:pt x="27" y="0"/>
                    </a:lnTo>
                    <a:lnTo>
                      <a:pt x="36" y="5"/>
                    </a:lnTo>
                    <a:lnTo>
                      <a:pt x="41" y="11"/>
                    </a:lnTo>
                    <a:lnTo>
                      <a:pt x="33" y="2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56" name="Freeform 286">
                <a:extLst>
                  <a:ext uri="{FF2B5EF4-FFF2-40B4-BE49-F238E27FC236}">
                    <a16:creationId xmlns:a16="http://schemas.microsoft.com/office/drawing/2014/main" id="{10867787-046A-7230-8E17-228D445C2A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08" y="3300"/>
                <a:ext cx="2" cy="3"/>
              </a:xfrm>
              <a:custGeom>
                <a:avLst/>
                <a:gdLst>
                  <a:gd name="T0" fmla="*/ 2 w 5"/>
                  <a:gd name="T1" fmla="*/ 3 h 5"/>
                  <a:gd name="T2" fmla="*/ 1 w 5"/>
                  <a:gd name="T3" fmla="*/ 0 h 5"/>
                  <a:gd name="T4" fmla="*/ 0 w 5"/>
                  <a:gd name="T5" fmla="*/ 3 h 5"/>
                  <a:gd name="T6" fmla="*/ 2 w 5"/>
                  <a:gd name="T7" fmla="*/ 3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lnTo>
                      <a:pt x="2" y="0"/>
                    </a:lnTo>
                    <a:lnTo>
                      <a:pt x="0" y="5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57" name="Freeform 287">
                <a:extLst>
                  <a:ext uri="{FF2B5EF4-FFF2-40B4-BE49-F238E27FC236}">
                    <a16:creationId xmlns:a16="http://schemas.microsoft.com/office/drawing/2014/main" id="{B7A420D5-E35E-DADD-897E-9A4B60FBED7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69" y="3351"/>
                <a:ext cx="2" cy="2"/>
              </a:xfrm>
              <a:custGeom>
                <a:avLst/>
                <a:gdLst>
                  <a:gd name="T0" fmla="*/ 1 w 5"/>
                  <a:gd name="T1" fmla="*/ 0 h 4"/>
                  <a:gd name="T2" fmla="*/ 2 w 5"/>
                  <a:gd name="T3" fmla="*/ 2 h 4"/>
                  <a:gd name="T4" fmla="*/ 0 w 5"/>
                  <a:gd name="T5" fmla="*/ 1 h 4"/>
                  <a:gd name="T6" fmla="*/ 1 w 5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lnTo>
                      <a:pt x="5" y="4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58" name="Freeform 288">
                <a:extLst>
                  <a:ext uri="{FF2B5EF4-FFF2-40B4-BE49-F238E27FC236}">
                    <a16:creationId xmlns:a16="http://schemas.microsoft.com/office/drawing/2014/main" id="{F7792CC2-E9C9-DAAF-BF88-E5636B563B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5" y="3258"/>
                <a:ext cx="36" cy="47"/>
              </a:xfrm>
              <a:custGeom>
                <a:avLst/>
                <a:gdLst>
                  <a:gd name="T0" fmla="*/ 10 w 82"/>
                  <a:gd name="T1" fmla="*/ 32 h 106"/>
                  <a:gd name="T2" fmla="*/ 4 w 82"/>
                  <a:gd name="T3" fmla="*/ 30 h 106"/>
                  <a:gd name="T4" fmla="*/ 0 w 82"/>
                  <a:gd name="T5" fmla="*/ 27 h 106"/>
                  <a:gd name="T6" fmla="*/ 4 w 82"/>
                  <a:gd name="T7" fmla="*/ 21 h 106"/>
                  <a:gd name="T8" fmla="*/ 10 w 82"/>
                  <a:gd name="T9" fmla="*/ 13 h 106"/>
                  <a:gd name="T10" fmla="*/ 11 w 82"/>
                  <a:gd name="T11" fmla="*/ 12 h 106"/>
                  <a:gd name="T12" fmla="*/ 20 w 82"/>
                  <a:gd name="T13" fmla="*/ 14 h 106"/>
                  <a:gd name="T14" fmla="*/ 18 w 82"/>
                  <a:gd name="T15" fmla="*/ 10 h 106"/>
                  <a:gd name="T16" fmla="*/ 20 w 82"/>
                  <a:gd name="T17" fmla="*/ 9 h 106"/>
                  <a:gd name="T18" fmla="*/ 25 w 82"/>
                  <a:gd name="T19" fmla="*/ 5 h 106"/>
                  <a:gd name="T20" fmla="*/ 26 w 82"/>
                  <a:gd name="T21" fmla="*/ 0 h 106"/>
                  <a:gd name="T22" fmla="*/ 33 w 82"/>
                  <a:gd name="T23" fmla="*/ 5 h 106"/>
                  <a:gd name="T24" fmla="*/ 35 w 82"/>
                  <a:gd name="T25" fmla="*/ 6 h 106"/>
                  <a:gd name="T26" fmla="*/ 30 w 82"/>
                  <a:gd name="T27" fmla="*/ 12 h 106"/>
                  <a:gd name="T28" fmla="*/ 34 w 82"/>
                  <a:gd name="T29" fmla="*/ 20 h 106"/>
                  <a:gd name="T30" fmla="*/ 30 w 82"/>
                  <a:gd name="T31" fmla="*/ 25 h 106"/>
                  <a:gd name="T32" fmla="*/ 26 w 82"/>
                  <a:gd name="T33" fmla="*/ 31 h 106"/>
                  <a:gd name="T34" fmla="*/ 27 w 82"/>
                  <a:gd name="T35" fmla="*/ 35 h 106"/>
                  <a:gd name="T36" fmla="*/ 36 w 82"/>
                  <a:gd name="T37" fmla="*/ 40 h 106"/>
                  <a:gd name="T38" fmla="*/ 32 w 82"/>
                  <a:gd name="T39" fmla="*/ 42 h 106"/>
                  <a:gd name="T40" fmla="*/ 26 w 82"/>
                  <a:gd name="T41" fmla="*/ 45 h 106"/>
                  <a:gd name="T42" fmla="*/ 26 w 82"/>
                  <a:gd name="T43" fmla="*/ 47 h 106"/>
                  <a:gd name="T44" fmla="*/ 20 w 82"/>
                  <a:gd name="T45" fmla="*/ 46 h 106"/>
                  <a:gd name="T46" fmla="*/ 18 w 82"/>
                  <a:gd name="T47" fmla="*/ 47 h 106"/>
                  <a:gd name="T48" fmla="*/ 14 w 82"/>
                  <a:gd name="T49" fmla="*/ 45 h 106"/>
                  <a:gd name="T50" fmla="*/ 11 w 82"/>
                  <a:gd name="T51" fmla="*/ 43 h 106"/>
                  <a:gd name="T52" fmla="*/ 14 w 82"/>
                  <a:gd name="T53" fmla="*/ 39 h 106"/>
                  <a:gd name="T54" fmla="*/ 14 w 82"/>
                  <a:gd name="T55" fmla="*/ 39 h 106"/>
                  <a:gd name="T56" fmla="*/ 11 w 82"/>
                  <a:gd name="T57" fmla="*/ 37 h 106"/>
                  <a:gd name="T58" fmla="*/ 10 w 82"/>
                  <a:gd name="T59" fmla="*/ 32 h 10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82" h="106">
                    <a:moveTo>
                      <a:pt x="22" y="72"/>
                    </a:moveTo>
                    <a:lnTo>
                      <a:pt x="9" y="68"/>
                    </a:lnTo>
                    <a:lnTo>
                      <a:pt x="0" y="60"/>
                    </a:lnTo>
                    <a:lnTo>
                      <a:pt x="9" y="47"/>
                    </a:lnTo>
                    <a:lnTo>
                      <a:pt x="22" y="29"/>
                    </a:lnTo>
                    <a:lnTo>
                      <a:pt x="26" y="27"/>
                    </a:lnTo>
                    <a:lnTo>
                      <a:pt x="46" y="32"/>
                    </a:lnTo>
                    <a:lnTo>
                      <a:pt x="40" y="22"/>
                    </a:lnTo>
                    <a:lnTo>
                      <a:pt x="46" y="20"/>
                    </a:lnTo>
                    <a:lnTo>
                      <a:pt x="56" y="12"/>
                    </a:lnTo>
                    <a:lnTo>
                      <a:pt x="59" y="0"/>
                    </a:lnTo>
                    <a:lnTo>
                      <a:pt x="76" y="12"/>
                    </a:lnTo>
                    <a:lnTo>
                      <a:pt x="80" y="14"/>
                    </a:lnTo>
                    <a:lnTo>
                      <a:pt x="69" y="27"/>
                    </a:lnTo>
                    <a:lnTo>
                      <a:pt x="77" y="45"/>
                    </a:lnTo>
                    <a:lnTo>
                      <a:pt x="69" y="57"/>
                    </a:lnTo>
                    <a:lnTo>
                      <a:pt x="60" y="70"/>
                    </a:lnTo>
                    <a:lnTo>
                      <a:pt x="62" y="78"/>
                    </a:lnTo>
                    <a:lnTo>
                      <a:pt x="82" y="90"/>
                    </a:lnTo>
                    <a:lnTo>
                      <a:pt x="74" y="95"/>
                    </a:lnTo>
                    <a:lnTo>
                      <a:pt x="60" y="102"/>
                    </a:lnTo>
                    <a:lnTo>
                      <a:pt x="60" y="106"/>
                    </a:lnTo>
                    <a:lnTo>
                      <a:pt x="46" y="103"/>
                    </a:lnTo>
                    <a:lnTo>
                      <a:pt x="40" y="106"/>
                    </a:lnTo>
                    <a:lnTo>
                      <a:pt x="32" y="102"/>
                    </a:lnTo>
                    <a:lnTo>
                      <a:pt x="26" y="98"/>
                    </a:lnTo>
                    <a:lnTo>
                      <a:pt x="31" y="88"/>
                    </a:lnTo>
                    <a:lnTo>
                      <a:pt x="32" y="88"/>
                    </a:lnTo>
                    <a:lnTo>
                      <a:pt x="25" y="83"/>
                    </a:lnTo>
                    <a:lnTo>
                      <a:pt x="22" y="7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59" name="Freeform 289">
                <a:extLst>
                  <a:ext uri="{FF2B5EF4-FFF2-40B4-BE49-F238E27FC236}">
                    <a16:creationId xmlns:a16="http://schemas.microsoft.com/office/drawing/2014/main" id="{BAC85010-D4D1-2A73-FCC2-05EF3D2EE2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23" y="3296"/>
                <a:ext cx="30" cy="38"/>
              </a:xfrm>
              <a:custGeom>
                <a:avLst/>
                <a:gdLst>
                  <a:gd name="T0" fmla="*/ 18 w 68"/>
                  <a:gd name="T1" fmla="*/ 38 h 86"/>
                  <a:gd name="T2" fmla="*/ 16 w 68"/>
                  <a:gd name="T3" fmla="*/ 36 h 86"/>
                  <a:gd name="T4" fmla="*/ 14 w 68"/>
                  <a:gd name="T5" fmla="*/ 37 h 86"/>
                  <a:gd name="T6" fmla="*/ 12 w 68"/>
                  <a:gd name="T7" fmla="*/ 38 h 86"/>
                  <a:gd name="T8" fmla="*/ 11 w 68"/>
                  <a:gd name="T9" fmla="*/ 37 h 86"/>
                  <a:gd name="T10" fmla="*/ 11 w 68"/>
                  <a:gd name="T11" fmla="*/ 36 h 86"/>
                  <a:gd name="T12" fmla="*/ 11 w 68"/>
                  <a:gd name="T13" fmla="*/ 35 h 86"/>
                  <a:gd name="T14" fmla="*/ 9 w 68"/>
                  <a:gd name="T15" fmla="*/ 32 h 86"/>
                  <a:gd name="T16" fmla="*/ 8 w 68"/>
                  <a:gd name="T17" fmla="*/ 28 h 86"/>
                  <a:gd name="T18" fmla="*/ 8 w 68"/>
                  <a:gd name="T19" fmla="*/ 25 h 86"/>
                  <a:gd name="T20" fmla="*/ 8 w 68"/>
                  <a:gd name="T21" fmla="*/ 24 h 86"/>
                  <a:gd name="T22" fmla="*/ 3 w 68"/>
                  <a:gd name="T23" fmla="*/ 19 h 86"/>
                  <a:gd name="T24" fmla="*/ 2 w 68"/>
                  <a:gd name="T25" fmla="*/ 16 h 86"/>
                  <a:gd name="T26" fmla="*/ 2 w 68"/>
                  <a:gd name="T27" fmla="*/ 16 h 86"/>
                  <a:gd name="T28" fmla="*/ 6 w 68"/>
                  <a:gd name="T29" fmla="*/ 18 h 86"/>
                  <a:gd name="T30" fmla="*/ 5 w 68"/>
                  <a:gd name="T31" fmla="*/ 15 h 86"/>
                  <a:gd name="T32" fmla="*/ 0 w 68"/>
                  <a:gd name="T33" fmla="*/ 9 h 86"/>
                  <a:gd name="T34" fmla="*/ 0 w 68"/>
                  <a:gd name="T35" fmla="*/ 8 h 86"/>
                  <a:gd name="T36" fmla="*/ 0 w 68"/>
                  <a:gd name="T37" fmla="*/ 6 h 86"/>
                  <a:gd name="T38" fmla="*/ 6 w 68"/>
                  <a:gd name="T39" fmla="*/ 2 h 86"/>
                  <a:gd name="T40" fmla="*/ 9 w 68"/>
                  <a:gd name="T41" fmla="*/ 0 h 86"/>
                  <a:gd name="T42" fmla="*/ 18 w 68"/>
                  <a:gd name="T43" fmla="*/ 9 h 86"/>
                  <a:gd name="T44" fmla="*/ 26 w 68"/>
                  <a:gd name="T45" fmla="*/ 18 h 86"/>
                  <a:gd name="T46" fmla="*/ 30 w 68"/>
                  <a:gd name="T47" fmla="*/ 30 h 86"/>
                  <a:gd name="T48" fmla="*/ 26 w 68"/>
                  <a:gd name="T49" fmla="*/ 32 h 86"/>
                  <a:gd name="T50" fmla="*/ 24 w 68"/>
                  <a:gd name="T51" fmla="*/ 34 h 86"/>
                  <a:gd name="T52" fmla="*/ 22 w 68"/>
                  <a:gd name="T53" fmla="*/ 33 h 86"/>
                  <a:gd name="T54" fmla="*/ 20 w 68"/>
                  <a:gd name="T55" fmla="*/ 34 h 86"/>
                  <a:gd name="T56" fmla="*/ 20 w 68"/>
                  <a:gd name="T57" fmla="*/ 36 h 86"/>
                  <a:gd name="T58" fmla="*/ 19 w 68"/>
                  <a:gd name="T59" fmla="*/ 36 h 86"/>
                  <a:gd name="T60" fmla="*/ 18 w 68"/>
                  <a:gd name="T61" fmla="*/ 38 h 8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68" h="86">
                    <a:moveTo>
                      <a:pt x="40" y="85"/>
                    </a:moveTo>
                    <a:lnTo>
                      <a:pt x="37" y="81"/>
                    </a:lnTo>
                    <a:lnTo>
                      <a:pt x="32" y="83"/>
                    </a:lnTo>
                    <a:lnTo>
                      <a:pt x="28" y="86"/>
                    </a:lnTo>
                    <a:lnTo>
                      <a:pt x="26" y="83"/>
                    </a:lnTo>
                    <a:lnTo>
                      <a:pt x="26" y="81"/>
                    </a:lnTo>
                    <a:lnTo>
                      <a:pt x="26" y="80"/>
                    </a:lnTo>
                    <a:lnTo>
                      <a:pt x="21" y="73"/>
                    </a:lnTo>
                    <a:lnTo>
                      <a:pt x="18" y="63"/>
                    </a:lnTo>
                    <a:lnTo>
                      <a:pt x="18" y="57"/>
                    </a:lnTo>
                    <a:lnTo>
                      <a:pt x="18" y="55"/>
                    </a:lnTo>
                    <a:lnTo>
                      <a:pt x="7" y="42"/>
                    </a:lnTo>
                    <a:lnTo>
                      <a:pt x="4" y="37"/>
                    </a:lnTo>
                    <a:lnTo>
                      <a:pt x="14" y="40"/>
                    </a:lnTo>
                    <a:lnTo>
                      <a:pt x="12" y="35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14" y="5"/>
                    </a:lnTo>
                    <a:lnTo>
                      <a:pt x="21" y="0"/>
                    </a:lnTo>
                    <a:lnTo>
                      <a:pt x="40" y="20"/>
                    </a:lnTo>
                    <a:lnTo>
                      <a:pt x="59" y="40"/>
                    </a:lnTo>
                    <a:lnTo>
                      <a:pt x="68" y="68"/>
                    </a:lnTo>
                    <a:lnTo>
                      <a:pt x="60" y="73"/>
                    </a:lnTo>
                    <a:lnTo>
                      <a:pt x="54" y="78"/>
                    </a:lnTo>
                    <a:lnTo>
                      <a:pt x="49" y="75"/>
                    </a:lnTo>
                    <a:lnTo>
                      <a:pt x="46" y="78"/>
                    </a:lnTo>
                    <a:lnTo>
                      <a:pt x="45" y="81"/>
                    </a:lnTo>
                    <a:lnTo>
                      <a:pt x="42" y="81"/>
                    </a:lnTo>
                    <a:lnTo>
                      <a:pt x="40" y="8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60" name="Freeform 290">
                <a:extLst>
                  <a:ext uri="{FF2B5EF4-FFF2-40B4-BE49-F238E27FC236}">
                    <a16:creationId xmlns:a16="http://schemas.microsoft.com/office/drawing/2014/main" id="{1DD3B4FE-CB68-E0D2-6F90-5FEC3625C9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18" y="3418"/>
                <a:ext cx="11" cy="29"/>
              </a:xfrm>
              <a:custGeom>
                <a:avLst/>
                <a:gdLst>
                  <a:gd name="T0" fmla="*/ 7 w 25"/>
                  <a:gd name="T1" fmla="*/ 29 h 66"/>
                  <a:gd name="T2" fmla="*/ 0 w 25"/>
                  <a:gd name="T3" fmla="*/ 22 h 66"/>
                  <a:gd name="T4" fmla="*/ 0 w 25"/>
                  <a:gd name="T5" fmla="*/ 11 h 66"/>
                  <a:gd name="T6" fmla="*/ 3 w 25"/>
                  <a:gd name="T7" fmla="*/ 6 h 66"/>
                  <a:gd name="T8" fmla="*/ 6 w 25"/>
                  <a:gd name="T9" fmla="*/ 0 h 66"/>
                  <a:gd name="T10" fmla="*/ 11 w 25"/>
                  <a:gd name="T11" fmla="*/ 2 h 66"/>
                  <a:gd name="T12" fmla="*/ 10 w 25"/>
                  <a:gd name="T13" fmla="*/ 9 h 66"/>
                  <a:gd name="T14" fmla="*/ 10 w 25"/>
                  <a:gd name="T15" fmla="*/ 15 h 66"/>
                  <a:gd name="T16" fmla="*/ 8 w 25"/>
                  <a:gd name="T17" fmla="*/ 22 h 66"/>
                  <a:gd name="T18" fmla="*/ 7 w 25"/>
                  <a:gd name="T19" fmla="*/ 29 h 6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5" h="66">
                    <a:moveTo>
                      <a:pt x="17" y="66"/>
                    </a:moveTo>
                    <a:lnTo>
                      <a:pt x="1" y="50"/>
                    </a:lnTo>
                    <a:lnTo>
                      <a:pt x="0" y="25"/>
                    </a:lnTo>
                    <a:lnTo>
                      <a:pt x="6" y="13"/>
                    </a:lnTo>
                    <a:lnTo>
                      <a:pt x="14" y="0"/>
                    </a:lnTo>
                    <a:lnTo>
                      <a:pt x="25" y="5"/>
                    </a:lnTo>
                    <a:lnTo>
                      <a:pt x="23" y="20"/>
                    </a:lnTo>
                    <a:lnTo>
                      <a:pt x="22" y="35"/>
                    </a:lnTo>
                    <a:lnTo>
                      <a:pt x="18" y="51"/>
                    </a:lnTo>
                    <a:lnTo>
                      <a:pt x="17" y="6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61" name="Freeform 291">
                <a:extLst>
                  <a:ext uri="{FF2B5EF4-FFF2-40B4-BE49-F238E27FC236}">
                    <a16:creationId xmlns:a16="http://schemas.microsoft.com/office/drawing/2014/main" id="{59C2AED5-2562-1AE2-F24B-627A7210A9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93" y="3178"/>
                <a:ext cx="236" cy="92"/>
              </a:xfrm>
              <a:custGeom>
                <a:avLst/>
                <a:gdLst>
                  <a:gd name="T0" fmla="*/ 140 w 534"/>
                  <a:gd name="T1" fmla="*/ 88 h 211"/>
                  <a:gd name="T2" fmla="*/ 127 w 534"/>
                  <a:gd name="T3" fmla="*/ 83 h 211"/>
                  <a:gd name="T4" fmla="*/ 107 w 534"/>
                  <a:gd name="T5" fmla="*/ 82 h 211"/>
                  <a:gd name="T6" fmla="*/ 86 w 534"/>
                  <a:gd name="T7" fmla="*/ 81 h 211"/>
                  <a:gd name="T8" fmla="*/ 74 w 534"/>
                  <a:gd name="T9" fmla="*/ 68 h 211"/>
                  <a:gd name="T10" fmla="*/ 53 w 534"/>
                  <a:gd name="T11" fmla="*/ 61 h 211"/>
                  <a:gd name="T12" fmla="*/ 36 w 534"/>
                  <a:gd name="T13" fmla="*/ 58 h 211"/>
                  <a:gd name="T14" fmla="*/ 31 w 534"/>
                  <a:gd name="T15" fmla="*/ 44 h 211"/>
                  <a:gd name="T16" fmla="*/ 15 w 534"/>
                  <a:gd name="T17" fmla="*/ 35 h 211"/>
                  <a:gd name="T18" fmla="*/ 1 w 534"/>
                  <a:gd name="T19" fmla="*/ 26 h 211"/>
                  <a:gd name="T20" fmla="*/ 4 w 534"/>
                  <a:gd name="T21" fmla="*/ 22 h 211"/>
                  <a:gd name="T22" fmla="*/ 17 w 534"/>
                  <a:gd name="T23" fmla="*/ 15 h 211"/>
                  <a:gd name="T24" fmla="*/ 38 w 534"/>
                  <a:gd name="T25" fmla="*/ 12 h 211"/>
                  <a:gd name="T26" fmla="*/ 51 w 534"/>
                  <a:gd name="T27" fmla="*/ 17 h 211"/>
                  <a:gd name="T28" fmla="*/ 68 w 534"/>
                  <a:gd name="T29" fmla="*/ 15 h 211"/>
                  <a:gd name="T30" fmla="*/ 62 w 534"/>
                  <a:gd name="T31" fmla="*/ 0 h 211"/>
                  <a:gd name="T32" fmla="*/ 87 w 534"/>
                  <a:gd name="T33" fmla="*/ 6 h 211"/>
                  <a:gd name="T34" fmla="*/ 103 w 534"/>
                  <a:gd name="T35" fmla="*/ 16 h 211"/>
                  <a:gd name="T36" fmla="*/ 126 w 534"/>
                  <a:gd name="T37" fmla="*/ 16 h 211"/>
                  <a:gd name="T38" fmla="*/ 139 w 534"/>
                  <a:gd name="T39" fmla="*/ 21 h 211"/>
                  <a:gd name="T40" fmla="*/ 162 w 534"/>
                  <a:gd name="T41" fmla="*/ 22 h 211"/>
                  <a:gd name="T42" fmla="*/ 179 w 534"/>
                  <a:gd name="T43" fmla="*/ 15 h 211"/>
                  <a:gd name="T44" fmla="*/ 198 w 534"/>
                  <a:gd name="T45" fmla="*/ 19 h 211"/>
                  <a:gd name="T46" fmla="*/ 201 w 534"/>
                  <a:gd name="T47" fmla="*/ 33 h 211"/>
                  <a:gd name="T48" fmla="*/ 205 w 534"/>
                  <a:gd name="T49" fmla="*/ 37 h 211"/>
                  <a:gd name="T50" fmla="*/ 215 w 534"/>
                  <a:gd name="T51" fmla="*/ 38 h 211"/>
                  <a:gd name="T52" fmla="*/ 234 w 534"/>
                  <a:gd name="T53" fmla="*/ 43 h 211"/>
                  <a:gd name="T54" fmla="*/ 224 w 534"/>
                  <a:gd name="T55" fmla="*/ 47 h 211"/>
                  <a:gd name="T56" fmla="*/ 214 w 534"/>
                  <a:gd name="T57" fmla="*/ 57 h 211"/>
                  <a:gd name="T58" fmla="*/ 200 w 534"/>
                  <a:gd name="T59" fmla="*/ 63 h 211"/>
                  <a:gd name="T60" fmla="*/ 190 w 534"/>
                  <a:gd name="T61" fmla="*/ 69 h 211"/>
                  <a:gd name="T62" fmla="*/ 189 w 534"/>
                  <a:gd name="T63" fmla="*/ 79 h 211"/>
                  <a:gd name="T64" fmla="*/ 173 w 534"/>
                  <a:gd name="T65" fmla="*/ 85 h 211"/>
                  <a:gd name="T66" fmla="*/ 160 w 534"/>
                  <a:gd name="T67" fmla="*/ 89 h 211"/>
                  <a:gd name="T68" fmla="*/ 148 w 534"/>
                  <a:gd name="T69" fmla="*/ 90 h 21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34" h="211">
                    <a:moveTo>
                      <a:pt x="336" y="206"/>
                    </a:moveTo>
                    <a:lnTo>
                      <a:pt x="316" y="201"/>
                    </a:lnTo>
                    <a:lnTo>
                      <a:pt x="294" y="197"/>
                    </a:lnTo>
                    <a:lnTo>
                      <a:pt x="288" y="191"/>
                    </a:lnTo>
                    <a:lnTo>
                      <a:pt x="265" y="191"/>
                    </a:lnTo>
                    <a:lnTo>
                      <a:pt x="242" y="189"/>
                    </a:lnTo>
                    <a:lnTo>
                      <a:pt x="219" y="187"/>
                    </a:lnTo>
                    <a:lnTo>
                      <a:pt x="195" y="186"/>
                    </a:lnTo>
                    <a:lnTo>
                      <a:pt x="181" y="171"/>
                    </a:lnTo>
                    <a:lnTo>
                      <a:pt x="168" y="156"/>
                    </a:lnTo>
                    <a:lnTo>
                      <a:pt x="144" y="148"/>
                    </a:lnTo>
                    <a:lnTo>
                      <a:pt x="121" y="141"/>
                    </a:lnTo>
                    <a:lnTo>
                      <a:pt x="99" y="138"/>
                    </a:lnTo>
                    <a:lnTo>
                      <a:pt x="81" y="134"/>
                    </a:lnTo>
                    <a:lnTo>
                      <a:pt x="75" y="118"/>
                    </a:lnTo>
                    <a:lnTo>
                      <a:pt x="70" y="101"/>
                    </a:lnTo>
                    <a:lnTo>
                      <a:pt x="44" y="85"/>
                    </a:lnTo>
                    <a:lnTo>
                      <a:pt x="33" y="81"/>
                    </a:lnTo>
                    <a:lnTo>
                      <a:pt x="8" y="68"/>
                    </a:lnTo>
                    <a:lnTo>
                      <a:pt x="2" y="60"/>
                    </a:lnTo>
                    <a:lnTo>
                      <a:pt x="0" y="56"/>
                    </a:lnTo>
                    <a:lnTo>
                      <a:pt x="8" y="51"/>
                    </a:lnTo>
                    <a:lnTo>
                      <a:pt x="22" y="45"/>
                    </a:lnTo>
                    <a:lnTo>
                      <a:pt x="39" y="35"/>
                    </a:lnTo>
                    <a:lnTo>
                      <a:pt x="53" y="25"/>
                    </a:lnTo>
                    <a:lnTo>
                      <a:pt x="87" y="28"/>
                    </a:lnTo>
                    <a:lnTo>
                      <a:pt x="93" y="37"/>
                    </a:lnTo>
                    <a:lnTo>
                      <a:pt x="116" y="40"/>
                    </a:lnTo>
                    <a:lnTo>
                      <a:pt x="141" y="45"/>
                    </a:lnTo>
                    <a:lnTo>
                      <a:pt x="154" y="35"/>
                    </a:lnTo>
                    <a:lnTo>
                      <a:pt x="137" y="20"/>
                    </a:lnTo>
                    <a:lnTo>
                      <a:pt x="141" y="0"/>
                    </a:lnTo>
                    <a:lnTo>
                      <a:pt x="169" y="5"/>
                    </a:lnTo>
                    <a:lnTo>
                      <a:pt x="197" y="13"/>
                    </a:lnTo>
                    <a:lnTo>
                      <a:pt x="208" y="23"/>
                    </a:lnTo>
                    <a:lnTo>
                      <a:pt x="233" y="37"/>
                    </a:lnTo>
                    <a:lnTo>
                      <a:pt x="260" y="32"/>
                    </a:lnTo>
                    <a:lnTo>
                      <a:pt x="284" y="37"/>
                    </a:lnTo>
                    <a:lnTo>
                      <a:pt x="307" y="40"/>
                    </a:lnTo>
                    <a:lnTo>
                      <a:pt x="315" y="48"/>
                    </a:lnTo>
                    <a:lnTo>
                      <a:pt x="349" y="56"/>
                    </a:lnTo>
                    <a:lnTo>
                      <a:pt x="367" y="51"/>
                    </a:lnTo>
                    <a:lnTo>
                      <a:pt x="386" y="50"/>
                    </a:lnTo>
                    <a:lnTo>
                      <a:pt x="404" y="35"/>
                    </a:lnTo>
                    <a:lnTo>
                      <a:pt x="434" y="41"/>
                    </a:lnTo>
                    <a:lnTo>
                      <a:pt x="449" y="43"/>
                    </a:lnTo>
                    <a:lnTo>
                      <a:pt x="452" y="60"/>
                    </a:lnTo>
                    <a:lnTo>
                      <a:pt x="454" y="75"/>
                    </a:lnTo>
                    <a:lnTo>
                      <a:pt x="449" y="76"/>
                    </a:lnTo>
                    <a:lnTo>
                      <a:pt x="463" y="85"/>
                    </a:lnTo>
                    <a:lnTo>
                      <a:pt x="479" y="85"/>
                    </a:lnTo>
                    <a:lnTo>
                      <a:pt x="486" y="88"/>
                    </a:lnTo>
                    <a:lnTo>
                      <a:pt x="494" y="80"/>
                    </a:lnTo>
                    <a:lnTo>
                      <a:pt x="530" y="98"/>
                    </a:lnTo>
                    <a:lnTo>
                      <a:pt x="534" y="109"/>
                    </a:lnTo>
                    <a:lnTo>
                      <a:pt x="506" y="108"/>
                    </a:lnTo>
                    <a:lnTo>
                      <a:pt x="488" y="118"/>
                    </a:lnTo>
                    <a:lnTo>
                      <a:pt x="485" y="131"/>
                    </a:lnTo>
                    <a:lnTo>
                      <a:pt x="468" y="136"/>
                    </a:lnTo>
                    <a:lnTo>
                      <a:pt x="452" y="144"/>
                    </a:lnTo>
                    <a:lnTo>
                      <a:pt x="427" y="138"/>
                    </a:lnTo>
                    <a:lnTo>
                      <a:pt x="431" y="158"/>
                    </a:lnTo>
                    <a:lnTo>
                      <a:pt x="441" y="167"/>
                    </a:lnTo>
                    <a:lnTo>
                      <a:pt x="427" y="181"/>
                    </a:lnTo>
                    <a:lnTo>
                      <a:pt x="412" y="194"/>
                    </a:lnTo>
                    <a:lnTo>
                      <a:pt x="392" y="194"/>
                    </a:lnTo>
                    <a:lnTo>
                      <a:pt x="373" y="196"/>
                    </a:lnTo>
                    <a:lnTo>
                      <a:pt x="361" y="204"/>
                    </a:lnTo>
                    <a:lnTo>
                      <a:pt x="349" y="211"/>
                    </a:lnTo>
                    <a:lnTo>
                      <a:pt x="336" y="20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62" name="Freeform 292">
                <a:extLst>
                  <a:ext uri="{FF2B5EF4-FFF2-40B4-BE49-F238E27FC236}">
                    <a16:creationId xmlns:a16="http://schemas.microsoft.com/office/drawing/2014/main" id="{07732087-A755-A853-8605-9AA3A36CBC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06" y="3149"/>
                <a:ext cx="281" cy="124"/>
              </a:xfrm>
              <a:custGeom>
                <a:avLst/>
                <a:gdLst>
                  <a:gd name="T0" fmla="*/ 33 w 634"/>
                  <a:gd name="T1" fmla="*/ 73 h 282"/>
                  <a:gd name="T2" fmla="*/ 23 w 634"/>
                  <a:gd name="T3" fmla="*/ 78 h 282"/>
                  <a:gd name="T4" fmla="*/ 8 w 634"/>
                  <a:gd name="T5" fmla="*/ 62 h 282"/>
                  <a:gd name="T6" fmla="*/ 0 w 634"/>
                  <a:gd name="T7" fmla="*/ 46 h 282"/>
                  <a:gd name="T8" fmla="*/ 11 w 634"/>
                  <a:gd name="T9" fmla="*/ 40 h 282"/>
                  <a:gd name="T10" fmla="*/ 17 w 634"/>
                  <a:gd name="T11" fmla="*/ 33 h 282"/>
                  <a:gd name="T12" fmla="*/ 33 w 634"/>
                  <a:gd name="T13" fmla="*/ 28 h 282"/>
                  <a:gd name="T14" fmla="*/ 51 w 634"/>
                  <a:gd name="T15" fmla="*/ 37 h 282"/>
                  <a:gd name="T16" fmla="*/ 76 w 634"/>
                  <a:gd name="T17" fmla="*/ 36 h 282"/>
                  <a:gd name="T18" fmla="*/ 91 w 634"/>
                  <a:gd name="T19" fmla="*/ 36 h 282"/>
                  <a:gd name="T20" fmla="*/ 87 w 634"/>
                  <a:gd name="T21" fmla="*/ 17 h 282"/>
                  <a:gd name="T22" fmla="*/ 84 w 634"/>
                  <a:gd name="T23" fmla="*/ 12 h 282"/>
                  <a:gd name="T24" fmla="*/ 103 w 634"/>
                  <a:gd name="T25" fmla="*/ 10 h 282"/>
                  <a:gd name="T26" fmla="*/ 120 w 634"/>
                  <a:gd name="T27" fmla="*/ 5 h 282"/>
                  <a:gd name="T28" fmla="*/ 136 w 634"/>
                  <a:gd name="T29" fmla="*/ 0 h 282"/>
                  <a:gd name="T30" fmla="*/ 148 w 634"/>
                  <a:gd name="T31" fmla="*/ 5 h 282"/>
                  <a:gd name="T32" fmla="*/ 167 w 634"/>
                  <a:gd name="T33" fmla="*/ 12 h 282"/>
                  <a:gd name="T34" fmla="*/ 181 w 634"/>
                  <a:gd name="T35" fmla="*/ 10 h 282"/>
                  <a:gd name="T36" fmla="*/ 191 w 634"/>
                  <a:gd name="T37" fmla="*/ 9 h 282"/>
                  <a:gd name="T38" fmla="*/ 199 w 634"/>
                  <a:gd name="T39" fmla="*/ 19 h 282"/>
                  <a:gd name="T40" fmla="*/ 219 w 634"/>
                  <a:gd name="T41" fmla="*/ 32 h 282"/>
                  <a:gd name="T42" fmla="*/ 230 w 634"/>
                  <a:gd name="T43" fmla="*/ 36 h 282"/>
                  <a:gd name="T44" fmla="*/ 245 w 634"/>
                  <a:gd name="T45" fmla="*/ 36 h 282"/>
                  <a:gd name="T46" fmla="*/ 263 w 634"/>
                  <a:gd name="T47" fmla="*/ 49 h 282"/>
                  <a:gd name="T48" fmla="*/ 281 w 634"/>
                  <a:gd name="T49" fmla="*/ 55 h 282"/>
                  <a:gd name="T50" fmla="*/ 275 w 634"/>
                  <a:gd name="T51" fmla="*/ 63 h 282"/>
                  <a:gd name="T52" fmla="*/ 271 w 634"/>
                  <a:gd name="T53" fmla="*/ 73 h 282"/>
                  <a:gd name="T54" fmla="*/ 261 w 634"/>
                  <a:gd name="T55" fmla="*/ 79 h 282"/>
                  <a:gd name="T56" fmla="*/ 265 w 634"/>
                  <a:gd name="T57" fmla="*/ 90 h 282"/>
                  <a:gd name="T58" fmla="*/ 246 w 634"/>
                  <a:gd name="T59" fmla="*/ 92 h 282"/>
                  <a:gd name="T60" fmla="*/ 254 w 634"/>
                  <a:gd name="T61" fmla="*/ 101 h 282"/>
                  <a:gd name="T62" fmla="*/ 257 w 634"/>
                  <a:gd name="T63" fmla="*/ 109 h 282"/>
                  <a:gd name="T64" fmla="*/ 246 w 634"/>
                  <a:gd name="T65" fmla="*/ 106 h 282"/>
                  <a:gd name="T66" fmla="*/ 227 w 634"/>
                  <a:gd name="T67" fmla="*/ 107 h 282"/>
                  <a:gd name="T68" fmla="*/ 210 w 634"/>
                  <a:gd name="T69" fmla="*/ 107 h 282"/>
                  <a:gd name="T70" fmla="*/ 199 w 634"/>
                  <a:gd name="T71" fmla="*/ 111 h 282"/>
                  <a:gd name="T72" fmla="*/ 187 w 634"/>
                  <a:gd name="T73" fmla="*/ 113 h 282"/>
                  <a:gd name="T74" fmla="*/ 172 w 634"/>
                  <a:gd name="T75" fmla="*/ 124 h 282"/>
                  <a:gd name="T76" fmla="*/ 158 w 634"/>
                  <a:gd name="T77" fmla="*/ 117 h 282"/>
                  <a:gd name="T78" fmla="*/ 149 w 634"/>
                  <a:gd name="T79" fmla="*/ 104 h 282"/>
                  <a:gd name="T80" fmla="*/ 133 w 634"/>
                  <a:gd name="T81" fmla="*/ 102 h 282"/>
                  <a:gd name="T82" fmla="*/ 118 w 634"/>
                  <a:gd name="T83" fmla="*/ 102 h 282"/>
                  <a:gd name="T84" fmla="*/ 101 w 634"/>
                  <a:gd name="T85" fmla="*/ 88 h 282"/>
                  <a:gd name="T86" fmla="*/ 83 w 634"/>
                  <a:gd name="T87" fmla="*/ 86 h 282"/>
                  <a:gd name="T88" fmla="*/ 76 w 634"/>
                  <a:gd name="T89" fmla="*/ 98 h 282"/>
                  <a:gd name="T90" fmla="*/ 80 w 634"/>
                  <a:gd name="T91" fmla="*/ 113 h 282"/>
                  <a:gd name="T92" fmla="*/ 73 w 634"/>
                  <a:gd name="T93" fmla="*/ 120 h 282"/>
                  <a:gd name="T94" fmla="*/ 66 w 634"/>
                  <a:gd name="T95" fmla="*/ 111 h 282"/>
                  <a:gd name="T96" fmla="*/ 47 w 634"/>
                  <a:gd name="T97" fmla="*/ 109 h 282"/>
                  <a:gd name="T98" fmla="*/ 38 w 634"/>
                  <a:gd name="T99" fmla="*/ 98 h 282"/>
                  <a:gd name="T100" fmla="*/ 42 w 634"/>
                  <a:gd name="T101" fmla="*/ 94 h 282"/>
                  <a:gd name="T102" fmla="*/ 43 w 634"/>
                  <a:gd name="T103" fmla="*/ 88 h 282"/>
                  <a:gd name="T104" fmla="*/ 50 w 634"/>
                  <a:gd name="T105" fmla="*/ 84 h 282"/>
                  <a:gd name="T106" fmla="*/ 39 w 634"/>
                  <a:gd name="T107" fmla="*/ 73 h 28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634" h="282">
                    <a:moveTo>
                      <a:pt x="88" y="167"/>
                    </a:moveTo>
                    <a:lnTo>
                      <a:pt x="74" y="167"/>
                    </a:lnTo>
                    <a:lnTo>
                      <a:pt x="52" y="175"/>
                    </a:lnTo>
                    <a:lnTo>
                      <a:pt x="51" y="177"/>
                    </a:lnTo>
                    <a:lnTo>
                      <a:pt x="38" y="157"/>
                    </a:lnTo>
                    <a:lnTo>
                      <a:pt x="18" y="142"/>
                    </a:lnTo>
                    <a:lnTo>
                      <a:pt x="0" y="127"/>
                    </a:lnTo>
                    <a:lnTo>
                      <a:pt x="1" y="104"/>
                    </a:lnTo>
                    <a:lnTo>
                      <a:pt x="4" y="83"/>
                    </a:lnTo>
                    <a:lnTo>
                      <a:pt x="24" y="91"/>
                    </a:lnTo>
                    <a:lnTo>
                      <a:pt x="28" y="83"/>
                    </a:lnTo>
                    <a:lnTo>
                      <a:pt x="38" y="74"/>
                    </a:lnTo>
                    <a:lnTo>
                      <a:pt x="51" y="64"/>
                    </a:lnTo>
                    <a:lnTo>
                      <a:pt x="74" y="64"/>
                    </a:lnTo>
                    <a:lnTo>
                      <a:pt x="96" y="74"/>
                    </a:lnTo>
                    <a:lnTo>
                      <a:pt x="116" y="84"/>
                    </a:lnTo>
                    <a:lnTo>
                      <a:pt x="139" y="83"/>
                    </a:lnTo>
                    <a:lnTo>
                      <a:pt x="171" y="81"/>
                    </a:lnTo>
                    <a:lnTo>
                      <a:pt x="202" y="86"/>
                    </a:lnTo>
                    <a:lnTo>
                      <a:pt x="205" y="81"/>
                    </a:lnTo>
                    <a:lnTo>
                      <a:pt x="187" y="61"/>
                    </a:lnTo>
                    <a:lnTo>
                      <a:pt x="196" y="38"/>
                    </a:lnTo>
                    <a:lnTo>
                      <a:pt x="210" y="38"/>
                    </a:lnTo>
                    <a:lnTo>
                      <a:pt x="190" y="28"/>
                    </a:lnTo>
                    <a:lnTo>
                      <a:pt x="210" y="25"/>
                    </a:lnTo>
                    <a:lnTo>
                      <a:pt x="232" y="23"/>
                    </a:lnTo>
                    <a:lnTo>
                      <a:pt x="250" y="18"/>
                    </a:lnTo>
                    <a:lnTo>
                      <a:pt x="270" y="11"/>
                    </a:lnTo>
                    <a:lnTo>
                      <a:pt x="287" y="6"/>
                    </a:lnTo>
                    <a:lnTo>
                      <a:pt x="306" y="1"/>
                    </a:lnTo>
                    <a:lnTo>
                      <a:pt x="323" y="0"/>
                    </a:lnTo>
                    <a:lnTo>
                      <a:pt x="334" y="11"/>
                    </a:lnTo>
                    <a:lnTo>
                      <a:pt x="363" y="23"/>
                    </a:lnTo>
                    <a:lnTo>
                      <a:pt x="376" y="28"/>
                    </a:lnTo>
                    <a:lnTo>
                      <a:pt x="388" y="30"/>
                    </a:lnTo>
                    <a:lnTo>
                      <a:pt x="408" y="23"/>
                    </a:lnTo>
                    <a:lnTo>
                      <a:pt x="428" y="16"/>
                    </a:lnTo>
                    <a:lnTo>
                      <a:pt x="431" y="20"/>
                    </a:lnTo>
                    <a:lnTo>
                      <a:pt x="430" y="28"/>
                    </a:lnTo>
                    <a:lnTo>
                      <a:pt x="450" y="43"/>
                    </a:lnTo>
                    <a:lnTo>
                      <a:pt x="472" y="58"/>
                    </a:lnTo>
                    <a:lnTo>
                      <a:pt x="495" y="73"/>
                    </a:lnTo>
                    <a:lnTo>
                      <a:pt x="515" y="86"/>
                    </a:lnTo>
                    <a:lnTo>
                      <a:pt x="518" y="83"/>
                    </a:lnTo>
                    <a:lnTo>
                      <a:pt x="532" y="86"/>
                    </a:lnTo>
                    <a:lnTo>
                      <a:pt x="552" y="83"/>
                    </a:lnTo>
                    <a:lnTo>
                      <a:pt x="572" y="98"/>
                    </a:lnTo>
                    <a:lnTo>
                      <a:pt x="594" y="111"/>
                    </a:lnTo>
                    <a:lnTo>
                      <a:pt x="615" y="104"/>
                    </a:lnTo>
                    <a:lnTo>
                      <a:pt x="634" y="124"/>
                    </a:lnTo>
                    <a:lnTo>
                      <a:pt x="628" y="137"/>
                    </a:lnTo>
                    <a:lnTo>
                      <a:pt x="620" y="144"/>
                    </a:lnTo>
                    <a:lnTo>
                      <a:pt x="628" y="166"/>
                    </a:lnTo>
                    <a:lnTo>
                      <a:pt x="612" y="167"/>
                    </a:lnTo>
                    <a:lnTo>
                      <a:pt x="588" y="164"/>
                    </a:lnTo>
                    <a:lnTo>
                      <a:pt x="589" y="179"/>
                    </a:lnTo>
                    <a:lnTo>
                      <a:pt x="591" y="197"/>
                    </a:lnTo>
                    <a:lnTo>
                      <a:pt x="597" y="205"/>
                    </a:lnTo>
                    <a:lnTo>
                      <a:pt x="575" y="202"/>
                    </a:lnTo>
                    <a:lnTo>
                      <a:pt x="555" y="210"/>
                    </a:lnTo>
                    <a:lnTo>
                      <a:pt x="566" y="215"/>
                    </a:lnTo>
                    <a:lnTo>
                      <a:pt x="574" y="230"/>
                    </a:lnTo>
                    <a:lnTo>
                      <a:pt x="580" y="243"/>
                    </a:lnTo>
                    <a:lnTo>
                      <a:pt x="580" y="248"/>
                    </a:lnTo>
                    <a:lnTo>
                      <a:pt x="577" y="253"/>
                    </a:lnTo>
                    <a:lnTo>
                      <a:pt x="555" y="240"/>
                    </a:lnTo>
                    <a:lnTo>
                      <a:pt x="533" y="242"/>
                    </a:lnTo>
                    <a:lnTo>
                      <a:pt x="513" y="243"/>
                    </a:lnTo>
                    <a:lnTo>
                      <a:pt x="489" y="243"/>
                    </a:lnTo>
                    <a:lnTo>
                      <a:pt x="473" y="243"/>
                    </a:lnTo>
                    <a:lnTo>
                      <a:pt x="464" y="257"/>
                    </a:lnTo>
                    <a:lnTo>
                      <a:pt x="448" y="253"/>
                    </a:lnTo>
                    <a:lnTo>
                      <a:pt x="431" y="250"/>
                    </a:lnTo>
                    <a:lnTo>
                      <a:pt x="421" y="258"/>
                    </a:lnTo>
                    <a:lnTo>
                      <a:pt x="404" y="272"/>
                    </a:lnTo>
                    <a:lnTo>
                      <a:pt x="388" y="282"/>
                    </a:lnTo>
                    <a:lnTo>
                      <a:pt x="371" y="273"/>
                    </a:lnTo>
                    <a:lnTo>
                      <a:pt x="357" y="265"/>
                    </a:lnTo>
                    <a:lnTo>
                      <a:pt x="356" y="248"/>
                    </a:lnTo>
                    <a:lnTo>
                      <a:pt x="337" y="237"/>
                    </a:lnTo>
                    <a:lnTo>
                      <a:pt x="320" y="235"/>
                    </a:lnTo>
                    <a:lnTo>
                      <a:pt x="301" y="233"/>
                    </a:lnTo>
                    <a:lnTo>
                      <a:pt x="286" y="232"/>
                    </a:lnTo>
                    <a:lnTo>
                      <a:pt x="267" y="232"/>
                    </a:lnTo>
                    <a:lnTo>
                      <a:pt x="250" y="210"/>
                    </a:lnTo>
                    <a:lnTo>
                      <a:pt x="229" y="200"/>
                    </a:lnTo>
                    <a:lnTo>
                      <a:pt x="209" y="189"/>
                    </a:lnTo>
                    <a:lnTo>
                      <a:pt x="187" y="195"/>
                    </a:lnTo>
                    <a:lnTo>
                      <a:pt x="167" y="205"/>
                    </a:lnTo>
                    <a:lnTo>
                      <a:pt x="171" y="224"/>
                    </a:lnTo>
                    <a:lnTo>
                      <a:pt x="176" y="240"/>
                    </a:lnTo>
                    <a:lnTo>
                      <a:pt x="181" y="258"/>
                    </a:lnTo>
                    <a:lnTo>
                      <a:pt x="185" y="277"/>
                    </a:lnTo>
                    <a:lnTo>
                      <a:pt x="165" y="272"/>
                    </a:lnTo>
                    <a:lnTo>
                      <a:pt x="147" y="265"/>
                    </a:lnTo>
                    <a:lnTo>
                      <a:pt x="150" y="252"/>
                    </a:lnTo>
                    <a:lnTo>
                      <a:pt x="120" y="252"/>
                    </a:lnTo>
                    <a:lnTo>
                      <a:pt x="106" y="247"/>
                    </a:lnTo>
                    <a:lnTo>
                      <a:pt x="99" y="242"/>
                    </a:lnTo>
                    <a:lnTo>
                      <a:pt x="85" y="224"/>
                    </a:lnTo>
                    <a:lnTo>
                      <a:pt x="76" y="215"/>
                    </a:lnTo>
                    <a:lnTo>
                      <a:pt x="94" y="214"/>
                    </a:lnTo>
                    <a:lnTo>
                      <a:pt x="88" y="207"/>
                    </a:lnTo>
                    <a:lnTo>
                      <a:pt x="97" y="199"/>
                    </a:lnTo>
                    <a:lnTo>
                      <a:pt x="117" y="199"/>
                    </a:lnTo>
                    <a:lnTo>
                      <a:pt x="113" y="192"/>
                    </a:lnTo>
                    <a:lnTo>
                      <a:pt x="108" y="169"/>
                    </a:lnTo>
                    <a:lnTo>
                      <a:pt x="88" y="16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63" name="Freeform 293">
                <a:extLst>
                  <a:ext uri="{FF2B5EF4-FFF2-40B4-BE49-F238E27FC236}">
                    <a16:creationId xmlns:a16="http://schemas.microsoft.com/office/drawing/2014/main" id="{830B42BF-E606-4BD5-E169-460AFD81E6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61" y="3249"/>
                <a:ext cx="62" cy="22"/>
              </a:xfrm>
              <a:custGeom>
                <a:avLst/>
                <a:gdLst>
                  <a:gd name="T0" fmla="*/ 13 w 138"/>
                  <a:gd name="T1" fmla="*/ 8 h 49"/>
                  <a:gd name="T2" fmla="*/ 0 w 138"/>
                  <a:gd name="T3" fmla="*/ 0 h 49"/>
                  <a:gd name="T4" fmla="*/ 1 w 138"/>
                  <a:gd name="T5" fmla="*/ 0 h 49"/>
                  <a:gd name="T6" fmla="*/ 9 w 138"/>
                  <a:gd name="T7" fmla="*/ 0 h 49"/>
                  <a:gd name="T8" fmla="*/ 18 w 138"/>
                  <a:gd name="T9" fmla="*/ 0 h 49"/>
                  <a:gd name="T10" fmla="*/ 29 w 138"/>
                  <a:gd name="T11" fmla="*/ 5 h 49"/>
                  <a:gd name="T12" fmla="*/ 40 w 138"/>
                  <a:gd name="T13" fmla="*/ 9 h 49"/>
                  <a:gd name="T14" fmla="*/ 51 w 138"/>
                  <a:gd name="T15" fmla="*/ 14 h 49"/>
                  <a:gd name="T16" fmla="*/ 62 w 138"/>
                  <a:gd name="T17" fmla="*/ 18 h 49"/>
                  <a:gd name="T18" fmla="*/ 60 w 138"/>
                  <a:gd name="T19" fmla="*/ 22 h 49"/>
                  <a:gd name="T20" fmla="*/ 52 w 138"/>
                  <a:gd name="T21" fmla="*/ 22 h 49"/>
                  <a:gd name="T22" fmla="*/ 41 w 138"/>
                  <a:gd name="T23" fmla="*/ 21 h 49"/>
                  <a:gd name="T24" fmla="*/ 30 w 138"/>
                  <a:gd name="T25" fmla="*/ 21 h 49"/>
                  <a:gd name="T26" fmla="*/ 20 w 138"/>
                  <a:gd name="T27" fmla="*/ 22 h 49"/>
                  <a:gd name="T28" fmla="*/ 20 w 138"/>
                  <a:gd name="T29" fmla="*/ 15 h 49"/>
                  <a:gd name="T30" fmla="*/ 13 w 138"/>
                  <a:gd name="T31" fmla="*/ 8 h 4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38" h="49">
                    <a:moveTo>
                      <a:pt x="28" y="18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19" y="1"/>
                    </a:lnTo>
                    <a:lnTo>
                      <a:pt x="39" y="1"/>
                    </a:lnTo>
                    <a:lnTo>
                      <a:pt x="64" y="11"/>
                    </a:lnTo>
                    <a:lnTo>
                      <a:pt x="88" y="21"/>
                    </a:lnTo>
                    <a:lnTo>
                      <a:pt x="113" y="31"/>
                    </a:lnTo>
                    <a:lnTo>
                      <a:pt x="138" y="39"/>
                    </a:lnTo>
                    <a:lnTo>
                      <a:pt x="133" y="49"/>
                    </a:lnTo>
                    <a:lnTo>
                      <a:pt x="116" y="48"/>
                    </a:lnTo>
                    <a:lnTo>
                      <a:pt x="91" y="46"/>
                    </a:lnTo>
                    <a:lnTo>
                      <a:pt x="67" y="46"/>
                    </a:lnTo>
                    <a:lnTo>
                      <a:pt x="45" y="48"/>
                    </a:lnTo>
                    <a:lnTo>
                      <a:pt x="45" y="33"/>
                    </a:lnTo>
                    <a:lnTo>
                      <a:pt x="28" y="1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64" name="Freeform 294">
                <a:extLst>
                  <a:ext uri="{FF2B5EF4-FFF2-40B4-BE49-F238E27FC236}">
                    <a16:creationId xmlns:a16="http://schemas.microsoft.com/office/drawing/2014/main" id="{ECDA5001-B58B-73E5-64AA-F17AA056385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1" y="3254"/>
                <a:ext cx="73" cy="36"/>
              </a:xfrm>
              <a:custGeom>
                <a:avLst/>
                <a:gdLst>
                  <a:gd name="T0" fmla="*/ 24 w 164"/>
                  <a:gd name="T1" fmla="*/ 21 h 81"/>
                  <a:gd name="T2" fmla="*/ 15 w 164"/>
                  <a:gd name="T3" fmla="*/ 16 h 81"/>
                  <a:gd name="T4" fmla="*/ 5 w 164"/>
                  <a:gd name="T5" fmla="*/ 15 h 81"/>
                  <a:gd name="T6" fmla="*/ 0 w 164"/>
                  <a:gd name="T7" fmla="*/ 8 h 81"/>
                  <a:gd name="T8" fmla="*/ 5 w 164"/>
                  <a:gd name="T9" fmla="*/ 4 h 81"/>
                  <a:gd name="T10" fmla="*/ 12 w 164"/>
                  <a:gd name="T11" fmla="*/ 6 h 81"/>
                  <a:gd name="T12" fmla="*/ 20 w 164"/>
                  <a:gd name="T13" fmla="*/ 8 h 81"/>
                  <a:gd name="T14" fmla="*/ 24 w 164"/>
                  <a:gd name="T15" fmla="*/ 1 h 81"/>
                  <a:gd name="T16" fmla="*/ 31 w 164"/>
                  <a:gd name="T17" fmla="*/ 2 h 81"/>
                  <a:gd name="T18" fmla="*/ 42 w 164"/>
                  <a:gd name="T19" fmla="*/ 2 h 81"/>
                  <a:gd name="T20" fmla="*/ 51 w 164"/>
                  <a:gd name="T21" fmla="*/ 1 h 81"/>
                  <a:gd name="T22" fmla="*/ 61 w 164"/>
                  <a:gd name="T23" fmla="*/ 0 h 81"/>
                  <a:gd name="T24" fmla="*/ 71 w 164"/>
                  <a:gd name="T25" fmla="*/ 6 h 81"/>
                  <a:gd name="T26" fmla="*/ 73 w 164"/>
                  <a:gd name="T27" fmla="*/ 10 h 81"/>
                  <a:gd name="T28" fmla="*/ 67 w 164"/>
                  <a:gd name="T29" fmla="*/ 15 h 81"/>
                  <a:gd name="T30" fmla="*/ 61 w 164"/>
                  <a:gd name="T31" fmla="*/ 19 h 81"/>
                  <a:gd name="T32" fmla="*/ 53 w 164"/>
                  <a:gd name="T33" fmla="*/ 21 h 81"/>
                  <a:gd name="T34" fmla="*/ 48 w 164"/>
                  <a:gd name="T35" fmla="*/ 27 h 81"/>
                  <a:gd name="T36" fmla="*/ 44 w 164"/>
                  <a:gd name="T37" fmla="*/ 26 h 81"/>
                  <a:gd name="T38" fmla="*/ 40 w 164"/>
                  <a:gd name="T39" fmla="*/ 27 h 81"/>
                  <a:gd name="T40" fmla="*/ 35 w 164"/>
                  <a:gd name="T41" fmla="*/ 29 h 81"/>
                  <a:gd name="T42" fmla="*/ 32 w 164"/>
                  <a:gd name="T43" fmla="*/ 36 h 81"/>
                  <a:gd name="T44" fmla="*/ 19 w 164"/>
                  <a:gd name="T45" fmla="*/ 35 h 81"/>
                  <a:gd name="T46" fmla="*/ 5 w 164"/>
                  <a:gd name="T47" fmla="*/ 33 h 81"/>
                  <a:gd name="T48" fmla="*/ 5 w 164"/>
                  <a:gd name="T49" fmla="*/ 27 h 81"/>
                  <a:gd name="T50" fmla="*/ 14 w 164"/>
                  <a:gd name="T51" fmla="*/ 24 h 81"/>
                  <a:gd name="T52" fmla="*/ 24 w 164"/>
                  <a:gd name="T53" fmla="*/ 21 h 8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64" h="81">
                    <a:moveTo>
                      <a:pt x="54" y="48"/>
                    </a:moveTo>
                    <a:lnTo>
                      <a:pt x="34" y="37"/>
                    </a:lnTo>
                    <a:lnTo>
                      <a:pt x="12" y="33"/>
                    </a:lnTo>
                    <a:lnTo>
                      <a:pt x="0" y="18"/>
                    </a:lnTo>
                    <a:lnTo>
                      <a:pt x="11" y="10"/>
                    </a:lnTo>
                    <a:lnTo>
                      <a:pt x="28" y="13"/>
                    </a:lnTo>
                    <a:lnTo>
                      <a:pt x="45" y="17"/>
                    </a:lnTo>
                    <a:lnTo>
                      <a:pt x="54" y="3"/>
                    </a:lnTo>
                    <a:lnTo>
                      <a:pt x="70" y="5"/>
                    </a:lnTo>
                    <a:lnTo>
                      <a:pt x="94" y="5"/>
                    </a:lnTo>
                    <a:lnTo>
                      <a:pt x="114" y="2"/>
                    </a:lnTo>
                    <a:lnTo>
                      <a:pt x="138" y="0"/>
                    </a:lnTo>
                    <a:lnTo>
                      <a:pt x="159" y="13"/>
                    </a:lnTo>
                    <a:lnTo>
                      <a:pt x="164" y="22"/>
                    </a:lnTo>
                    <a:lnTo>
                      <a:pt x="150" y="33"/>
                    </a:lnTo>
                    <a:lnTo>
                      <a:pt x="138" y="43"/>
                    </a:lnTo>
                    <a:lnTo>
                      <a:pt x="119" y="48"/>
                    </a:lnTo>
                    <a:lnTo>
                      <a:pt x="108" y="61"/>
                    </a:lnTo>
                    <a:lnTo>
                      <a:pt x="99" y="58"/>
                    </a:lnTo>
                    <a:lnTo>
                      <a:pt x="90" y="60"/>
                    </a:lnTo>
                    <a:lnTo>
                      <a:pt x="79" y="66"/>
                    </a:lnTo>
                    <a:lnTo>
                      <a:pt x="71" y="81"/>
                    </a:lnTo>
                    <a:lnTo>
                      <a:pt x="43" y="78"/>
                    </a:lnTo>
                    <a:lnTo>
                      <a:pt x="12" y="75"/>
                    </a:lnTo>
                    <a:lnTo>
                      <a:pt x="12" y="61"/>
                    </a:lnTo>
                    <a:lnTo>
                      <a:pt x="32" y="53"/>
                    </a:lnTo>
                    <a:lnTo>
                      <a:pt x="54" y="4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65" name="Freeform 295">
                <a:extLst>
                  <a:ext uri="{FF2B5EF4-FFF2-40B4-BE49-F238E27FC236}">
                    <a16:creationId xmlns:a16="http://schemas.microsoft.com/office/drawing/2014/main" id="{717C117C-666E-E99A-7F27-A6985101C2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60" y="3260"/>
                <a:ext cx="109" cy="67"/>
              </a:xfrm>
              <a:custGeom>
                <a:avLst/>
                <a:gdLst>
                  <a:gd name="T0" fmla="*/ 105 w 246"/>
                  <a:gd name="T1" fmla="*/ 52 h 154"/>
                  <a:gd name="T2" fmla="*/ 101 w 246"/>
                  <a:gd name="T3" fmla="*/ 59 h 154"/>
                  <a:gd name="T4" fmla="*/ 94 w 246"/>
                  <a:gd name="T5" fmla="*/ 63 h 154"/>
                  <a:gd name="T6" fmla="*/ 92 w 246"/>
                  <a:gd name="T7" fmla="*/ 67 h 154"/>
                  <a:gd name="T8" fmla="*/ 88 w 246"/>
                  <a:gd name="T9" fmla="*/ 66 h 154"/>
                  <a:gd name="T10" fmla="*/ 80 w 246"/>
                  <a:gd name="T11" fmla="*/ 64 h 154"/>
                  <a:gd name="T12" fmla="*/ 78 w 246"/>
                  <a:gd name="T13" fmla="*/ 55 h 154"/>
                  <a:gd name="T14" fmla="*/ 71 w 246"/>
                  <a:gd name="T15" fmla="*/ 54 h 154"/>
                  <a:gd name="T16" fmla="*/ 64 w 246"/>
                  <a:gd name="T17" fmla="*/ 50 h 154"/>
                  <a:gd name="T18" fmla="*/ 58 w 246"/>
                  <a:gd name="T19" fmla="*/ 45 h 154"/>
                  <a:gd name="T20" fmla="*/ 45 w 246"/>
                  <a:gd name="T21" fmla="*/ 41 h 154"/>
                  <a:gd name="T22" fmla="*/ 39 w 246"/>
                  <a:gd name="T23" fmla="*/ 42 h 154"/>
                  <a:gd name="T24" fmla="*/ 30 w 246"/>
                  <a:gd name="T25" fmla="*/ 43 h 154"/>
                  <a:gd name="T26" fmla="*/ 23 w 246"/>
                  <a:gd name="T27" fmla="*/ 48 h 154"/>
                  <a:gd name="T28" fmla="*/ 21 w 246"/>
                  <a:gd name="T29" fmla="*/ 48 h 154"/>
                  <a:gd name="T30" fmla="*/ 19 w 246"/>
                  <a:gd name="T31" fmla="*/ 40 h 154"/>
                  <a:gd name="T32" fmla="*/ 18 w 246"/>
                  <a:gd name="T33" fmla="*/ 33 h 154"/>
                  <a:gd name="T34" fmla="*/ 13 w 246"/>
                  <a:gd name="T35" fmla="*/ 30 h 154"/>
                  <a:gd name="T36" fmla="*/ 12 w 246"/>
                  <a:gd name="T37" fmla="*/ 31 h 154"/>
                  <a:gd name="T38" fmla="*/ 15 w 246"/>
                  <a:gd name="T39" fmla="*/ 29 h 154"/>
                  <a:gd name="T40" fmla="*/ 15 w 246"/>
                  <a:gd name="T41" fmla="*/ 28 h 154"/>
                  <a:gd name="T42" fmla="*/ 13 w 246"/>
                  <a:gd name="T43" fmla="*/ 25 h 154"/>
                  <a:gd name="T44" fmla="*/ 10 w 246"/>
                  <a:gd name="T45" fmla="*/ 26 h 154"/>
                  <a:gd name="T46" fmla="*/ 10 w 246"/>
                  <a:gd name="T47" fmla="*/ 27 h 154"/>
                  <a:gd name="T48" fmla="*/ 7 w 246"/>
                  <a:gd name="T49" fmla="*/ 17 h 154"/>
                  <a:gd name="T50" fmla="*/ 8 w 246"/>
                  <a:gd name="T51" fmla="*/ 17 h 154"/>
                  <a:gd name="T52" fmla="*/ 12 w 246"/>
                  <a:gd name="T53" fmla="*/ 17 h 154"/>
                  <a:gd name="T54" fmla="*/ 17 w 246"/>
                  <a:gd name="T55" fmla="*/ 19 h 154"/>
                  <a:gd name="T56" fmla="*/ 19 w 246"/>
                  <a:gd name="T57" fmla="*/ 19 h 154"/>
                  <a:gd name="T58" fmla="*/ 19 w 246"/>
                  <a:gd name="T59" fmla="*/ 18 h 154"/>
                  <a:gd name="T60" fmla="*/ 19 w 246"/>
                  <a:gd name="T61" fmla="*/ 15 h 154"/>
                  <a:gd name="T62" fmla="*/ 12 w 246"/>
                  <a:gd name="T63" fmla="*/ 8 h 154"/>
                  <a:gd name="T64" fmla="*/ 6 w 246"/>
                  <a:gd name="T65" fmla="*/ 7 h 154"/>
                  <a:gd name="T66" fmla="*/ 6 w 246"/>
                  <a:gd name="T67" fmla="*/ 13 h 154"/>
                  <a:gd name="T68" fmla="*/ 7 w 246"/>
                  <a:gd name="T69" fmla="*/ 15 h 154"/>
                  <a:gd name="T70" fmla="*/ 1 w 246"/>
                  <a:gd name="T71" fmla="*/ 6 h 154"/>
                  <a:gd name="T72" fmla="*/ 2 w 246"/>
                  <a:gd name="T73" fmla="*/ 0 h 154"/>
                  <a:gd name="T74" fmla="*/ 0 w 246"/>
                  <a:gd name="T75" fmla="*/ 0 h 154"/>
                  <a:gd name="T76" fmla="*/ 13 w 246"/>
                  <a:gd name="T77" fmla="*/ 0 h 154"/>
                  <a:gd name="T78" fmla="*/ 12 w 246"/>
                  <a:gd name="T79" fmla="*/ 6 h 154"/>
                  <a:gd name="T80" fmla="*/ 20 w 246"/>
                  <a:gd name="T81" fmla="*/ 9 h 154"/>
                  <a:gd name="T82" fmla="*/ 29 w 246"/>
                  <a:gd name="T83" fmla="*/ 11 h 154"/>
                  <a:gd name="T84" fmla="*/ 39 w 246"/>
                  <a:gd name="T85" fmla="*/ 13 h 154"/>
                  <a:gd name="T86" fmla="*/ 38 w 246"/>
                  <a:gd name="T87" fmla="*/ 9 h 154"/>
                  <a:gd name="T88" fmla="*/ 41 w 246"/>
                  <a:gd name="T89" fmla="*/ 7 h 154"/>
                  <a:gd name="T90" fmla="*/ 47 w 246"/>
                  <a:gd name="T91" fmla="*/ 0 h 154"/>
                  <a:gd name="T92" fmla="*/ 57 w 246"/>
                  <a:gd name="T93" fmla="*/ 7 h 154"/>
                  <a:gd name="T94" fmla="*/ 62 w 246"/>
                  <a:gd name="T95" fmla="*/ 16 h 154"/>
                  <a:gd name="T96" fmla="*/ 74 w 246"/>
                  <a:gd name="T97" fmla="*/ 19 h 154"/>
                  <a:gd name="T98" fmla="*/ 80 w 246"/>
                  <a:gd name="T99" fmla="*/ 22 h 154"/>
                  <a:gd name="T100" fmla="*/ 92 w 246"/>
                  <a:gd name="T101" fmla="*/ 30 h 154"/>
                  <a:gd name="T102" fmla="*/ 105 w 246"/>
                  <a:gd name="T103" fmla="*/ 38 h 154"/>
                  <a:gd name="T104" fmla="*/ 109 w 246"/>
                  <a:gd name="T105" fmla="*/ 47 h 154"/>
                  <a:gd name="T106" fmla="*/ 107 w 246"/>
                  <a:gd name="T107" fmla="*/ 50 h 154"/>
                  <a:gd name="T108" fmla="*/ 105 w 246"/>
                  <a:gd name="T109" fmla="*/ 52 h 15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246" h="154">
                    <a:moveTo>
                      <a:pt x="236" y="119"/>
                    </a:moveTo>
                    <a:lnTo>
                      <a:pt x="228" y="136"/>
                    </a:lnTo>
                    <a:lnTo>
                      <a:pt x="212" y="144"/>
                    </a:lnTo>
                    <a:lnTo>
                      <a:pt x="208" y="154"/>
                    </a:lnTo>
                    <a:lnTo>
                      <a:pt x="198" y="152"/>
                    </a:lnTo>
                    <a:lnTo>
                      <a:pt x="181" y="147"/>
                    </a:lnTo>
                    <a:lnTo>
                      <a:pt x="175" y="126"/>
                    </a:lnTo>
                    <a:lnTo>
                      <a:pt x="160" y="124"/>
                    </a:lnTo>
                    <a:lnTo>
                      <a:pt x="144" y="114"/>
                    </a:lnTo>
                    <a:lnTo>
                      <a:pt x="130" y="104"/>
                    </a:lnTo>
                    <a:lnTo>
                      <a:pt x="102" y="94"/>
                    </a:lnTo>
                    <a:lnTo>
                      <a:pt x="87" y="96"/>
                    </a:lnTo>
                    <a:lnTo>
                      <a:pt x="67" y="99"/>
                    </a:lnTo>
                    <a:lnTo>
                      <a:pt x="53" y="111"/>
                    </a:lnTo>
                    <a:lnTo>
                      <a:pt x="48" y="111"/>
                    </a:lnTo>
                    <a:lnTo>
                      <a:pt x="44" y="93"/>
                    </a:lnTo>
                    <a:lnTo>
                      <a:pt x="41" y="76"/>
                    </a:lnTo>
                    <a:lnTo>
                      <a:pt x="30" y="69"/>
                    </a:lnTo>
                    <a:lnTo>
                      <a:pt x="28" y="71"/>
                    </a:lnTo>
                    <a:lnTo>
                      <a:pt x="33" y="66"/>
                    </a:lnTo>
                    <a:lnTo>
                      <a:pt x="33" y="64"/>
                    </a:lnTo>
                    <a:lnTo>
                      <a:pt x="30" y="58"/>
                    </a:lnTo>
                    <a:lnTo>
                      <a:pt x="22" y="59"/>
                    </a:lnTo>
                    <a:lnTo>
                      <a:pt x="22" y="61"/>
                    </a:lnTo>
                    <a:lnTo>
                      <a:pt x="16" y="40"/>
                    </a:lnTo>
                    <a:lnTo>
                      <a:pt x="19" y="38"/>
                    </a:lnTo>
                    <a:lnTo>
                      <a:pt x="28" y="40"/>
                    </a:lnTo>
                    <a:lnTo>
                      <a:pt x="38" y="43"/>
                    </a:lnTo>
                    <a:lnTo>
                      <a:pt x="42" y="43"/>
                    </a:lnTo>
                    <a:lnTo>
                      <a:pt x="42" y="41"/>
                    </a:lnTo>
                    <a:lnTo>
                      <a:pt x="44" y="35"/>
                    </a:lnTo>
                    <a:lnTo>
                      <a:pt x="28" y="18"/>
                    </a:lnTo>
                    <a:lnTo>
                      <a:pt x="14" y="16"/>
                    </a:lnTo>
                    <a:lnTo>
                      <a:pt x="14" y="31"/>
                    </a:lnTo>
                    <a:lnTo>
                      <a:pt x="16" y="35"/>
                    </a:lnTo>
                    <a:lnTo>
                      <a:pt x="2" y="13"/>
                    </a:lnTo>
                    <a:lnTo>
                      <a:pt x="5" y="1"/>
                    </a:lnTo>
                    <a:lnTo>
                      <a:pt x="0" y="0"/>
                    </a:lnTo>
                    <a:lnTo>
                      <a:pt x="30" y="0"/>
                    </a:lnTo>
                    <a:lnTo>
                      <a:pt x="27" y="13"/>
                    </a:lnTo>
                    <a:lnTo>
                      <a:pt x="45" y="20"/>
                    </a:lnTo>
                    <a:lnTo>
                      <a:pt x="65" y="25"/>
                    </a:lnTo>
                    <a:lnTo>
                      <a:pt x="89" y="30"/>
                    </a:lnTo>
                    <a:lnTo>
                      <a:pt x="85" y="20"/>
                    </a:lnTo>
                    <a:lnTo>
                      <a:pt x="93" y="15"/>
                    </a:lnTo>
                    <a:lnTo>
                      <a:pt x="107" y="0"/>
                    </a:lnTo>
                    <a:lnTo>
                      <a:pt x="129" y="15"/>
                    </a:lnTo>
                    <a:lnTo>
                      <a:pt x="141" y="36"/>
                    </a:lnTo>
                    <a:lnTo>
                      <a:pt x="166" y="43"/>
                    </a:lnTo>
                    <a:lnTo>
                      <a:pt x="180" y="51"/>
                    </a:lnTo>
                    <a:lnTo>
                      <a:pt x="208" y="69"/>
                    </a:lnTo>
                    <a:lnTo>
                      <a:pt x="237" y="88"/>
                    </a:lnTo>
                    <a:lnTo>
                      <a:pt x="246" y="107"/>
                    </a:lnTo>
                    <a:lnTo>
                      <a:pt x="242" y="114"/>
                    </a:lnTo>
                    <a:lnTo>
                      <a:pt x="236" y="11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66" name="Freeform 296">
                <a:extLst>
                  <a:ext uri="{FF2B5EF4-FFF2-40B4-BE49-F238E27FC236}">
                    <a16:creationId xmlns:a16="http://schemas.microsoft.com/office/drawing/2014/main" id="{262081D6-2CA1-562A-9DD3-A5BDB1E032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38" y="3299"/>
                <a:ext cx="100" cy="80"/>
              </a:xfrm>
              <a:custGeom>
                <a:avLst/>
                <a:gdLst>
                  <a:gd name="T0" fmla="*/ 0 w 227"/>
                  <a:gd name="T1" fmla="*/ 35 h 184"/>
                  <a:gd name="T2" fmla="*/ 0 w 227"/>
                  <a:gd name="T3" fmla="*/ 36 h 184"/>
                  <a:gd name="T4" fmla="*/ 0 w 227"/>
                  <a:gd name="T5" fmla="*/ 41 h 184"/>
                  <a:gd name="T6" fmla="*/ 3 w 227"/>
                  <a:gd name="T7" fmla="*/ 44 h 184"/>
                  <a:gd name="T8" fmla="*/ 2 w 227"/>
                  <a:gd name="T9" fmla="*/ 45 h 184"/>
                  <a:gd name="T10" fmla="*/ 4 w 227"/>
                  <a:gd name="T11" fmla="*/ 53 h 184"/>
                  <a:gd name="T12" fmla="*/ 5 w 227"/>
                  <a:gd name="T13" fmla="*/ 60 h 184"/>
                  <a:gd name="T14" fmla="*/ 13 w 227"/>
                  <a:gd name="T15" fmla="*/ 63 h 184"/>
                  <a:gd name="T16" fmla="*/ 14 w 227"/>
                  <a:gd name="T17" fmla="*/ 66 h 184"/>
                  <a:gd name="T18" fmla="*/ 9 w 227"/>
                  <a:gd name="T19" fmla="*/ 76 h 184"/>
                  <a:gd name="T20" fmla="*/ 15 w 227"/>
                  <a:gd name="T21" fmla="*/ 78 h 184"/>
                  <a:gd name="T22" fmla="*/ 22 w 227"/>
                  <a:gd name="T23" fmla="*/ 80 h 184"/>
                  <a:gd name="T24" fmla="*/ 34 w 227"/>
                  <a:gd name="T25" fmla="*/ 80 h 184"/>
                  <a:gd name="T26" fmla="*/ 41 w 227"/>
                  <a:gd name="T27" fmla="*/ 78 h 184"/>
                  <a:gd name="T28" fmla="*/ 50 w 227"/>
                  <a:gd name="T29" fmla="*/ 77 h 184"/>
                  <a:gd name="T30" fmla="*/ 50 w 227"/>
                  <a:gd name="T31" fmla="*/ 72 h 184"/>
                  <a:gd name="T32" fmla="*/ 51 w 227"/>
                  <a:gd name="T33" fmla="*/ 66 h 184"/>
                  <a:gd name="T34" fmla="*/ 59 w 227"/>
                  <a:gd name="T35" fmla="*/ 62 h 184"/>
                  <a:gd name="T36" fmla="*/ 60 w 227"/>
                  <a:gd name="T37" fmla="*/ 60 h 184"/>
                  <a:gd name="T38" fmla="*/ 69 w 227"/>
                  <a:gd name="T39" fmla="*/ 60 h 184"/>
                  <a:gd name="T40" fmla="*/ 69 w 227"/>
                  <a:gd name="T41" fmla="*/ 50 h 184"/>
                  <a:gd name="T42" fmla="*/ 75 w 227"/>
                  <a:gd name="T43" fmla="*/ 46 h 184"/>
                  <a:gd name="T44" fmla="*/ 71 w 227"/>
                  <a:gd name="T45" fmla="*/ 40 h 184"/>
                  <a:gd name="T46" fmla="*/ 77 w 227"/>
                  <a:gd name="T47" fmla="*/ 40 h 184"/>
                  <a:gd name="T48" fmla="*/ 79 w 227"/>
                  <a:gd name="T49" fmla="*/ 36 h 184"/>
                  <a:gd name="T50" fmla="*/ 80 w 227"/>
                  <a:gd name="T51" fmla="*/ 30 h 184"/>
                  <a:gd name="T52" fmla="*/ 76 w 227"/>
                  <a:gd name="T53" fmla="*/ 23 h 184"/>
                  <a:gd name="T54" fmla="*/ 80 w 227"/>
                  <a:gd name="T55" fmla="*/ 16 h 184"/>
                  <a:gd name="T56" fmla="*/ 89 w 227"/>
                  <a:gd name="T57" fmla="*/ 14 h 184"/>
                  <a:gd name="T58" fmla="*/ 98 w 227"/>
                  <a:gd name="T59" fmla="*/ 12 h 184"/>
                  <a:gd name="T60" fmla="*/ 98 w 227"/>
                  <a:gd name="T61" fmla="*/ 10 h 184"/>
                  <a:gd name="T62" fmla="*/ 100 w 227"/>
                  <a:gd name="T63" fmla="*/ 11 h 184"/>
                  <a:gd name="T64" fmla="*/ 93 w 227"/>
                  <a:gd name="T65" fmla="*/ 10 h 184"/>
                  <a:gd name="T66" fmla="*/ 91 w 227"/>
                  <a:gd name="T67" fmla="*/ 10 h 184"/>
                  <a:gd name="T68" fmla="*/ 86 w 227"/>
                  <a:gd name="T69" fmla="*/ 10 h 184"/>
                  <a:gd name="T70" fmla="*/ 76 w 227"/>
                  <a:gd name="T71" fmla="*/ 15 h 184"/>
                  <a:gd name="T72" fmla="*/ 73 w 227"/>
                  <a:gd name="T73" fmla="*/ 4 h 184"/>
                  <a:gd name="T74" fmla="*/ 71 w 227"/>
                  <a:gd name="T75" fmla="*/ 4 h 184"/>
                  <a:gd name="T76" fmla="*/ 69 w 227"/>
                  <a:gd name="T77" fmla="*/ 0 h 184"/>
                  <a:gd name="T78" fmla="*/ 65 w 227"/>
                  <a:gd name="T79" fmla="*/ 2 h 184"/>
                  <a:gd name="T80" fmla="*/ 65 w 227"/>
                  <a:gd name="T81" fmla="*/ 7 h 184"/>
                  <a:gd name="T82" fmla="*/ 59 w 227"/>
                  <a:gd name="T83" fmla="*/ 10 h 184"/>
                  <a:gd name="T84" fmla="*/ 57 w 227"/>
                  <a:gd name="T85" fmla="*/ 12 h 184"/>
                  <a:gd name="T86" fmla="*/ 52 w 227"/>
                  <a:gd name="T87" fmla="*/ 12 h 184"/>
                  <a:gd name="T88" fmla="*/ 48 w 227"/>
                  <a:gd name="T89" fmla="*/ 12 h 184"/>
                  <a:gd name="T90" fmla="*/ 46 w 227"/>
                  <a:gd name="T91" fmla="*/ 10 h 184"/>
                  <a:gd name="T92" fmla="*/ 39 w 227"/>
                  <a:gd name="T93" fmla="*/ 10 h 184"/>
                  <a:gd name="T94" fmla="*/ 30 w 227"/>
                  <a:gd name="T95" fmla="*/ 8 h 184"/>
                  <a:gd name="T96" fmla="*/ 29 w 227"/>
                  <a:gd name="T97" fmla="*/ 11 h 184"/>
                  <a:gd name="T98" fmla="*/ 26 w 227"/>
                  <a:gd name="T99" fmla="*/ 13 h 184"/>
                  <a:gd name="T100" fmla="*/ 23 w 227"/>
                  <a:gd name="T101" fmla="*/ 20 h 184"/>
                  <a:gd name="T102" fmla="*/ 15 w 227"/>
                  <a:gd name="T103" fmla="*/ 24 h 184"/>
                  <a:gd name="T104" fmla="*/ 14 w 227"/>
                  <a:gd name="T105" fmla="*/ 28 h 184"/>
                  <a:gd name="T106" fmla="*/ 9 w 227"/>
                  <a:gd name="T107" fmla="*/ 27 h 184"/>
                  <a:gd name="T108" fmla="*/ 2 w 227"/>
                  <a:gd name="T109" fmla="*/ 25 h 184"/>
                  <a:gd name="T110" fmla="*/ 0 w 227"/>
                  <a:gd name="T111" fmla="*/ 35 h 18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227" h="184">
                    <a:moveTo>
                      <a:pt x="1" y="81"/>
                    </a:moveTo>
                    <a:lnTo>
                      <a:pt x="0" y="83"/>
                    </a:lnTo>
                    <a:lnTo>
                      <a:pt x="0" y="95"/>
                    </a:lnTo>
                    <a:lnTo>
                      <a:pt x="6" y="101"/>
                    </a:lnTo>
                    <a:lnTo>
                      <a:pt x="4" y="103"/>
                    </a:lnTo>
                    <a:lnTo>
                      <a:pt x="9" y="121"/>
                    </a:lnTo>
                    <a:lnTo>
                      <a:pt x="12" y="139"/>
                    </a:lnTo>
                    <a:lnTo>
                      <a:pt x="29" y="144"/>
                    </a:lnTo>
                    <a:lnTo>
                      <a:pt x="32" y="151"/>
                    </a:lnTo>
                    <a:lnTo>
                      <a:pt x="20" y="174"/>
                    </a:lnTo>
                    <a:lnTo>
                      <a:pt x="35" y="179"/>
                    </a:lnTo>
                    <a:lnTo>
                      <a:pt x="49" y="184"/>
                    </a:lnTo>
                    <a:lnTo>
                      <a:pt x="77" y="184"/>
                    </a:lnTo>
                    <a:lnTo>
                      <a:pt x="94" y="179"/>
                    </a:lnTo>
                    <a:lnTo>
                      <a:pt x="114" y="176"/>
                    </a:lnTo>
                    <a:lnTo>
                      <a:pt x="114" y="166"/>
                    </a:lnTo>
                    <a:lnTo>
                      <a:pt x="116" y="151"/>
                    </a:lnTo>
                    <a:lnTo>
                      <a:pt x="133" y="143"/>
                    </a:lnTo>
                    <a:lnTo>
                      <a:pt x="137" y="138"/>
                    </a:lnTo>
                    <a:lnTo>
                      <a:pt x="156" y="139"/>
                    </a:lnTo>
                    <a:lnTo>
                      <a:pt x="156" y="116"/>
                    </a:lnTo>
                    <a:lnTo>
                      <a:pt x="170" y="105"/>
                    </a:lnTo>
                    <a:lnTo>
                      <a:pt x="161" y="91"/>
                    </a:lnTo>
                    <a:lnTo>
                      <a:pt x="175" y="91"/>
                    </a:lnTo>
                    <a:lnTo>
                      <a:pt x="179" y="83"/>
                    </a:lnTo>
                    <a:lnTo>
                      <a:pt x="182" y="68"/>
                    </a:lnTo>
                    <a:lnTo>
                      <a:pt x="172" y="52"/>
                    </a:lnTo>
                    <a:lnTo>
                      <a:pt x="182" y="37"/>
                    </a:lnTo>
                    <a:lnTo>
                      <a:pt x="202" y="33"/>
                    </a:lnTo>
                    <a:lnTo>
                      <a:pt x="223" y="28"/>
                    </a:lnTo>
                    <a:lnTo>
                      <a:pt x="223" y="23"/>
                    </a:lnTo>
                    <a:lnTo>
                      <a:pt x="227" y="25"/>
                    </a:lnTo>
                    <a:lnTo>
                      <a:pt x="212" y="22"/>
                    </a:lnTo>
                    <a:lnTo>
                      <a:pt x="207" y="22"/>
                    </a:lnTo>
                    <a:lnTo>
                      <a:pt x="195" y="23"/>
                    </a:lnTo>
                    <a:lnTo>
                      <a:pt x="172" y="35"/>
                    </a:lnTo>
                    <a:lnTo>
                      <a:pt x="165" y="10"/>
                    </a:lnTo>
                    <a:lnTo>
                      <a:pt x="162" y="10"/>
                    </a:lnTo>
                    <a:lnTo>
                      <a:pt x="156" y="0"/>
                    </a:lnTo>
                    <a:lnTo>
                      <a:pt x="148" y="5"/>
                    </a:lnTo>
                    <a:lnTo>
                      <a:pt x="147" y="15"/>
                    </a:lnTo>
                    <a:lnTo>
                      <a:pt x="134" y="22"/>
                    </a:lnTo>
                    <a:lnTo>
                      <a:pt x="130" y="27"/>
                    </a:lnTo>
                    <a:lnTo>
                      <a:pt x="117" y="27"/>
                    </a:lnTo>
                    <a:lnTo>
                      <a:pt x="110" y="28"/>
                    </a:lnTo>
                    <a:lnTo>
                      <a:pt x="105" y="23"/>
                    </a:lnTo>
                    <a:lnTo>
                      <a:pt x="88" y="22"/>
                    </a:lnTo>
                    <a:lnTo>
                      <a:pt x="69" y="18"/>
                    </a:lnTo>
                    <a:lnTo>
                      <a:pt x="65" y="25"/>
                    </a:lnTo>
                    <a:lnTo>
                      <a:pt x="59" y="30"/>
                    </a:lnTo>
                    <a:lnTo>
                      <a:pt x="52" y="47"/>
                    </a:lnTo>
                    <a:lnTo>
                      <a:pt x="35" y="55"/>
                    </a:lnTo>
                    <a:lnTo>
                      <a:pt x="32" y="65"/>
                    </a:lnTo>
                    <a:lnTo>
                      <a:pt x="21" y="63"/>
                    </a:lnTo>
                    <a:lnTo>
                      <a:pt x="4" y="58"/>
                    </a:lnTo>
                    <a:lnTo>
                      <a:pt x="1" y="8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67" name="Freeform 297">
                <a:extLst>
                  <a:ext uri="{FF2B5EF4-FFF2-40B4-BE49-F238E27FC236}">
                    <a16:creationId xmlns:a16="http://schemas.microsoft.com/office/drawing/2014/main" id="{179093EF-E2C1-A6CF-EC80-FDF93D1E9D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23" y="3323"/>
                <a:ext cx="15" cy="10"/>
              </a:xfrm>
              <a:custGeom>
                <a:avLst/>
                <a:gdLst>
                  <a:gd name="T0" fmla="*/ 15 w 36"/>
                  <a:gd name="T1" fmla="*/ 0 h 21"/>
                  <a:gd name="T2" fmla="*/ 5 w 36"/>
                  <a:gd name="T3" fmla="*/ 4 h 21"/>
                  <a:gd name="T4" fmla="*/ 0 w 36"/>
                  <a:gd name="T5" fmla="*/ 6 h 21"/>
                  <a:gd name="T6" fmla="*/ 2 w 36"/>
                  <a:gd name="T7" fmla="*/ 10 h 21"/>
                  <a:gd name="T8" fmla="*/ 11 w 36"/>
                  <a:gd name="T9" fmla="*/ 6 h 21"/>
                  <a:gd name="T10" fmla="*/ 11 w 36"/>
                  <a:gd name="T11" fmla="*/ 5 h 21"/>
                  <a:gd name="T12" fmla="*/ 15 w 36"/>
                  <a:gd name="T13" fmla="*/ 0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6" h="21">
                    <a:moveTo>
                      <a:pt x="36" y="0"/>
                    </a:moveTo>
                    <a:lnTo>
                      <a:pt x="12" y="8"/>
                    </a:lnTo>
                    <a:lnTo>
                      <a:pt x="0" y="13"/>
                    </a:lnTo>
                    <a:lnTo>
                      <a:pt x="5" y="21"/>
                    </a:lnTo>
                    <a:lnTo>
                      <a:pt x="26" y="13"/>
                    </a:lnTo>
                    <a:lnTo>
                      <a:pt x="26" y="1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68" name="Line 298">
                <a:extLst>
                  <a:ext uri="{FF2B5EF4-FFF2-40B4-BE49-F238E27FC236}">
                    <a16:creationId xmlns:a16="http://schemas.microsoft.com/office/drawing/2014/main" id="{84227CA7-B128-944B-EB30-325477826003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1932" y="3312"/>
                <a:ext cx="2" cy="1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69" name="Line 299">
                <a:extLst>
                  <a:ext uri="{FF2B5EF4-FFF2-40B4-BE49-F238E27FC236}">
                    <a16:creationId xmlns:a16="http://schemas.microsoft.com/office/drawing/2014/main" id="{03D50A4A-700F-70FD-FE16-8C7E3E893FC1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1934" y="3312"/>
                <a:ext cx="1" cy="3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70" name="Line 300">
                <a:extLst>
                  <a:ext uri="{FF2B5EF4-FFF2-40B4-BE49-F238E27FC236}">
                    <a16:creationId xmlns:a16="http://schemas.microsoft.com/office/drawing/2014/main" id="{245848AA-D42A-047E-9BCE-ADA8AD1D5A7B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 flipH="1">
                <a:off x="1931" y="3315"/>
                <a:ext cx="3" cy="2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71" name="Line 301">
                <a:extLst>
                  <a:ext uri="{FF2B5EF4-FFF2-40B4-BE49-F238E27FC236}">
                    <a16:creationId xmlns:a16="http://schemas.microsoft.com/office/drawing/2014/main" id="{7783FC4B-06F6-CE92-E283-5E7B1801AD53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 flipH="1">
                <a:off x="1930" y="3315"/>
                <a:ext cx="2" cy="4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72" name="Line 302">
                <a:extLst>
                  <a:ext uri="{FF2B5EF4-FFF2-40B4-BE49-F238E27FC236}">
                    <a16:creationId xmlns:a16="http://schemas.microsoft.com/office/drawing/2014/main" id="{1818EBC8-0B97-8E68-0E12-1F77F4BCC215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 flipH="1">
                <a:off x="1929" y="3317"/>
                <a:ext cx="1" cy="2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73" name="Line 303">
                <a:extLst>
                  <a:ext uri="{FF2B5EF4-FFF2-40B4-BE49-F238E27FC236}">
                    <a16:creationId xmlns:a16="http://schemas.microsoft.com/office/drawing/2014/main" id="{DB62F013-E9A0-5DD2-FD4C-A5833E585519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 flipH="1">
                <a:off x="1927" y="3319"/>
                <a:ext cx="3" cy="1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74" name="Line 304">
                <a:extLst>
                  <a:ext uri="{FF2B5EF4-FFF2-40B4-BE49-F238E27FC236}">
                    <a16:creationId xmlns:a16="http://schemas.microsoft.com/office/drawing/2014/main" id="{45CB6A85-7868-9761-D312-E829F3EE042B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 flipH="1">
                <a:off x="1927" y="3320"/>
                <a:ext cx="1" cy="2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75" name="Line 305">
                <a:extLst>
                  <a:ext uri="{FF2B5EF4-FFF2-40B4-BE49-F238E27FC236}">
                    <a16:creationId xmlns:a16="http://schemas.microsoft.com/office/drawing/2014/main" id="{D467962E-A01B-FB60-3D52-F0BE2DA6C2CC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1927" y="3322"/>
                <a:ext cx="1" cy="4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76" name="Line 306">
                <a:extLst>
                  <a:ext uri="{FF2B5EF4-FFF2-40B4-BE49-F238E27FC236}">
                    <a16:creationId xmlns:a16="http://schemas.microsoft.com/office/drawing/2014/main" id="{70D38185-3292-2B8F-062B-7C61335517F3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1928" y="3325"/>
                <a:ext cx="2" cy="3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77" name="Line 307">
                <a:extLst>
                  <a:ext uri="{FF2B5EF4-FFF2-40B4-BE49-F238E27FC236}">
                    <a16:creationId xmlns:a16="http://schemas.microsoft.com/office/drawing/2014/main" id="{8701531F-C748-C86D-8923-34F777F4FBBB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1930" y="3327"/>
                <a:ext cx="0" cy="2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78" name="Line 308">
                <a:extLst>
                  <a:ext uri="{FF2B5EF4-FFF2-40B4-BE49-F238E27FC236}">
                    <a16:creationId xmlns:a16="http://schemas.microsoft.com/office/drawing/2014/main" id="{E3D21371-082B-C475-A493-51BCB33B12B6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1935" y="3338"/>
                <a:ext cx="1" cy="1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79" name="Line 309">
                <a:extLst>
                  <a:ext uri="{FF2B5EF4-FFF2-40B4-BE49-F238E27FC236}">
                    <a16:creationId xmlns:a16="http://schemas.microsoft.com/office/drawing/2014/main" id="{0AEF5CE3-80E5-B45C-8A09-F89F610274E9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1935" y="3338"/>
                <a:ext cx="3" cy="3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80" name="Line 310">
                <a:extLst>
                  <a:ext uri="{FF2B5EF4-FFF2-40B4-BE49-F238E27FC236}">
                    <a16:creationId xmlns:a16="http://schemas.microsoft.com/office/drawing/2014/main" id="{B65B168C-6D80-03B7-D2FD-6D15CD4B7089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1937" y="3341"/>
                <a:ext cx="1" cy="3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81" name="Line 311">
                <a:extLst>
                  <a:ext uri="{FF2B5EF4-FFF2-40B4-BE49-F238E27FC236}">
                    <a16:creationId xmlns:a16="http://schemas.microsoft.com/office/drawing/2014/main" id="{DD89733B-E8D0-7D06-48BF-E3D6FEE5EDFC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1938" y="3343"/>
                <a:ext cx="2" cy="3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82" name="Line 312">
                <a:extLst>
                  <a:ext uri="{FF2B5EF4-FFF2-40B4-BE49-F238E27FC236}">
                    <a16:creationId xmlns:a16="http://schemas.microsoft.com/office/drawing/2014/main" id="{56503654-041C-731D-357E-C98318BDC032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1938" y="3345"/>
                <a:ext cx="3" cy="2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83" name="Line 313">
                <a:extLst>
                  <a:ext uri="{FF2B5EF4-FFF2-40B4-BE49-F238E27FC236}">
                    <a16:creationId xmlns:a16="http://schemas.microsoft.com/office/drawing/2014/main" id="{0E08154A-2370-176E-8D62-72003B8AE485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1941" y="3347"/>
                <a:ext cx="3" cy="0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84" name="Line 314">
                <a:extLst>
                  <a:ext uri="{FF2B5EF4-FFF2-40B4-BE49-F238E27FC236}">
                    <a16:creationId xmlns:a16="http://schemas.microsoft.com/office/drawing/2014/main" id="{16BBF909-CDEC-C58A-F370-2FC693915413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 flipV="1">
                <a:off x="1977" y="3337"/>
                <a:ext cx="4" cy="1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85" name="Line 315">
                <a:extLst>
                  <a:ext uri="{FF2B5EF4-FFF2-40B4-BE49-F238E27FC236}">
                    <a16:creationId xmlns:a16="http://schemas.microsoft.com/office/drawing/2014/main" id="{6D97C1DC-ECFB-7FED-1663-326ADF1F1C52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 flipV="1">
                <a:off x="1981" y="3332"/>
                <a:ext cx="1" cy="5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86" name="Line 316">
                <a:extLst>
                  <a:ext uri="{FF2B5EF4-FFF2-40B4-BE49-F238E27FC236}">
                    <a16:creationId xmlns:a16="http://schemas.microsoft.com/office/drawing/2014/main" id="{BF28E3E4-E39A-953C-A2FF-BC7037372A28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 flipV="1">
                <a:off x="1982" y="3324"/>
                <a:ext cx="1" cy="9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87" name="Line 317">
                <a:extLst>
                  <a:ext uri="{FF2B5EF4-FFF2-40B4-BE49-F238E27FC236}">
                    <a16:creationId xmlns:a16="http://schemas.microsoft.com/office/drawing/2014/main" id="{AD261251-FE13-1FCB-CFE5-AE5D48716A02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 flipH="1" flipV="1">
                <a:off x="1976" y="3322"/>
                <a:ext cx="7" cy="2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88" name="Line 318">
                <a:extLst>
                  <a:ext uri="{FF2B5EF4-FFF2-40B4-BE49-F238E27FC236}">
                    <a16:creationId xmlns:a16="http://schemas.microsoft.com/office/drawing/2014/main" id="{18424BEF-08BA-40B3-FB5A-6EAB0E2227B1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>
                <a:off x="1976" y="3322"/>
                <a:ext cx="1" cy="0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89" name="Line 319">
                <a:extLst>
                  <a:ext uri="{FF2B5EF4-FFF2-40B4-BE49-F238E27FC236}">
                    <a16:creationId xmlns:a16="http://schemas.microsoft.com/office/drawing/2014/main" id="{71066A2B-1F73-18A6-D726-DA469A40B8B9}"/>
                  </a:ext>
                </a:extLst>
              </p:cNvPr>
              <p:cNvSpPr>
                <a:spLocks noChangeShapeType="1"/>
              </p:cNvSpPr>
              <p:nvPr/>
            </p:nvSpPr>
            <p:spPr bwMode="gray">
              <a:xfrm flipH="1">
                <a:off x="1964" y="3324"/>
                <a:ext cx="1" cy="1"/>
              </a:xfrm>
              <a:prstGeom prst="line">
                <a:avLst/>
              </a:prstGeom>
              <a:grpFill/>
              <a:ln w="1588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90" name="Freeform 320">
                <a:extLst>
                  <a:ext uri="{FF2B5EF4-FFF2-40B4-BE49-F238E27FC236}">
                    <a16:creationId xmlns:a16="http://schemas.microsoft.com/office/drawing/2014/main" id="{88EDDE1E-F984-AE14-1540-097BE10DBD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45" y="3333"/>
                <a:ext cx="10" cy="13"/>
              </a:xfrm>
              <a:custGeom>
                <a:avLst/>
                <a:gdLst>
                  <a:gd name="T0" fmla="*/ 9 w 22"/>
                  <a:gd name="T1" fmla="*/ 6 h 32"/>
                  <a:gd name="T2" fmla="*/ 4 w 22"/>
                  <a:gd name="T3" fmla="*/ 11 h 32"/>
                  <a:gd name="T4" fmla="*/ 0 w 22"/>
                  <a:gd name="T5" fmla="*/ 13 h 32"/>
                  <a:gd name="T6" fmla="*/ 2 w 22"/>
                  <a:gd name="T7" fmla="*/ 6 h 32"/>
                  <a:gd name="T8" fmla="*/ 5 w 22"/>
                  <a:gd name="T9" fmla="*/ 0 h 32"/>
                  <a:gd name="T10" fmla="*/ 10 w 22"/>
                  <a:gd name="T11" fmla="*/ 2 h 32"/>
                  <a:gd name="T12" fmla="*/ 9 w 22"/>
                  <a:gd name="T13" fmla="*/ 6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" h="32">
                    <a:moveTo>
                      <a:pt x="19" y="15"/>
                    </a:moveTo>
                    <a:lnTo>
                      <a:pt x="8" y="28"/>
                    </a:lnTo>
                    <a:lnTo>
                      <a:pt x="0" y="32"/>
                    </a:lnTo>
                    <a:lnTo>
                      <a:pt x="5" y="15"/>
                    </a:lnTo>
                    <a:lnTo>
                      <a:pt x="11" y="0"/>
                    </a:lnTo>
                    <a:lnTo>
                      <a:pt x="22" y="5"/>
                    </a:lnTo>
                    <a:lnTo>
                      <a:pt x="19" y="1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91" name="Freeform 321">
                <a:extLst>
                  <a:ext uri="{FF2B5EF4-FFF2-40B4-BE49-F238E27FC236}">
                    <a16:creationId xmlns:a16="http://schemas.microsoft.com/office/drawing/2014/main" id="{A560ABD5-B023-5DC3-FE80-5C8A9DBBB7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48" y="3309"/>
                <a:ext cx="46" cy="44"/>
              </a:xfrm>
              <a:custGeom>
                <a:avLst/>
                <a:gdLst>
                  <a:gd name="T0" fmla="*/ 30 w 105"/>
                  <a:gd name="T1" fmla="*/ 3 h 100"/>
                  <a:gd name="T2" fmla="*/ 18 w 105"/>
                  <a:gd name="T3" fmla="*/ 3 h 100"/>
                  <a:gd name="T4" fmla="*/ 7 w 105"/>
                  <a:gd name="T5" fmla="*/ 4 h 100"/>
                  <a:gd name="T6" fmla="*/ 5 w 105"/>
                  <a:gd name="T7" fmla="*/ 5 h 100"/>
                  <a:gd name="T8" fmla="*/ 4 w 105"/>
                  <a:gd name="T9" fmla="*/ 9 h 100"/>
                  <a:gd name="T10" fmla="*/ 1 w 105"/>
                  <a:gd name="T11" fmla="*/ 12 h 100"/>
                  <a:gd name="T12" fmla="*/ 0 w 105"/>
                  <a:gd name="T13" fmla="*/ 11 h 100"/>
                  <a:gd name="T14" fmla="*/ 2 w 105"/>
                  <a:gd name="T15" fmla="*/ 22 h 100"/>
                  <a:gd name="T16" fmla="*/ 7 w 105"/>
                  <a:gd name="T17" fmla="*/ 25 h 100"/>
                  <a:gd name="T18" fmla="*/ 6 w 105"/>
                  <a:gd name="T19" fmla="*/ 30 h 100"/>
                  <a:gd name="T20" fmla="*/ 1 w 105"/>
                  <a:gd name="T21" fmla="*/ 36 h 100"/>
                  <a:gd name="T22" fmla="*/ 1 w 105"/>
                  <a:gd name="T23" fmla="*/ 40 h 100"/>
                  <a:gd name="T24" fmla="*/ 11 w 105"/>
                  <a:gd name="T25" fmla="*/ 44 h 100"/>
                  <a:gd name="T26" fmla="*/ 18 w 105"/>
                  <a:gd name="T27" fmla="*/ 40 h 100"/>
                  <a:gd name="T28" fmla="*/ 25 w 105"/>
                  <a:gd name="T29" fmla="*/ 34 h 100"/>
                  <a:gd name="T30" fmla="*/ 32 w 105"/>
                  <a:gd name="T31" fmla="*/ 29 h 100"/>
                  <a:gd name="T32" fmla="*/ 39 w 105"/>
                  <a:gd name="T33" fmla="*/ 25 h 100"/>
                  <a:gd name="T34" fmla="*/ 39 w 105"/>
                  <a:gd name="T35" fmla="*/ 16 h 100"/>
                  <a:gd name="T36" fmla="*/ 39 w 105"/>
                  <a:gd name="T37" fmla="*/ 7 h 100"/>
                  <a:gd name="T38" fmla="*/ 46 w 105"/>
                  <a:gd name="T39" fmla="*/ 1 h 100"/>
                  <a:gd name="T40" fmla="*/ 44 w 105"/>
                  <a:gd name="T41" fmla="*/ 0 h 100"/>
                  <a:gd name="T42" fmla="*/ 37 w 105"/>
                  <a:gd name="T43" fmla="*/ 1 h 100"/>
                  <a:gd name="T44" fmla="*/ 30 w 105"/>
                  <a:gd name="T45" fmla="*/ 3 h 10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5" h="100">
                    <a:moveTo>
                      <a:pt x="68" y="7"/>
                    </a:moveTo>
                    <a:lnTo>
                      <a:pt x="42" y="7"/>
                    </a:lnTo>
                    <a:lnTo>
                      <a:pt x="17" y="10"/>
                    </a:lnTo>
                    <a:lnTo>
                      <a:pt x="11" y="12"/>
                    </a:lnTo>
                    <a:lnTo>
                      <a:pt x="8" y="20"/>
                    </a:lnTo>
                    <a:lnTo>
                      <a:pt x="2" y="27"/>
                    </a:lnTo>
                    <a:lnTo>
                      <a:pt x="0" y="25"/>
                    </a:lnTo>
                    <a:lnTo>
                      <a:pt x="5" y="51"/>
                    </a:lnTo>
                    <a:lnTo>
                      <a:pt x="16" y="56"/>
                    </a:lnTo>
                    <a:lnTo>
                      <a:pt x="13" y="68"/>
                    </a:lnTo>
                    <a:lnTo>
                      <a:pt x="2" y="81"/>
                    </a:lnTo>
                    <a:lnTo>
                      <a:pt x="3" y="90"/>
                    </a:lnTo>
                    <a:lnTo>
                      <a:pt x="25" y="100"/>
                    </a:lnTo>
                    <a:lnTo>
                      <a:pt x="40" y="90"/>
                    </a:lnTo>
                    <a:lnTo>
                      <a:pt x="57" y="78"/>
                    </a:lnTo>
                    <a:lnTo>
                      <a:pt x="73" y="66"/>
                    </a:lnTo>
                    <a:lnTo>
                      <a:pt x="90" y="56"/>
                    </a:lnTo>
                    <a:lnTo>
                      <a:pt x="90" y="37"/>
                    </a:lnTo>
                    <a:lnTo>
                      <a:pt x="90" y="17"/>
                    </a:lnTo>
                    <a:lnTo>
                      <a:pt x="105" y="2"/>
                    </a:lnTo>
                    <a:lnTo>
                      <a:pt x="101" y="0"/>
                    </a:lnTo>
                    <a:lnTo>
                      <a:pt x="84" y="3"/>
                    </a:lnTo>
                    <a:lnTo>
                      <a:pt x="68" y="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92" name="Freeform 322">
                <a:extLst>
                  <a:ext uri="{FF2B5EF4-FFF2-40B4-BE49-F238E27FC236}">
                    <a16:creationId xmlns:a16="http://schemas.microsoft.com/office/drawing/2014/main" id="{ED464DD4-43F7-FF9B-7C1C-544BE11878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76" y="3269"/>
                <a:ext cx="64" cy="45"/>
              </a:xfrm>
              <a:custGeom>
                <a:avLst/>
                <a:gdLst>
                  <a:gd name="T0" fmla="*/ 54 w 144"/>
                  <a:gd name="T1" fmla="*/ 39 h 103"/>
                  <a:gd name="T2" fmla="*/ 48 w 144"/>
                  <a:gd name="T3" fmla="*/ 40 h 103"/>
                  <a:gd name="T4" fmla="*/ 38 w 144"/>
                  <a:gd name="T5" fmla="*/ 45 h 103"/>
                  <a:gd name="T6" fmla="*/ 35 w 144"/>
                  <a:gd name="T7" fmla="*/ 34 h 103"/>
                  <a:gd name="T8" fmla="*/ 33 w 144"/>
                  <a:gd name="T9" fmla="*/ 34 h 103"/>
                  <a:gd name="T10" fmla="*/ 31 w 144"/>
                  <a:gd name="T11" fmla="*/ 30 h 103"/>
                  <a:gd name="T12" fmla="*/ 27 w 144"/>
                  <a:gd name="T13" fmla="*/ 31 h 103"/>
                  <a:gd name="T14" fmla="*/ 27 w 144"/>
                  <a:gd name="T15" fmla="*/ 36 h 103"/>
                  <a:gd name="T16" fmla="*/ 21 w 144"/>
                  <a:gd name="T17" fmla="*/ 39 h 103"/>
                  <a:gd name="T18" fmla="*/ 20 w 144"/>
                  <a:gd name="T19" fmla="*/ 42 h 103"/>
                  <a:gd name="T20" fmla="*/ 13 w 144"/>
                  <a:gd name="T21" fmla="*/ 42 h 103"/>
                  <a:gd name="T22" fmla="*/ 10 w 144"/>
                  <a:gd name="T23" fmla="*/ 42 h 103"/>
                  <a:gd name="T24" fmla="*/ 8 w 144"/>
                  <a:gd name="T25" fmla="*/ 40 h 103"/>
                  <a:gd name="T26" fmla="*/ 9 w 144"/>
                  <a:gd name="T27" fmla="*/ 35 h 103"/>
                  <a:gd name="T28" fmla="*/ 11 w 144"/>
                  <a:gd name="T29" fmla="*/ 28 h 103"/>
                  <a:gd name="T30" fmla="*/ 9 w 144"/>
                  <a:gd name="T31" fmla="*/ 25 h 103"/>
                  <a:gd name="T32" fmla="*/ 4 w 144"/>
                  <a:gd name="T33" fmla="*/ 23 h 103"/>
                  <a:gd name="T34" fmla="*/ 0 w 144"/>
                  <a:gd name="T35" fmla="*/ 18 h 103"/>
                  <a:gd name="T36" fmla="*/ 8 w 144"/>
                  <a:gd name="T37" fmla="*/ 11 h 103"/>
                  <a:gd name="T38" fmla="*/ 16 w 144"/>
                  <a:gd name="T39" fmla="*/ 4 h 103"/>
                  <a:gd name="T40" fmla="*/ 21 w 144"/>
                  <a:gd name="T41" fmla="*/ 0 h 103"/>
                  <a:gd name="T42" fmla="*/ 31 w 144"/>
                  <a:gd name="T43" fmla="*/ 1 h 103"/>
                  <a:gd name="T44" fmla="*/ 40 w 144"/>
                  <a:gd name="T45" fmla="*/ 6 h 103"/>
                  <a:gd name="T46" fmla="*/ 31 w 144"/>
                  <a:gd name="T47" fmla="*/ 9 h 103"/>
                  <a:gd name="T48" fmla="*/ 21 w 144"/>
                  <a:gd name="T49" fmla="*/ 12 h 103"/>
                  <a:gd name="T50" fmla="*/ 21 w 144"/>
                  <a:gd name="T51" fmla="*/ 18 h 103"/>
                  <a:gd name="T52" fmla="*/ 35 w 144"/>
                  <a:gd name="T53" fmla="*/ 20 h 103"/>
                  <a:gd name="T54" fmla="*/ 48 w 144"/>
                  <a:gd name="T55" fmla="*/ 21 h 103"/>
                  <a:gd name="T56" fmla="*/ 52 w 144"/>
                  <a:gd name="T57" fmla="*/ 28 h 103"/>
                  <a:gd name="T58" fmla="*/ 59 w 144"/>
                  <a:gd name="T59" fmla="*/ 29 h 103"/>
                  <a:gd name="T60" fmla="*/ 64 w 144"/>
                  <a:gd name="T61" fmla="*/ 39 h 103"/>
                  <a:gd name="T62" fmla="*/ 63 w 144"/>
                  <a:gd name="T63" fmla="*/ 41 h 103"/>
                  <a:gd name="T64" fmla="*/ 56 w 144"/>
                  <a:gd name="T65" fmla="*/ 39 h 103"/>
                  <a:gd name="T66" fmla="*/ 54 w 144"/>
                  <a:gd name="T67" fmla="*/ 39 h 10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44" h="103">
                    <a:moveTo>
                      <a:pt x="121" y="90"/>
                    </a:moveTo>
                    <a:lnTo>
                      <a:pt x="109" y="91"/>
                    </a:lnTo>
                    <a:lnTo>
                      <a:pt x="86" y="103"/>
                    </a:lnTo>
                    <a:lnTo>
                      <a:pt x="79" y="77"/>
                    </a:lnTo>
                    <a:lnTo>
                      <a:pt x="75" y="77"/>
                    </a:lnTo>
                    <a:lnTo>
                      <a:pt x="70" y="68"/>
                    </a:lnTo>
                    <a:lnTo>
                      <a:pt x="61" y="72"/>
                    </a:lnTo>
                    <a:lnTo>
                      <a:pt x="61" y="83"/>
                    </a:lnTo>
                    <a:lnTo>
                      <a:pt x="47" y="90"/>
                    </a:lnTo>
                    <a:lnTo>
                      <a:pt x="44" y="95"/>
                    </a:lnTo>
                    <a:lnTo>
                      <a:pt x="30" y="95"/>
                    </a:lnTo>
                    <a:lnTo>
                      <a:pt x="22" y="95"/>
                    </a:lnTo>
                    <a:lnTo>
                      <a:pt x="17" y="91"/>
                    </a:lnTo>
                    <a:lnTo>
                      <a:pt x="21" y="80"/>
                    </a:lnTo>
                    <a:lnTo>
                      <a:pt x="25" y="65"/>
                    </a:lnTo>
                    <a:lnTo>
                      <a:pt x="21" y="58"/>
                    </a:lnTo>
                    <a:lnTo>
                      <a:pt x="10" y="52"/>
                    </a:lnTo>
                    <a:lnTo>
                      <a:pt x="0" y="42"/>
                    </a:lnTo>
                    <a:lnTo>
                      <a:pt x="19" y="25"/>
                    </a:lnTo>
                    <a:lnTo>
                      <a:pt x="36" y="10"/>
                    </a:lnTo>
                    <a:lnTo>
                      <a:pt x="48" y="0"/>
                    </a:lnTo>
                    <a:lnTo>
                      <a:pt x="70" y="2"/>
                    </a:lnTo>
                    <a:lnTo>
                      <a:pt x="90" y="14"/>
                    </a:lnTo>
                    <a:lnTo>
                      <a:pt x="70" y="20"/>
                    </a:lnTo>
                    <a:lnTo>
                      <a:pt x="48" y="28"/>
                    </a:lnTo>
                    <a:lnTo>
                      <a:pt x="48" y="42"/>
                    </a:lnTo>
                    <a:lnTo>
                      <a:pt x="79" y="45"/>
                    </a:lnTo>
                    <a:lnTo>
                      <a:pt x="109" y="48"/>
                    </a:lnTo>
                    <a:lnTo>
                      <a:pt x="118" y="65"/>
                    </a:lnTo>
                    <a:lnTo>
                      <a:pt x="132" y="67"/>
                    </a:lnTo>
                    <a:lnTo>
                      <a:pt x="144" y="90"/>
                    </a:lnTo>
                    <a:lnTo>
                      <a:pt x="141" y="93"/>
                    </a:lnTo>
                    <a:lnTo>
                      <a:pt x="126" y="90"/>
                    </a:lnTo>
                    <a:lnTo>
                      <a:pt x="121" y="9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93" name="Freeform 323">
                <a:extLst>
                  <a:ext uri="{FF2B5EF4-FFF2-40B4-BE49-F238E27FC236}">
                    <a16:creationId xmlns:a16="http://schemas.microsoft.com/office/drawing/2014/main" id="{45944515-FD91-02DD-395D-D1BAF01FDF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80" y="3232"/>
                <a:ext cx="117" cy="76"/>
              </a:xfrm>
              <a:custGeom>
                <a:avLst/>
                <a:gdLst>
                  <a:gd name="T0" fmla="*/ 84 w 264"/>
                  <a:gd name="T1" fmla="*/ 66 h 175"/>
                  <a:gd name="T2" fmla="*/ 71 w 264"/>
                  <a:gd name="T3" fmla="*/ 57 h 175"/>
                  <a:gd name="T4" fmla="*/ 58 w 264"/>
                  <a:gd name="T5" fmla="*/ 50 h 175"/>
                  <a:gd name="T6" fmla="*/ 53 w 264"/>
                  <a:gd name="T7" fmla="*/ 46 h 175"/>
                  <a:gd name="T8" fmla="*/ 42 w 264"/>
                  <a:gd name="T9" fmla="*/ 43 h 175"/>
                  <a:gd name="T10" fmla="*/ 36 w 264"/>
                  <a:gd name="T11" fmla="*/ 34 h 175"/>
                  <a:gd name="T12" fmla="*/ 27 w 264"/>
                  <a:gd name="T13" fmla="*/ 27 h 175"/>
                  <a:gd name="T14" fmla="*/ 20 w 264"/>
                  <a:gd name="T15" fmla="*/ 34 h 175"/>
                  <a:gd name="T16" fmla="*/ 17 w 264"/>
                  <a:gd name="T17" fmla="*/ 35 h 175"/>
                  <a:gd name="T18" fmla="*/ 19 w 264"/>
                  <a:gd name="T19" fmla="*/ 40 h 175"/>
                  <a:gd name="T20" fmla="*/ 8 w 264"/>
                  <a:gd name="T21" fmla="*/ 38 h 175"/>
                  <a:gd name="T22" fmla="*/ 6 w 264"/>
                  <a:gd name="T23" fmla="*/ 30 h 175"/>
                  <a:gd name="T24" fmla="*/ 4 w 264"/>
                  <a:gd name="T25" fmla="*/ 22 h 175"/>
                  <a:gd name="T26" fmla="*/ 2 w 264"/>
                  <a:gd name="T27" fmla="*/ 15 h 175"/>
                  <a:gd name="T28" fmla="*/ 0 w 264"/>
                  <a:gd name="T29" fmla="*/ 7 h 175"/>
                  <a:gd name="T30" fmla="*/ 9 w 264"/>
                  <a:gd name="T31" fmla="*/ 3 h 175"/>
                  <a:gd name="T32" fmla="*/ 19 w 264"/>
                  <a:gd name="T33" fmla="*/ 0 h 175"/>
                  <a:gd name="T34" fmla="*/ 27 w 264"/>
                  <a:gd name="T35" fmla="*/ 5 h 175"/>
                  <a:gd name="T36" fmla="*/ 37 w 264"/>
                  <a:gd name="T37" fmla="*/ 9 h 175"/>
                  <a:gd name="T38" fmla="*/ 44 w 264"/>
                  <a:gd name="T39" fmla="*/ 19 h 175"/>
                  <a:gd name="T40" fmla="*/ 53 w 264"/>
                  <a:gd name="T41" fmla="*/ 19 h 175"/>
                  <a:gd name="T42" fmla="*/ 59 w 264"/>
                  <a:gd name="T43" fmla="*/ 19 h 175"/>
                  <a:gd name="T44" fmla="*/ 67 w 264"/>
                  <a:gd name="T45" fmla="*/ 20 h 175"/>
                  <a:gd name="T46" fmla="*/ 75 w 264"/>
                  <a:gd name="T47" fmla="*/ 21 h 175"/>
                  <a:gd name="T48" fmla="*/ 84 w 264"/>
                  <a:gd name="T49" fmla="*/ 26 h 175"/>
                  <a:gd name="T50" fmla="*/ 84 w 264"/>
                  <a:gd name="T51" fmla="*/ 33 h 175"/>
                  <a:gd name="T52" fmla="*/ 90 w 264"/>
                  <a:gd name="T53" fmla="*/ 36 h 175"/>
                  <a:gd name="T54" fmla="*/ 98 w 264"/>
                  <a:gd name="T55" fmla="*/ 40 h 175"/>
                  <a:gd name="T56" fmla="*/ 105 w 264"/>
                  <a:gd name="T57" fmla="*/ 35 h 175"/>
                  <a:gd name="T58" fmla="*/ 112 w 264"/>
                  <a:gd name="T59" fmla="*/ 30 h 175"/>
                  <a:gd name="T60" fmla="*/ 117 w 264"/>
                  <a:gd name="T61" fmla="*/ 36 h 175"/>
                  <a:gd name="T62" fmla="*/ 112 w 264"/>
                  <a:gd name="T63" fmla="*/ 42 h 175"/>
                  <a:gd name="T64" fmla="*/ 104 w 264"/>
                  <a:gd name="T65" fmla="*/ 48 h 175"/>
                  <a:gd name="T66" fmla="*/ 96 w 264"/>
                  <a:gd name="T67" fmla="*/ 55 h 175"/>
                  <a:gd name="T68" fmla="*/ 100 w 264"/>
                  <a:gd name="T69" fmla="*/ 59 h 175"/>
                  <a:gd name="T70" fmla="*/ 105 w 264"/>
                  <a:gd name="T71" fmla="*/ 62 h 175"/>
                  <a:gd name="T72" fmla="*/ 107 w 264"/>
                  <a:gd name="T73" fmla="*/ 66 h 175"/>
                  <a:gd name="T74" fmla="*/ 105 w 264"/>
                  <a:gd name="T75" fmla="*/ 71 h 175"/>
                  <a:gd name="T76" fmla="*/ 103 w 264"/>
                  <a:gd name="T77" fmla="*/ 76 h 175"/>
                  <a:gd name="T78" fmla="*/ 96 w 264"/>
                  <a:gd name="T79" fmla="*/ 76 h 175"/>
                  <a:gd name="T80" fmla="*/ 88 w 264"/>
                  <a:gd name="T81" fmla="*/ 74 h 175"/>
                  <a:gd name="T82" fmla="*/ 84 w 264"/>
                  <a:gd name="T83" fmla="*/ 66 h 17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264" h="175">
                    <a:moveTo>
                      <a:pt x="189" y="151"/>
                    </a:moveTo>
                    <a:lnTo>
                      <a:pt x="161" y="132"/>
                    </a:lnTo>
                    <a:lnTo>
                      <a:pt x="131" y="114"/>
                    </a:lnTo>
                    <a:lnTo>
                      <a:pt x="119" y="106"/>
                    </a:lnTo>
                    <a:lnTo>
                      <a:pt x="94" y="99"/>
                    </a:lnTo>
                    <a:lnTo>
                      <a:pt x="82" y="78"/>
                    </a:lnTo>
                    <a:lnTo>
                      <a:pt x="60" y="63"/>
                    </a:lnTo>
                    <a:lnTo>
                      <a:pt x="46" y="78"/>
                    </a:lnTo>
                    <a:lnTo>
                      <a:pt x="38" y="81"/>
                    </a:lnTo>
                    <a:lnTo>
                      <a:pt x="42" y="93"/>
                    </a:lnTo>
                    <a:lnTo>
                      <a:pt x="18" y="88"/>
                    </a:lnTo>
                    <a:lnTo>
                      <a:pt x="14" y="69"/>
                    </a:lnTo>
                    <a:lnTo>
                      <a:pt x="9" y="51"/>
                    </a:lnTo>
                    <a:lnTo>
                      <a:pt x="4" y="35"/>
                    </a:lnTo>
                    <a:lnTo>
                      <a:pt x="0" y="16"/>
                    </a:lnTo>
                    <a:lnTo>
                      <a:pt x="20" y="6"/>
                    </a:lnTo>
                    <a:lnTo>
                      <a:pt x="42" y="0"/>
                    </a:lnTo>
                    <a:lnTo>
                      <a:pt x="62" y="11"/>
                    </a:lnTo>
                    <a:lnTo>
                      <a:pt x="83" y="21"/>
                    </a:lnTo>
                    <a:lnTo>
                      <a:pt x="100" y="43"/>
                    </a:lnTo>
                    <a:lnTo>
                      <a:pt x="119" y="43"/>
                    </a:lnTo>
                    <a:lnTo>
                      <a:pt x="134" y="44"/>
                    </a:lnTo>
                    <a:lnTo>
                      <a:pt x="151" y="46"/>
                    </a:lnTo>
                    <a:lnTo>
                      <a:pt x="170" y="48"/>
                    </a:lnTo>
                    <a:lnTo>
                      <a:pt x="189" y="59"/>
                    </a:lnTo>
                    <a:lnTo>
                      <a:pt x="189" y="76"/>
                    </a:lnTo>
                    <a:lnTo>
                      <a:pt x="204" y="84"/>
                    </a:lnTo>
                    <a:lnTo>
                      <a:pt x="221" y="93"/>
                    </a:lnTo>
                    <a:lnTo>
                      <a:pt x="237" y="81"/>
                    </a:lnTo>
                    <a:lnTo>
                      <a:pt x="252" y="69"/>
                    </a:lnTo>
                    <a:lnTo>
                      <a:pt x="264" y="84"/>
                    </a:lnTo>
                    <a:lnTo>
                      <a:pt x="252" y="96"/>
                    </a:lnTo>
                    <a:lnTo>
                      <a:pt x="235" y="111"/>
                    </a:lnTo>
                    <a:lnTo>
                      <a:pt x="216" y="126"/>
                    </a:lnTo>
                    <a:lnTo>
                      <a:pt x="226" y="136"/>
                    </a:lnTo>
                    <a:lnTo>
                      <a:pt x="237" y="142"/>
                    </a:lnTo>
                    <a:lnTo>
                      <a:pt x="241" y="151"/>
                    </a:lnTo>
                    <a:lnTo>
                      <a:pt x="237" y="164"/>
                    </a:lnTo>
                    <a:lnTo>
                      <a:pt x="233" y="175"/>
                    </a:lnTo>
                    <a:lnTo>
                      <a:pt x="216" y="174"/>
                    </a:lnTo>
                    <a:lnTo>
                      <a:pt x="199" y="170"/>
                    </a:lnTo>
                    <a:lnTo>
                      <a:pt x="189" y="15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94" name="Freeform 324">
                <a:extLst>
                  <a:ext uri="{FF2B5EF4-FFF2-40B4-BE49-F238E27FC236}">
                    <a16:creationId xmlns:a16="http://schemas.microsoft.com/office/drawing/2014/main" id="{0119E923-D8D6-963E-0972-784C941674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27" y="3264"/>
                <a:ext cx="19" cy="12"/>
              </a:xfrm>
              <a:custGeom>
                <a:avLst/>
                <a:gdLst>
                  <a:gd name="T0" fmla="*/ 5 w 42"/>
                  <a:gd name="T1" fmla="*/ 12 h 28"/>
                  <a:gd name="T2" fmla="*/ 0 w 42"/>
                  <a:gd name="T3" fmla="*/ 3 h 28"/>
                  <a:gd name="T4" fmla="*/ 0 w 42"/>
                  <a:gd name="T5" fmla="*/ 3 h 28"/>
                  <a:gd name="T6" fmla="*/ 0 w 42"/>
                  <a:gd name="T7" fmla="*/ 2 h 28"/>
                  <a:gd name="T8" fmla="*/ 4 w 42"/>
                  <a:gd name="T9" fmla="*/ 1 h 28"/>
                  <a:gd name="T10" fmla="*/ 5 w 42"/>
                  <a:gd name="T11" fmla="*/ 2 h 28"/>
                  <a:gd name="T12" fmla="*/ 7 w 42"/>
                  <a:gd name="T13" fmla="*/ 0 h 28"/>
                  <a:gd name="T14" fmla="*/ 8 w 42"/>
                  <a:gd name="T15" fmla="*/ 1 h 28"/>
                  <a:gd name="T16" fmla="*/ 9 w 42"/>
                  <a:gd name="T17" fmla="*/ 1 h 28"/>
                  <a:gd name="T18" fmla="*/ 10 w 42"/>
                  <a:gd name="T19" fmla="*/ 0 h 28"/>
                  <a:gd name="T20" fmla="*/ 13 w 42"/>
                  <a:gd name="T21" fmla="*/ 0 h 28"/>
                  <a:gd name="T22" fmla="*/ 14 w 42"/>
                  <a:gd name="T23" fmla="*/ 1 h 28"/>
                  <a:gd name="T24" fmla="*/ 16 w 42"/>
                  <a:gd name="T25" fmla="*/ 1 h 28"/>
                  <a:gd name="T26" fmla="*/ 18 w 42"/>
                  <a:gd name="T27" fmla="*/ 3 h 28"/>
                  <a:gd name="T28" fmla="*/ 19 w 42"/>
                  <a:gd name="T29" fmla="*/ 9 h 28"/>
                  <a:gd name="T30" fmla="*/ 5 w 42"/>
                  <a:gd name="T31" fmla="*/ 12 h 2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2" h="28">
                    <a:moveTo>
                      <a:pt x="11" y="28"/>
                    </a:moveTo>
                    <a:lnTo>
                      <a:pt x="0" y="8"/>
                    </a:lnTo>
                    <a:lnTo>
                      <a:pt x="1" y="8"/>
                    </a:lnTo>
                    <a:lnTo>
                      <a:pt x="1" y="5"/>
                    </a:lnTo>
                    <a:lnTo>
                      <a:pt x="8" y="3"/>
                    </a:lnTo>
                    <a:lnTo>
                      <a:pt x="12" y="5"/>
                    </a:lnTo>
                    <a:lnTo>
                      <a:pt x="15" y="1"/>
                    </a:lnTo>
                    <a:lnTo>
                      <a:pt x="17" y="3"/>
                    </a:lnTo>
                    <a:lnTo>
                      <a:pt x="20" y="3"/>
                    </a:lnTo>
                    <a:lnTo>
                      <a:pt x="23" y="1"/>
                    </a:lnTo>
                    <a:lnTo>
                      <a:pt x="29" y="0"/>
                    </a:lnTo>
                    <a:lnTo>
                      <a:pt x="32" y="3"/>
                    </a:lnTo>
                    <a:lnTo>
                      <a:pt x="35" y="3"/>
                    </a:lnTo>
                    <a:lnTo>
                      <a:pt x="39" y="6"/>
                    </a:lnTo>
                    <a:lnTo>
                      <a:pt x="42" y="20"/>
                    </a:lnTo>
                    <a:lnTo>
                      <a:pt x="11" y="2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95" name="Freeform 325">
                <a:extLst>
                  <a:ext uri="{FF2B5EF4-FFF2-40B4-BE49-F238E27FC236}">
                    <a16:creationId xmlns:a16="http://schemas.microsoft.com/office/drawing/2014/main" id="{442DA938-2FBF-CB61-5B6C-61EF8FBBE2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40" y="3247"/>
                <a:ext cx="45" cy="26"/>
              </a:xfrm>
              <a:custGeom>
                <a:avLst/>
                <a:gdLst>
                  <a:gd name="T0" fmla="*/ 2 w 101"/>
                  <a:gd name="T1" fmla="*/ 2 h 58"/>
                  <a:gd name="T2" fmla="*/ 1 w 101"/>
                  <a:gd name="T3" fmla="*/ 0 h 58"/>
                  <a:gd name="T4" fmla="*/ 0 w 101"/>
                  <a:gd name="T5" fmla="*/ 5 h 58"/>
                  <a:gd name="T6" fmla="*/ 4 w 101"/>
                  <a:gd name="T7" fmla="*/ 11 h 58"/>
                  <a:gd name="T8" fmla="*/ 0 w 101"/>
                  <a:gd name="T9" fmla="*/ 15 h 58"/>
                  <a:gd name="T10" fmla="*/ 2 w 101"/>
                  <a:gd name="T11" fmla="*/ 18 h 58"/>
                  <a:gd name="T12" fmla="*/ 4 w 101"/>
                  <a:gd name="T13" fmla="*/ 20 h 58"/>
                  <a:gd name="T14" fmla="*/ 6 w 101"/>
                  <a:gd name="T15" fmla="*/ 26 h 58"/>
                  <a:gd name="T16" fmla="*/ 13 w 101"/>
                  <a:gd name="T17" fmla="*/ 25 h 58"/>
                  <a:gd name="T18" fmla="*/ 26 w 101"/>
                  <a:gd name="T19" fmla="*/ 26 h 58"/>
                  <a:gd name="T20" fmla="*/ 29 w 101"/>
                  <a:gd name="T21" fmla="*/ 24 h 58"/>
                  <a:gd name="T22" fmla="*/ 30 w 101"/>
                  <a:gd name="T23" fmla="*/ 23 h 58"/>
                  <a:gd name="T24" fmla="*/ 32 w 101"/>
                  <a:gd name="T25" fmla="*/ 21 h 58"/>
                  <a:gd name="T26" fmla="*/ 42 w 101"/>
                  <a:gd name="T27" fmla="*/ 20 h 58"/>
                  <a:gd name="T28" fmla="*/ 39 w 101"/>
                  <a:gd name="T29" fmla="*/ 16 h 58"/>
                  <a:gd name="T30" fmla="*/ 41 w 101"/>
                  <a:gd name="T31" fmla="*/ 13 h 58"/>
                  <a:gd name="T32" fmla="*/ 43 w 101"/>
                  <a:gd name="T33" fmla="*/ 7 h 58"/>
                  <a:gd name="T34" fmla="*/ 45 w 101"/>
                  <a:gd name="T35" fmla="*/ 4 h 58"/>
                  <a:gd name="T36" fmla="*/ 30 w 101"/>
                  <a:gd name="T37" fmla="*/ 0 h 58"/>
                  <a:gd name="T38" fmla="*/ 19 w 101"/>
                  <a:gd name="T39" fmla="*/ 4 h 58"/>
                  <a:gd name="T40" fmla="*/ 10 w 101"/>
                  <a:gd name="T41" fmla="*/ 3 h 58"/>
                  <a:gd name="T42" fmla="*/ 2 w 101"/>
                  <a:gd name="T43" fmla="*/ 2 h 58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01" h="58">
                    <a:moveTo>
                      <a:pt x="5" y="5"/>
                    </a:moveTo>
                    <a:lnTo>
                      <a:pt x="2" y="0"/>
                    </a:lnTo>
                    <a:lnTo>
                      <a:pt x="0" y="11"/>
                    </a:lnTo>
                    <a:lnTo>
                      <a:pt x="8" y="24"/>
                    </a:lnTo>
                    <a:lnTo>
                      <a:pt x="0" y="33"/>
                    </a:lnTo>
                    <a:lnTo>
                      <a:pt x="5" y="41"/>
                    </a:lnTo>
                    <a:lnTo>
                      <a:pt x="10" y="44"/>
                    </a:lnTo>
                    <a:lnTo>
                      <a:pt x="13" y="58"/>
                    </a:lnTo>
                    <a:lnTo>
                      <a:pt x="30" y="56"/>
                    </a:lnTo>
                    <a:lnTo>
                      <a:pt x="59" y="58"/>
                    </a:lnTo>
                    <a:lnTo>
                      <a:pt x="65" y="53"/>
                    </a:lnTo>
                    <a:lnTo>
                      <a:pt x="68" y="51"/>
                    </a:lnTo>
                    <a:lnTo>
                      <a:pt x="71" y="46"/>
                    </a:lnTo>
                    <a:lnTo>
                      <a:pt x="95" y="44"/>
                    </a:lnTo>
                    <a:lnTo>
                      <a:pt x="88" y="36"/>
                    </a:lnTo>
                    <a:lnTo>
                      <a:pt x="92" y="29"/>
                    </a:lnTo>
                    <a:lnTo>
                      <a:pt x="96" y="16"/>
                    </a:lnTo>
                    <a:lnTo>
                      <a:pt x="101" y="9"/>
                    </a:lnTo>
                    <a:lnTo>
                      <a:pt x="68" y="1"/>
                    </a:lnTo>
                    <a:lnTo>
                      <a:pt x="42" y="9"/>
                    </a:lnTo>
                    <a:lnTo>
                      <a:pt x="23" y="6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96" name="Freeform 326">
                <a:extLst>
                  <a:ext uri="{FF2B5EF4-FFF2-40B4-BE49-F238E27FC236}">
                    <a16:creationId xmlns:a16="http://schemas.microsoft.com/office/drawing/2014/main" id="{13E21554-0FAE-CCA7-6E6C-3730E7B45E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20" y="3262"/>
                <a:ext cx="13" cy="26"/>
              </a:xfrm>
              <a:custGeom>
                <a:avLst/>
                <a:gdLst>
                  <a:gd name="T0" fmla="*/ 0 w 28"/>
                  <a:gd name="T1" fmla="*/ 7 h 59"/>
                  <a:gd name="T2" fmla="*/ 0 w 28"/>
                  <a:gd name="T3" fmla="*/ 19 h 59"/>
                  <a:gd name="T4" fmla="*/ 7 w 28"/>
                  <a:gd name="T5" fmla="*/ 26 h 59"/>
                  <a:gd name="T6" fmla="*/ 8 w 28"/>
                  <a:gd name="T7" fmla="*/ 23 h 59"/>
                  <a:gd name="T8" fmla="*/ 13 w 28"/>
                  <a:gd name="T9" fmla="*/ 16 h 59"/>
                  <a:gd name="T10" fmla="*/ 13 w 28"/>
                  <a:gd name="T11" fmla="*/ 15 h 59"/>
                  <a:gd name="T12" fmla="*/ 8 w 28"/>
                  <a:gd name="T13" fmla="*/ 7 h 59"/>
                  <a:gd name="T14" fmla="*/ 5 w 28"/>
                  <a:gd name="T15" fmla="*/ 1 h 59"/>
                  <a:gd name="T16" fmla="*/ 0 w 28"/>
                  <a:gd name="T17" fmla="*/ 0 h 59"/>
                  <a:gd name="T18" fmla="*/ 0 w 28"/>
                  <a:gd name="T19" fmla="*/ 7 h 5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8" h="59">
                    <a:moveTo>
                      <a:pt x="0" y="15"/>
                    </a:moveTo>
                    <a:lnTo>
                      <a:pt x="1" y="43"/>
                    </a:lnTo>
                    <a:lnTo>
                      <a:pt x="14" y="59"/>
                    </a:lnTo>
                    <a:lnTo>
                      <a:pt x="18" y="53"/>
                    </a:lnTo>
                    <a:lnTo>
                      <a:pt x="28" y="36"/>
                    </a:lnTo>
                    <a:lnTo>
                      <a:pt x="28" y="35"/>
                    </a:lnTo>
                    <a:lnTo>
                      <a:pt x="17" y="15"/>
                    </a:lnTo>
                    <a:lnTo>
                      <a:pt x="11" y="3"/>
                    </a:lnTo>
                    <a:lnTo>
                      <a:pt x="1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97" name="Freeform 327">
                <a:extLst>
                  <a:ext uri="{FF2B5EF4-FFF2-40B4-BE49-F238E27FC236}">
                    <a16:creationId xmlns:a16="http://schemas.microsoft.com/office/drawing/2014/main" id="{FB42EB52-0D5E-F13A-34C2-CA0C831D76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91" y="3270"/>
                <a:ext cx="35" cy="23"/>
              </a:xfrm>
              <a:custGeom>
                <a:avLst/>
                <a:gdLst>
                  <a:gd name="T0" fmla="*/ 4 w 79"/>
                  <a:gd name="T1" fmla="*/ 4 h 51"/>
                  <a:gd name="T2" fmla="*/ 0 w 79"/>
                  <a:gd name="T3" fmla="*/ 0 h 51"/>
                  <a:gd name="T4" fmla="*/ 11 w 79"/>
                  <a:gd name="T5" fmla="*/ 0 h 51"/>
                  <a:gd name="T6" fmla="*/ 22 w 79"/>
                  <a:gd name="T7" fmla="*/ 0 h 51"/>
                  <a:gd name="T8" fmla="*/ 29 w 79"/>
                  <a:gd name="T9" fmla="*/ 1 h 51"/>
                  <a:gd name="T10" fmla="*/ 29 w 79"/>
                  <a:gd name="T11" fmla="*/ 9 h 51"/>
                  <a:gd name="T12" fmla="*/ 31 w 79"/>
                  <a:gd name="T13" fmla="*/ 11 h 51"/>
                  <a:gd name="T14" fmla="*/ 29 w 79"/>
                  <a:gd name="T15" fmla="*/ 14 h 51"/>
                  <a:gd name="T16" fmla="*/ 35 w 79"/>
                  <a:gd name="T17" fmla="*/ 22 h 51"/>
                  <a:gd name="T18" fmla="*/ 31 w 79"/>
                  <a:gd name="T19" fmla="*/ 23 h 51"/>
                  <a:gd name="T20" fmla="*/ 29 w 79"/>
                  <a:gd name="T21" fmla="*/ 22 h 51"/>
                  <a:gd name="T22" fmla="*/ 28 w 79"/>
                  <a:gd name="T23" fmla="*/ 20 h 51"/>
                  <a:gd name="T24" fmla="*/ 27 w 79"/>
                  <a:gd name="T25" fmla="*/ 18 h 51"/>
                  <a:gd name="T26" fmla="*/ 25 w 79"/>
                  <a:gd name="T27" fmla="*/ 18 h 51"/>
                  <a:gd name="T28" fmla="*/ 23 w 79"/>
                  <a:gd name="T29" fmla="*/ 18 h 51"/>
                  <a:gd name="T30" fmla="*/ 20 w 79"/>
                  <a:gd name="T31" fmla="*/ 17 h 51"/>
                  <a:gd name="T32" fmla="*/ 17 w 79"/>
                  <a:gd name="T33" fmla="*/ 17 h 51"/>
                  <a:gd name="T34" fmla="*/ 11 w 79"/>
                  <a:gd name="T35" fmla="*/ 14 h 51"/>
                  <a:gd name="T36" fmla="*/ 8 w 79"/>
                  <a:gd name="T37" fmla="*/ 9 h 51"/>
                  <a:gd name="T38" fmla="*/ 4 w 79"/>
                  <a:gd name="T39" fmla="*/ 4 h 5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79" h="51">
                    <a:moveTo>
                      <a:pt x="10" y="8"/>
                    </a:moveTo>
                    <a:lnTo>
                      <a:pt x="0" y="0"/>
                    </a:lnTo>
                    <a:lnTo>
                      <a:pt x="24" y="0"/>
                    </a:lnTo>
                    <a:lnTo>
                      <a:pt x="49" y="1"/>
                    </a:lnTo>
                    <a:lnTo>
                      <a:pt x="66" y="3"/>
                    </a:lnTo>
                    <a:lnTo>
                      <a:pt x="65" y="21"/>
                    </a:lnTo>
                    <a:lnTo>
                      <a:pt x="71" y="24"/>
                    </a:lnTo>
                    <a:lnTo>
                      <a:pt x="66" y="31"/>
                    </a:lnTo>
                    <a:lnTo>
                      <a:pt x="79" y="49"/>
                    </a:lnTo>
                    <a:lnTo>
                      <a:pt x="69" y="51"/>
                    </a:lnTo>
                    <a:lnTo>
                      <a:pt x="66" y="48"/>
                    </a:lnTo>
                    <a:lnTo>
                      <a:pt x="63" y="44"/>
                    </a:lnTo>
                    <a:lnTo>
                      <a:pt x="60" y="41"/>
                    </a:lnTo>
                    <a:lnTo>
                      <a:pt x="57" y="41"/>
                    </a:lnTo>
                    <a:lnTo>
                      <a:pt x="51" y="41"/>
                    </a:lnTo>
                    <a:lnTo>
                      <a:pt x="46" y="38"/>
                    </a:lnTo>
                    <a:lnTo>
                      <a:pt x="38" y="38"/>
                    </a:lnTo>
                    <a:lnTo>
                      <a:pt x="24" y="31"/>
                    </a:lnTo>
                    <a:lnTo>
                      <a:pt x="17" y="21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98" name="Freeform 328">
                <a:extLst>
                  <a:ext uri="{FF2B5EF4-FFF2-40B4-BE49-F238E27FC236}">
                    <a16:creationId xmlns:a16="http://schemas.microsoft.com/office/drawing/2014/main" id="{0B95FFA8-50EB-721F-A188-AED005DDE9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20" y="3267"/>
                <a:ext cx="28" cy="32"/>
              </a:xfrm>
              <a:custGeom>
                <a:avLst/>
                <a:gdLst>
                  <a:gd name="T0" fmla="*/ 6 w 65"/>
                  <a:gd name="T1" fmla="*/ 25 h 71"/>
                  <a:gd name="T2" fmla="*/ 0 w 65"/>
                  <a:gd name="T3" fmla="*/ 17 h 71"/>
                  <a:gd name="T4" fmla="*/ 3 w 65"/>
                  <a:gd name="T5" fmla="*/ 14 h 71"/>
                  <a:gd name="T6" fmla="*/ 0 w 65"/>
                  <a:gd name="T7" fmla="*/ 13 h 71"/>
                  <a:gd name="T8" fmla="*/ 0 w 65"/>
                  <a:gd name="T9" fmla="*/ 5 h 71"/>
                  <a:gd name="T10" fmla="*/ 3 w 65"/>
                  <a:gd name="T11" fmla="*/ 0 h 71"/>
                  <a:gd name="T12" fmla="*/ 15 w 65"/>
                  <a:gd name="T13" fmla="*/ 2 h 71"/>
                  <a:gd name="T14" fmla="*/ 19 w 65"/>
                  <a:gd name="T15" fmla="*/ 8 h 71"/>
                  <a:gd name="T16" fmla="*/ 28 w 65"/>
                  <a:gd name="T17" fmla="*/ 14 h 71"/>
                  <a:gd name="T18" fmla="*/ 23 w 65"/>
                  <a:gd name="T19" fmla="*/ 16 h 71"/>
                  <a:gd name="T20" fmla="*/ 22 w 65"/>
                  <a:gd name="T21" fmla="*/ 26 h 71"/>
                  <a:gd name="T22" fmla="*/ 21 w 65"/>
                  <a:gd name="T23" fmla="*/ 32 h 71"/>
                  <a:gd name="T24" fmla="*/ 14 w 65"/>
                  <a:gd name="T25" fmla="*/ 27 h 71"/>
                  <a:gd name="T26" fmla="*/ 15 w 65"/>
                  <a:gd name="T27" fmla="*/ 25 h 71"/>
                  <a:gd name="T28" fmla="*/ 12 w 65"/>
                  <a:gd name="T29" fmla="*/ 21 h 71"/>
                  <a:gd name="T30" fmla="*/ 6 w 65"/>
                  <a:gd name="T31" fmla="*/ 25 h 7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65" h="71">
                    <a:moveTo>
                      <a:pt x="14" y="56"/>
                    </a:moveTo>
                    <a:lnTo>
                      <a:pt x="1" y="38"/>
                    </a:lnTo>
                    <a:lnTo>
                      <a:pt x="6" y="31"/>
                    </a:lnTo>
                    <a:lnTo>
                      <a:pt x="0" y="28"/>
                    </a:lnTo>
                    <a:lnTo>
                      <a:pt x="1" y="10"/>
                    </a:lnTo>
                    <a:lnTo>
                      <a:pt x="6" y="0"/>
                    </a:lnTo>
                    <a:lnTo>
                      <a:pt x="34" y="5"/>
                    </a:lnTo>
                    <a:lnTo>
                      <a:pt x="43" y="18"/>
                    </a:lnTo>
                    <a:lnTo>
                      <a:pt x="65" y="31"/>
                    </a:lnTo>
                    <a:lnTo>
                      <a:pt x="54" y="35"/>
                    </a:lnTo>
                    <a:lnTo>
                      <a:pt x="51" y="58"/>
                    </a:lnTo>
                    <a:lnTo>
                      <a:pt x="48" y="71"/>
                    </a:lnTo>
                    <a:lnTo>
                      <a:pt x="32" y="61"/>
                    </a:lnTo>
                    <a:lnTo>
                      <a:pt x="34" y="56"/>
                    </a:lnTo>
                    <a:lnTo>
                      <a:pt x="29" y="46"/>
                    </a:lnTo>
                    <a:lnTo>
                      <a:pt x="14" y="5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599" name="Freeform 329">
                <a:extLst>
                  <a:ext uri="{FF2B5EF4-FFF2-40B4-BE49-F238E27FC236}">
                    <a16:creationId xmlns:a16="http://schemas.microsoft.com/office/drawing/2014/main" id="{161CC1E1-2ED7-F586-6D64-66080876A3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08" y="3288"/>
                <a:ext cx="15" cy="6"/>
              </a:xfrm>
              <a:custGeom>
                <a:avLst/>
                <a:gdLst>
                  <a:gd name="T0" fmla="*/ 15 w 31"/>
                  <a:gd name="T1" fmla="*/ 5 h 15"/>
                  <a:gd name="T2" fmla="*/ 12 w 31"/>
                  <a:gd name="T3" fmla="*/ 6 h 15"/>
                  <a:gd name="T4" fmla="*/ 2 w 31"/>
                  <a:gd name="T5" fmla="*/ 2 h 15"/>
                  <a:gd name="T6" fmla="*/ 0 w 31"/>
                  <a:gd name="T7" fmla="*/ 1 h 15"/>
                  <a:gd name="T8" fmla="*/ 0 w 31"/>
                  <a:gd name="T9" fmla="*/ 0 h 15"/>
                  <a:gd name="T10" fmla="*/ 4 w 31"/>
                  <a:gd name="T11" fmla="*/ 0 h 15"/>
                  <a:gd name="T12" fmla="*/ 5 w 31"/>
                  <a:gd name="T13" fmla="*/ 1 h 15"/>
                  <a:gd name="T14" fmla="*/ 8 w 31"/>
                  <a:gd name="T15" fmla="*/ 2 h 15"/>
                  <a:gd name="T16" fmla="*/ 10 w 31"/>
                  <a:gd name="T17" fmla="*/ 2 h 15"/>
                  <a:gd name="T18" fmla="*/ 11 w 31"/>
                  <a:gd name="T19" fmla="*/ 3 h 15"/>
                  <a:gd name="T20" fmla="*/ 13 w 31"/>
                  <a:gd name="T21" fmla="*/ 4 h 15"/>
                  <a:gd name="T22" fmla="*/ 14 w 31"/>
                  <a:gd name="T23" fmla="*/ 5 h 15"/>
                  <a:gd name="T24" fmla="*/ 15 w 31"/>
                  <a:gd name="T25" fmla="*/ 5 h 1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1" h="15">
                    <a:moveTo>
                      <a:pt x="31" y="12"/>
                    </a:moveTo>
                    <a:lnTo>
                      <a:pt x="25" y="15"/>
                    </a:lnTo>
                    <a:lnTo>
                      <a:pt x="5" y="5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11" y="2"/>
                    </a:lnTo>
                    <a:lnTo>
                      <a:pt x="17" y="4"/>
                    </a:lnTo>
                    <a:lnTo>
                      <a:pt x="20" y="4"/>
                    </a:lnTo>
                    <a:lnTo>
                      <a:pt x="23" y="7"/>
                    </a:lnTo>
                    <a:lnTo>
                      <a:pt x="26" y="9"/>
                    </a:lnTo>
                    <a:lnTo>
                      <a:pt x="29" y="12"/>
                    </a:lnTo>
                    <a:lnTo>
                      <a:pt x="31" y="1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00" name="Freeform 330">
                <a:extLst>
                  <a:ext uri="{FF2B5EF4-FFF2-40B4-BE49-F238E27FC236}">
                    <a16:creationId xmlns:a16="http://schemas.microsoft.com/office/drawing/2014/main" id="{9713B1E7-4D83-A42A-66B7-52F9CB9AECF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26" y="3269"/>
                <a:ext cx="46" cy="46"/>
              </a:xfrm>
              <a:custGeom>
                <a:avLst/>
                <a:gdLst>
                  <a:gd name="T0" fmla="*/ 8 w 105"/>
                  <a:gd name="T1" fmla="*/ 25 h 106"/>
                  <a:gd name="T2" fmla="*/ 4 w 105"/>
                  <a:gd name="T3" fmla="*/ 23 h 106"/>
                  <a:gd name="T4" fmla="*/ 0 w 105"/>
                  <a:gd name="T5" fmla="*/ 18 h 106"/>
                  <a:gd name="T6" fmla="*/ 2 w 105"/>
                  <a:gd name="T7" fmla="*/ 15 h 106"/>
                  <a:gd name="T8" fmla="*/ 6 w 105"/>
                  <a:gd name="T9" fmla="*/ 9 h 106"/>
                  <a:gd name="T10" fmla="*/ 6 w 105"/>
                  <a:gd name="T11" fmla="*/ 7 h 106"/>
                  <a:gd name="T12" fmla="*/ 20 w 105"/>
                  <a:gd name="T13" fmla="*/ 4 h 106"/>
                  <a:gd name="T14" fmla="*/ 27 w 105"/>
                  <a:gd name="T15" fmla="*/ 2 h 106"/>
                  <a:gd name="T16" fmla="*/ 40 w 105"/>
                  <a:gd name="T17" fmla="*/ 4 h 106"/>
                  <a:gd name="T18" fmla="*/ 42 w 105"/>
                  <a:gd name="T19" fmla="*/ 1 h 106"/>
                  <a:gd name="T20" fmla="*/ 44 w 105"/>
                  <a:gd name="T21" fmla="*/ 0 h 106"/>
                  <a:gd name="T22" fmla="*/ 46 w 105"/>
                  <a:gd name="T23" fmla="*/ 4 h 106"/>
                  <a:gd name="T24" fmla="*/ 42 w 105"/>
                  <a:gd name="T25" fmla="*/ 9 h 106"/>
                  <a:gd name="T26" fmla="*/ 35 w 105"/>
                  <a:gd name="T27" fmla="*/ 7 h 106"/>
                  <a:gd name="T28" fmla="*/ 26 w 105"/>
                  <a:gd name="T29" fmla="*/ 10 h 106"/>
                  <a:gd name="T30" fmla="*/ 30 w 105"/>
                  <a:gd name="T31" fmla="*/ 13 h 106"/>
                  <a:gd name="T32" fmla="*/ 26 w 105"/>
                  <a:gd name="T33" fmla="*/ 14 h 106"/>
                  <a:gd name="T34" fmla="*/ 27 w 105"/>
                  <a:gd name="T35" fmla="*/ 15 h 106"/>
                  <a:gd name="T36" fmla="*/ 24 w 105"/>
                  <a:gd name="T37" fmla="*/ 14 h 106"/>
                  <a:gd name="T38" fmla="*/ 26 w 105"/>
                  <a:gd name="T39" fmla="*/ 16 h 106"/>
                  <a:gd name="T40" fmla="*/ 20 w 105"/>
                  <a:gd name="T41" fmla="*/ 11 h 106"/>
                  <a:gd name="T42" fmla="*/ 18 w 105"/>
                  <a:gd name="T43" fmla="*/ 12 h 106"/>
                  <a:gd name="T44" fmla="*/ 21 w 105"/>
                  <a:gd name="T45" fmla="*/ 20 h 106"/>
                  <a:gd name="T46" fmla="*/ 24 w 105"/>
                  <a:gd name="T47" fmla="*/ 23 h 106"/>
                  <a:gd name="T48" fmla="*/ 20 w 105"/>
                  <a:gd name="T49" fmla="*/ 22 h 106"/>
                  <a:gd name="T50" fmla="*/ 21 w 105"/>
                  <a:gd name="T51" fmla="*/ 25 h 106"/>
                  <a:gd name="T52" fmla="*/ 20 w 105"/>
                  <a:gd name="T53" fmla="*/ 26 h 106"/>
                  <a:gd name="T54" fmla="*/ 30 w 105"/>
                  <a:gd name="T55" fmla="*/ 33 h 106"/>
                  <a:gd name="T56" fmla="*/ 30 w 105"/>
                  <a:gd name="T57" fmla="*/ 35 h 106"/>
                  <a:gd name="T58" fmla="*/ 26 w 105"/>
                  <a:gd name="T59" fmla="*/ 34 h 106"/>
                  <a:gd name="T60" fmla="*/ 24 w 105"/>
                  <a:gd name="T61" fmla="*/ 35 h 106"/>
                  <a:gd name="T62" fmla="*/ 26 w 105"/>
                  <a:gd name="T63" fmla="*/ 39 h 106"/>
                  <a:gd name="T64" fmla="*/ 21 w 105"/>
                  <a:gd name="T65" fmla="*/ 39 h 106"/>
                  <a:gd name="T66" fmla="*/ 24 w 105"/>
                  <a:gd name="T67" fmla="*/ 46 h 106"/>
                  <a:gd name="T68" fmla="*/ 20 w 105"/>
                  <a:gd name="T69" fmla="*/ 45 h 106"/>
                  <a:gd name="T70" fmla="*/ 20 w 105"/>
                  <a:gd name="T71" fmla="*/ 46 h 106"/>
                  <a:gd name="T72" fmla="*/ 15 w 105"/>
                  <a:gd name="T73" fmla="*/ 42 h 106"/>
                  <a:gd name="T74" fmla="*/ 14 w 105"/>
                  <a:gd name="T75" fmla="*/ 44 h 106"/>
                  <a:gd name="T76" fmla="*/ 11 w 105"/>
                  <a:gd name="T77" fmla="*/ 36 h 106"/>
                  <a:gd name="T78" fmla="*/ 10 w 105"/>
                  <a:gd name="T79" fmla="*/ 33 h 106"/>
                  <a:gd name="T80" fmla="*/ 16 w 105"/>
                  <a:gd name="T81" fmla="*/ 31 h 106"/>
                  <a:gd name="T82" fmla="*/ 23 w 105"/>
                  <a:gd name="T83" fmla="*/ 33 h 106"/>
                  <a:gd name="T84" fmla="*/ 23 w 105"/>
                  <a:gd name="T85" fmla="*/ 31 h 106"/>
                  <a:gd name="T86" fmla="*/ 18 w 105"/>
                  <a:gd name="T87" fmla="*/ 30 h 106"/>
                  <a:gd name="T88" fmla="*/ 10 w 105"/>
                  <a:gd name="T89" fmla="*/ 29 h 106"/>
                  <a:gd name="T90" fmla="*/ 8 w 105"/>
                  <a:gd name="T91" fmla="*/ 30 h 106"/>
                  <a:gd name="T92" fmla="*/ 7 w 105"/>
                  <a:gd name="T93" fmla="*/ 25 h 106"/>
                  <a:gd name="T94" fmla="*/ 8 w 105"/>
                  <a:gd name="T95" fmla="*/ 25 h 10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05" h="106">
                    <a:moveTo>
                      <a:pt x="18" y="57"/>
                    </a:moveTo>
                    <a:lnTo>
                      <a:pt x="8" y="52"/>
                    </a:lnTo>
                    <a:lnTo>
                      <a:pt x="0" y="42"/>
                    </a:lnTo>
                    <a:lnTo>
                      <a:pt x="4" y="35"/>
                    </a:lnTo>
                    <a:lnTo>
                      <a:pt x="14" y="20"/>
                    </a:lnTo>
                    <a:lnTo>
                      <a:pt x="14" y="17"/>
                    </a:lnTo>
                    <a:lnTo>
                      <a:pt x="45" y="9"/>
                    </a:lnTo>
                    <a:lnTo>
                      <a:pt x="62" y="5"/>
                    </a:lnTo>
                    <a:lnTo>
                      <a:pt x="91" y="9"/>
                    </a:lnTo>
                    <a:lnTo>
                      <a:pt x="97" y="2"/>
                    </a:lnTo>
                    <a:lnTo>
                      <a:pt x="100" y="0"/>
                    </a:lnTo>
                    <a:lnTo>
                      <a:pt x="105" y="9"/>
                    </a:lnTo>
                    <a:lnTo>
                      <a:pt x="97" y="20"/>
                    </a:lnTo>
                    <a:lnTo>
                      <a:pt x="79" y="17"/>
                    </a:lnTo>
                    <a:lnTo>
                      <a:pt x="60" y="22"/>
                    </a:lnTo>
                    <a:lnTo>
                      <a:pt x="69" y="30"/>
                    </a:lnTo>
                    <a:lnTo>
                      <a:pt x="60" y="32"/>
                    </a:lnTo>
                    <a:lnTo>
                      <a:pt x="62" y="35"/>
                    </a:lnTo>
                    <a:lnTo>
                      <a:pt x="55" y="33"/>
                    </a:lnTo>
                    <a:lnTo>
                      <a:pt x="59" y="38"/>
                    </a:lnTo>
                    <a:lnTo>
                      <a:pt x="46" y="25"/>
                    </a:lnTo>
                    <a:lnTo>
                      <a:pt x="42" y="28"/>
                    </a:lnTo>
                    <a:lnTo>
                      <a:pt x="49" y="45"/>
                    </a:lnTo>
                    <a:lnTo>
                      <a:pt x="54" y="53"/>
                    </a:lnTo>
                    <a:lnTo>
                      <a:pt x="46" y="50"/>
                    </a:lnTo>
                    <a:lnTo>
                      <a:pt x="48" y="58"/>
                    </a:lnTo>
                    <a:lnTo>
                      <a:pt x="46" y="60"/>
                    </a:lnTo>
                    <a:lnTo>
                      <a:pt x="69" y="75"/>
                    </a:lnTo>
                    <a:lnTo>
                      <a:pt x="68" y="81"/>
                    </a:lnTo>
                    <a:lnTo>
                      <a:pt x="59" y="78"/>
                    </a:lnTo>
                    <a:lnTo>
                      <a:pt x="54" y="80"/>
                    </a:lnTo>
                    <a:lnTo>
                      <a:pt x="59" y="90"/>
                    </a:lnTo>
                    <a:lnTo>
                      <a:pt x="49" y="90"/>
                    </a:lnTo>
                    <a:lnTo>
                      <a:pt x="55" y="106"/>
                    </a:lnTo>
                    <a:lnTo>
                      <a:pt x="46" y="103"/>
                    </a:lnTo>
                    <a:lnTo>
                      <a:pt x="45" y="106"/>
                    </a:lnTo>
                    <a:lnTo>
                      <a:pt x="35" y="96"/>
                    </a:lnTo>
                    <a:lnTo>
                      <a:pt x="32" y="101"/>
                    </a:lnTo>
                    <a:lnTo>
                      <a:pt x="25" y="83"/>
                    </a:lnTo>
                    <a:lnTo>
                      <a:pt x="23" y="77"/>
                    </a:lnTo>
                    <a:lnTo>
                      <a:pt x="37" y="72"/>
                    </a:lnTo>
                    <a:lnTo>
                      <a:pt x="52" y="77"/>
                    </a:lnTo>
                    <a:lnTo>
                      <a:pt x="52" y="72"/>
                    </a:lnTo>
                    <a:lnTo>
                      <a:pt x="42" y="68"/>
                    </a:lnTo>
                    <a:lnTo>
                      <a:pt x="23" y="67"/>
                    </a:lnTo>
                    <a:lnTo>
                      <a:pt x="18" y="68"/>
                    </a:lnTo>
                    <a:lnTo>
                      <a:pt x="15" y="58"/>
                    </a:lnTo>
                    <a:lnTo>
                      <a:pt x="18" y="5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01" name="Freeform 331">
                <a:extLst>
                  <a:ext uri="{FF2B5EF4-FFF2-40B4-BE49-F238E27FC236}">
                    <a16:creationId xmlns:a16="http://schemas.microsoft.com/office/drawing/2014/main" id="{20103593-F58D-0CCF-F789-1611F5F6E8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56" y="3324"/>
                <a:ext cx="21" cy="5"/>
              </a:xfrm>
              <a:custGeom>
                <a:avLst/>
                <a:gdLst>
                  <a:gd name="T0" fmla="*/ 16 w 46"/>
                  <a:gd name="T1" fmla="*/ 3 h 10"/>
                  <a:gd name="T2" fmla="*/ 4 w 46"/>
                  <a:gd name="T3" fmla="*/ 0 h 10"/>
                  <a:gd name="T4" fmla="*/ 0 w 46"/>
                  <a:gd name="T5" fmla="*/ 0 h 10"/>
                  <a:gd name="T6" fmla="*/ 0 w 46"/>
                  <a:gd name="T7" fmla="*/ 3 h 10"/>
                  <a:gd name="T8" fmla="*/ 7 w 46"/>
                  <a:gd name="T9" fmla="*/ 4 h 10"/>
                  <a:gd name="T10" fmla="*/ 15 w 46"/>
                  <a:gd name="T11" fmla="*/ 5 h 10"/>
                  <a:gd name="T12" fmla="*/ 21 w 46"/>
                  <a:gd name="T13" fmla="*/ 4 h 10"/>
                  <a:gd name="T14" fmla="*/ 16 w 46"/>
                  <a:gd name="T15" fmla="*/ 3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6" h="10">
                    <a:moveTo>
                      <a:pt x="34" y="5"/>
                    </a:moveTo>
                    <a:lnTo>
                      <a:pt x="9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15" y="8"/>
                    </a:lnTo>
                    <a:lnTo>
                      <a:pt x="32" y="10"/>
                    </a:lnTo>
                    <a:lnTo>
                      <a:pt x="46" y="7"/>
                    </a:lnTo>
                    <a:lnTo>
                      <a:pt x="34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02" name="Freeform 332">
                <a:extLst>
                  <a:ext uri="{FF2B5EF4-FFF2-40B4-BE49-F238E27FC236}">
                    <a16:creationId xmlns:a16="http://schemas.microsoft.com/office/drawing/2014/main" id="{F63B8F16-7672-8DBF-34CA-BBB11D1A4C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48" y="3294"/>
                <a:ext cx="13" cy="8"/>
              </a:xfrm>
              <a:custGeom>
                <a:avLst/>
                <a:gdLst>
                  <a:gd name="T0" fmla="*/ 13 w 26"/>
                  <a:gd name="T1" fmla="*/ 8 h 17"/>
                  <a:gd name="T2" fmla="*/ 6 w 26"/>
                  <a:gd name="T3" fmla="*/ 2 h 17"/>
                  <a:gd name="T4" fmla="*/ 0 w 26"/>
                  <a:gd name="T5" fmla="*/ 0 h 17"/>
                  <a:gd name="T6" fmla="*/ 7 w 26"/>
                  <a:gd name="T7" fmla="*/ 4 h 17"/>
                  <a:gd name="T8" fmla="*/ 13 w 26"/>
                  <a:gd name="T9" fmla="*/ 8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" h="17">
                    <a:moveTo>
                      <a:pt x="26" y="17"/>
                    </a:moveTo>
                    <a:lnTo>
                      <a:pt x="12" y="4"/>
                    </a:lnTo>
                    <a:lnTo>
                      <a:pt x="0" y="0"/>
                    </a:lnTo>
                    <a:lnTo>
                      <a:pt x="14" y="9"/>
                    </a:lnTo>
                    <a:lnTo>
                      <a:pt x="26" y="1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03" name="Freeform 333">
                <a:extLst>
                  <a:ext uri="{FF2B5EF4-FFF2-40B4-BE49-F238E27FC236}">
                    <a16:creationId xmlns:a16="http://schemas.microsoft.com/office/drawing/2014/main" id="{D210FB45-3451-D8BD-BDA0-4D6EED189B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69" y="3290"/>
                <a:ext cx="6" cy="2"/>
              </a:xfrm>
              <a:custGeom>
                <a:avLst/>
                <a:gdLst>
                  <a:gd name="T0" fmla="*/ 6 w 11"/>
                  <a:gd name="T1" fmla="*/ 2 h 3"/>
                  <a:gd name="T2" fmla="*/ 2 w 11"/>
                  <a:gd name="T3" fmla="*/ 1 h 3"/>
                  <a:gd name="T4" fmla="*/ 0 w 11"/>
                  <a:gd name="T5" fmla="*/ 0 h 3"/>
                  <a:gd name="T6" fmla="*/ 5 w 11"/>
                  <a:gd name="T7" fmla="*/ 1 h 3"/>
                  <a:gd name="T8" fmla="*/ 6 w 11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" h="3">
                    <a:moveTo>
                      <a:pt x="11" y="3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9" y="2"/>
                    </a:lnTo>
                    <a:lnTo>
                      <a:pt x="11" y="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04" name="Freeform 334">
                <a:extLst>
                  <a:ext uri="{FF2B5EF4-FFF2-40B4-BE49-F238E27FC236}">
                    <a16:creationId xmlns:a16="http://schemas.microsoft.com/office/drawing/2014/main" id="{0BA8DD34-62B1-F388-DC2A-0F4384D2B6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31" y="3299"/>
                <a:ext cx="2" cy="2"/>
              </a:xfrm>
              <a:custGeom>
                <a:avLst/>
                <a:gdLst>
                  <a:gd name="T0" fmla="*/ 0 w 5"/>
                  <a:gd name="T1" fmla="*/ 0 h 3"/>
                  <a:gd name="T2" fmla="*/ 2 w 5"/>
                  <a:gd name="T3" fmla="*/ 2 h 3"/>
                  <a:gd name="T4" fmla="*/ 1 w 5"/>
                  <a:gd name="T5" fmla="*/ 2 h 3"/>
                  <a:gd name="T6" fmla="*/ 0 w 5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5" y="3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05" name="Freeform 335">
                <a:extLst>
                  <a:ext uri="{FF2B5EF4-FFF2-40B4-BE49-F238E27FC236}">
                    <a16:creationId xmlns:a16="http://schemas.microsoft.com/office/drawing/2014/main" id="{CFD33365-6549-6681-7F30-219B373358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70" y="3297"/>
                <a:ext cx="2" cy="3"/>
              </a:xfrm>
              <a:custGeom>
                <a:avLst/>
                <a:gdLst>
                  <a:gd name="T0" fmla="*/ 2 w 5"/>
                  <a:gd name="T1" fmla="*/ 0 h 7"/>
                  <a:gd name="T2" fmla="*/ 1 w 5"/>
                  <a:gd name="T3" fmla="*/ 3 h 7"/>
                  <a:gd name="T4" fmla="*/ 0 w 5"/>
                  <a:gd name="T5" fmla="*/ 1 h 7"/>
                  <a:gd name="T6" fmla="*/ 2 w 5"/>
                  <a:gd name="T7" fmla="*/ 0 h 7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" h="7">
                    <a:moveTo>
                      <a:pt x="5" y="0"/>
                    </a:moveTo>
                    <a:lnTo>
                      <a:pt x="2" y="7"/>
                    </a:lnTo>
                    <a:lnTo>
                      <a:pt x="0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06" name="Freeform 336">
                <a:extLst>
                  <a:ext uri="{FF2B5EF4-FFF2-40B4-BE49-F238E27FC236}">
                    <a16:creationId xmlns:a16="http://schemas.microsoft.com/office/drawing/2014/main" id="{6C2A7F5A-A4E4-F442-A0FB-E638BE115C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27" y="3223"/>
                <a:ext cx="87" cy="81"/>
              </a:xfrm>
              <a:custGeom>
                <a:avLst/>
                <a:gdLst>
                  <a:gd name="T0" fmla="*/ 48 w 195"/>
                  <a:gd name="T1" fmla="*/ 3 h 184"/>
                  <a:gd name="T2" fmla="*/ 37 w 195"/>
                  <a:gd name="T3" fmla="*/ 0 h 184"/>
                  <a:gd name="T4" fmla="*/ 29 w 195"/>
                  <a:gd name="T5" fmla="*/ 0 h 184"/>
                  <a:gd name="T6" fmla="*/ 25 w 195"/>
                  <a:gd name="T7" fmla="*/ 0 h 184"/>
                  <a:gd name="T8" fmla="*/ 24 w 195"/>
                  <a:gd name="T9" fmla="*/ 2 h 184"/>
                  <a:gd name="T10" fmla="*/ 21 w 195"/>
                  <a:gd name="T11" fmla="*/ 4 h 184"/>
                  <a:gd name="T12" fmla="*/ 17 w 195"/>
                  <a:gd name="T13" fmla="*/ 4 h 184"/>
                  <a:gd name="T14" fmla="*/ 14 w 195"/>
                  <a:gd name="T15" fmla="*/ 9 h 184"/>
                  <a:gd name="T16" fmla="*/ 10 w 195"/>
                  <a:gd name="T17" fmla="*/ 4 h 184"/>
                  <a:gd name="T18" fmla="*/ 5 w 195"/>
                  <a:gd name="T19" fmla="*/ 8 h 184"/>
                  <a:gd name="T20" fmla="*/ 1 w 195"/>
                  <a:gd name="T21" fmla="*/ 9 h 184"/>
                  <a:gd name="T22" fmla="*/ 1 w 195"/>
                  <a:gd name="T23" fmla="*/ 12 h 184"/>
                  <a:gd name="T24" fmla="*/ 0 w 195"/>
                  <a:gd name="T25" fmla="*/ 16 h 184"/>
                  <a:gd name="T26" fmla="*/ 0 w 195"/>
                  <a:gd name="T27" fmla="*/ 18 h 184"/>
                  <a:gd name="T28" fmla="*/ 0 w 195"/>
                  <a:gd name="T29" fmla="*/ 21 h 184"/>
                  <a:gd name="T30" fmla="*/ 5 w 195"/>
                  <a:gd name="T31" fmla="*/ 24 h 184"/>
                  <a:gd name="T32" fmla="*/ 5 w 195"/>
                  <a:gd name="T33" fmla="*/ 28 h 184"/>
                  <a:gd name="T34" fmla="*/ 12 w 195"/>
                  <a:gd name="T35" fmla="*/ 22 h 184"/>
                  <a:gd name="T36" fmla="*/ 21 w 195"/>
                  <a:gd name="T37" fmla="*/ 25 h 184"/>
                  <a:gd name="T38" fmla="*/ 28 w 195"/>
                  <a:gd name="T39" fmla="*/ 34 h 184"/>
                  <a:gd name="T40" fmla="*/ 34 w 195"/>
                  <a:gd name="T41" fmla="*/ 40 h 184"/>
                  <a:gd name="T42" fmla="*/ 40 w 195"/>
                  <a:gd name="T43" fmla="*/ 47 h 184"/>
                  <a:gd name="T44" fmla="*/ 43 w 195"/>
                  <a:gd name="T45" fmla="*/ 48 h 184"/>
                  <a:gd name="T46" fmla="*/ 48 w 195"/>
                  <a:gd name="T47" fmla="*/ 50 h 184"/>
                  <a:gd name="T48" fmla="*/ 58 w 195"/>
                  <a:gd name="T49" fmla="*/ 55 h 184"/>
                  <a:gd name="T50" fmla="*/ 62 w 195"/>
                  <a:gd name="T51" fmla="*/ 58 h 184"/>
                  <a:gd name="T52" fmla="*/ 65 w 195"/>
                  <a:gd name="T53" fmla="*/ 61 h 184"/>
                  <a:gd name="T54" fmla="*/ 70 w 195"/>
                  <a:gd name="T55" fmla="*/ 70 h 184"/>
                  <a:gd name="T56" fmla="*/ 68 w 195"/>
                  <a:gd name="T57" fmla="*/ 78 h 184"/>
                  <a:gd name="T58" fmla="*/ 71 w 195"/>
                  <a:gd name="T59" fmla="*/ 81 h 184"/>
                  <a:gd name="T60" fmla="*/ 75 w 195"/>
                  <a:gd name="T61" fmla="*/ 75 h 184"/>
                  <a:gd name="T62" fmla="*/ 77 w 195"/>
                  <a:gd name="T63" fmla="*/ 71 h 184"/>
                  <a:gd name="T64" fmla="*/ 79 w 195"/>
                  <a:gd name="T65" fmla="*/ 69 h 184"/>
                  <a:gd name="T66" fmla="*/ 75 w 195"/>
                  <a:gd name="T67" fmla="*/ 65 h 184"/>
                  <a:gd name="T68" fmla="*/ 76 w 195"/>
                  <a:gd name="T69" fmla="*/ 58 h 184"/>
                  <a:gd name="T70" fmla="*/ 80 w 195"/>
                  <a:gd name="T71" fmla="*/ 59 h 184"/>
                  <a:gd name="T72" fmla="*/ 86 w 195"/>
                  <a:gd name="T73" fmla="*/ 63 h 184"/>
                  <a:gd name="T74" fmla="*/ 87 w 195"/>
                  <a:gd name="T75" fmla="*/ 59 h 184"/>
                  <a:gd name="T76" fmla="*/ 77 w 195"/>
                  <a:gd name="T77" fmla="*/ 54 h 184"/>
                  <a:gd name="T78" fmla="*/ 68 w 195"/>
                  <a:gd name="T79" fmla="*/ 49 h 184"/>
                  <a:gd name="T80" fmla="*/ 70 w 195"/>
                  <a:gd name="T81" fmla="*/ 45 h 184"/>
                  <a:gd name="T82" fmla="*/ 67 w 195"/>
                  <a:gd name="T83" fmla="*/ 44 h 184"/>
                  <a:gd name="T84" fmla="*/ 58 w 195"/>
                  <a:gd name="T85" fmla="*/ 42 h 184"/>
                  <a:gd name="T86" fmla="*/ 53 w 195"/>
                  <a:gd name="T87" fmla="*/ 36 h 184"/>
                  <a:gd name="T88" fmla="*/ 50 w 195"/>
                  <a:gd name="T89" fmla="*/ 30 h 184"/>
                  <a:gd name="T90" fmla="*/ 43 w 195"/>
                  <a:gd name="T91" fmla="*/ 26 h 184"/>
                  <a:gd name="T92" fmla="*/ 40 w 195"/>
                  <a:gd name="T93" fmla="*/ 19 h 184"/>
                  <a:gd name="T94" fmla="*/ 38 w 195"/>
                  <a:gd name="T95" fmla="*/ 15 h 184"/>
                  <a:gd name="T96" fmla="*/ 46 w 195"/>
                  <a:gd name="T97" fmla="*/ 11 h 184"/>
                  <a:gd name="T98" fmla="*/ 49 w 195"/>
                  <a:gd name="T99" fmla="*/ 12 h 184"/>
                  <a:gd name="T100" fmla="*/ 47 w 195"/>
                  <a:gd name="T101" fmla="*/ 6 h 184"/>
                  <a:gd name="T102" fmla="*/ 48 w 195"/>
                  <a:gd name="T103" fmla="*/ 3 h 184"/>
                  <a:gd name="T104" fmla="*/ 41 w 195"/>
                  <a:gd name="T105" fmla="*/ 26 h 184"/>
                  <a:gd name="T106" fmla="*/ 41 w 195"/>
                  <a:gd name="T107" fmla="*/ 26 h 184"/>
                  <a:gd name="T108" fmla="*/ 40 w 195"/>
                  <a:gd name="T109" fmla="*/ 26 h 184"/>
                  <a:gd name="T110" fmla="*/ 40 w 195"/>
                  <a:gd name="T111" fmla="*/ 27 h 184"/>
                  <a:gd name="T112" fmla="*/ 41 w 195"/>
                  <a:gd name="T113" fmla="*/ 27 h 184"/>
                  <a:gd name="T114" fmla="*/ 41 w 195"/>
                  <a:gd name="T115" fmla="*/ 26 h 184"/>
                  <a:gd name="T116" fmla="*/ 48 w 195"/>
                  <a:gd name="T117" fmla="*/ 3 h 184"/>
                  <a:gd name="T118" fmla="*/ 43 w 195"/>
                  <a:gd name="T119" fmla="*/ 47 h 184"/>
                  <a:gd name="T120" fmla="*/ 43 w 195"/>
                  <a:gd name="T121" fmla="*/ 47 h 184"/>
                  <a:gd name="T122" fmla="*/ 43 w 195"/>
                  <a:gd name="T123" fmla="*/ 47 h 184"/>
                  <a:gd name="T124" fmla="*/ 48 w 195"/>
                  <a:gd name="T125" fmla="*/ 3 h 18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95" h="184">
                    <a:moveTo>
                      <a:pt x="108" y="6"/>
                    </a:moveTo>
                    <a:lnTo>
                      <a:pt x="84" y="0"/>
                    </a:lnTo>
                    <a:lnTo>
                      <a:pt x="65" y="1"/>
                    </a:lnTo>
                    <a:lnTo>
                      <a:pt x="56" y="1"/>
                    </a:lnTo>
                    <a:lnTo>
                      <a:pt x="53" y="5"/>
                    </a:lnTo>
                    <a:lnTo>
                      <a:pt x="48" y="10"/>
                    </a:lnTo>
                    <a:lnTo>
                      <a:pt x="39" y="10"/>
                    </a:lnTo>
                    <a:lnTo>
                      <a:pt x="31" y="20"/>
                    </a:lnTo>
                    <a:lnTo>
                      <a:pt x="22" y="10"/>
                    </a:lnTo>
                    <a:lnTo>
                      <a:pt x="12" y="18"/>
                    </a:lnTo>
                    <a:lnTo>
                      <a:pt x="2" y="20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1"/>
                    </a:lnTo>
                    <a:lnTo>
                      <a:pt x="0" y="48"/>
                    </a:lnTo>
                    <a:lnTo>
                      <a:pt x="12" y="55"/>
                    </a:lnTo>
                    <a:lnTo>
                      <a:pt x="12" y="63"/>
                    </a:lnTo>
                    <a:lnTo>
                      <a:pt x="28" y="51"/>
                    </a:lnTo>
                    <a:lnTo>
                      <a:pt x="48" y="56"/>
                    </a:lnTo>
                    <a:lnTo>
                      <a:pt x="62" y="78"/>
                    </a:lnTo>
                    <a:lnTo>
                      <a:pt x="76" y="91"/>
                    </a:lnTo>
                    <a:lnTo>
                      <a:pt x="90" y="106"/>
                    </a:lnTo>
                    <a:lnTo>
                      <a:pt x="96" y="108"/>
                    </a:lnTo>
                    <a:lnTo>
                      <a:pt x="108" y="113"/>
                    </a:lnTo>
                    <a:lnTo>
                      <a:pt x="130" y="126"/>
                    </a:lnTo>
                    <a:lnTo>
                      <a:pt x="139" y="132"/>
                    </a:lnTo>
                    <a:lnTo>
                      <a:pt x="145" y="139"/>
                    </a:lnTo>
                    <a:lnTo>
                      <a:pt x="158" y="159"/>
                    </a:lnTo>
                    <a:lnTo>
                      <a:pt x="153" y="177"/>
                    </a:lnTo>
                    <a:lnTo>
                      <a:pt x="159" y="184"/>
                    </a:lnTo>
                    <a:lnTo>
                      <a:pt x="167" y="171"/>
                    </a:lnTo>
                    <a:lnTo>
                      <a:pt x="173" y="162"/>
                    </a:lnTo>
                    <a:lnTo>
                      <a:pt x="176" y="156"/>
                    </a:lnTo>
                    <a:lnTo>
                      <a:pt x="167" y="147"/>
                    </a:lnTo>
                    <a:lnTo>
                      <a:pt x="170" y="131"/>
                    </a:lnTo>
                    <a:lnTo>
                      <a:pt x="179" y="134"/>
                    </a:lnTo>
                    <a:lnTo>
                      <a:pt x="192" y="144"/>
                    </a:lnTo>
                    <a:lnTo>
                      <a:pt x="195" y="134"/>
                    </a:lnTo>
                    <a:lnTo>
                      <a:pt x="173" y="123"/>
                    </a:lnTo>
                    <a:lnTo>
                      <a:pt x="153" y="111"/>
                    </a:lnTo>
                    <a:lnTo>
                      <a:pt x="156" y="103"/>
                    </a:lnTo>
                    <a:lnTo>
                      <a:pt x="150" y="101"/>
                    </a:lnTo>
                    <a:lnTo>
                      <a:pt x="130" y="96"/>
                    </a:lnTo>
                    <a:lnTo>
                      <a:pt x="119" y="81"/>
                    </a:lnTo>
                    <a:lnTo>
                      <a:pt x="111" y="69"/>
                    </a:lnTo>
                    <a:lnTo>
                      <a:pt x="96" y="60"/>
                    </a:lnTo>
                    <a:lnTo>
                      <a:pt x="90" y="43"/>
                    </a:lnTo>
                    <a:lnTo>
                      <a:pt x="85" y="33"/>
                    </a:lnTo>
                    <a:lnTo>
                      <a:pt x="102" y="25"/>
                    </a:lnTo>
                    <a:lnTo>
                      <a:pt x="110" y="28"/>
                    </a:lnTo>
                    <a:lnTo>
                      <a:pt x="105" y="13"/>
                    </a:lnTo>
                    <a:lnTo>
                      <a:pt x="108" y="6"/>
                    </a:lnTo>
                    <a:lnTo>
                      <a:pt x="93" y="60"/>
                    </a:lnTo>
                    <a:lnTo>
                      <a:pt x="91" y="60"/>
                    </a:lnTo>
                    <a:lnTo>
                      <a:pt x="90" y="60"/>
                    </a:lnTo>
                    <a:lnTo>
                      <a:pt x="90" y="61"/>
                    </a:lnTo>
                    <a:lnTo>
                      <a:pt x="91" y="61"/>
                    </a:lnTo>
                    <a:lnTo>
                      <a:pt x="93" y="60"/>
                    </a:lnTo>
                    <a:lnTo>
                      <a:pt x="108" y="6"/>
                    </a:lnTo>
                    <a:lnTo>
                      <a:pt x="96" y="106"/>
                    </a:lnTo>
                    <a:lnTo>
                      <a:pt x="97" y="106"/>
                    </a:lnTo>
                    <a:lnTo>
                      <a:pt x="96" y="106"/>
                    </a:lnTo>
                    <a:lnTo>
                      <a:pt x="108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07" name="Freeform 337">
                <a:extLst>
                  <a:ext uri="{FF2B5EF4-FFF2-40B4-BE49-F238E27FC236}">
                    <a16:creationId xmlns:a16="http://schemas.microsoft.com/office/drawing/2014/main" id="{F45A6D0A-20AC-A248-1CE6-048EE8F79AA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27" y="3223"/>
                <a:ext cx="87" cy="81"/>
              </a:xfrm>
              <a:custGeom>
                <a:avLst/>
                <a:gdLst>
                  <a:gd name="T0" fmla="*/ 48 w 195"/>
                  <a:gd name="T1" fmla="*/ 3 h 184"/>
                  <a:gd name="T2" fmla="*/ 37 w 195"/>
                  <a:gd name="T3" fmla="*/ 0 h 184"/>
                  <a:gd name="T4" fmla="*/ 29 w 195"/>
                  <a:gd name="T5" fmla="*/ 0 h 184"/>
                  <a:gd name="T6" fmla="*/ 25 w 195"/>
                  <a:gd name="T7" fmla="*/ 0 h 184"/>
                  <a:gd name="T8" fmla="*/ 24 w 195"/>
                  <a:gd name="T9" fmla="*/ 2 h 184"/>
                  <a:gd name="T10" fmla="*/ 21 w 195"/>
                  <a:gd name="T11" fmla="*/ 4 h 184"/>
                  <a:gd name="T12" fmla="*/ 17 w 195"/>
                  <a:gd name="T13" fmla="*/ 4 h 184"/>
                  <a:gd name="T14" fmla="*/ 14 w 195"/>
                  <a:gd name="T15" fmla="*/ 9 h 184"/>
                  <a:gd name="T16" fmla="*/ 10 w 195"/>
                  <a:gd name="T17" fmla="*/ 4 h 184"/>
                  <a:gd name="T18" fmla="*/ 5 w 195"/>
                  <a:gd name="T19" fmla="*/ 8 h 184"/>
                  <a:gd name="T20" fmla="*/ 1 w 195"/>
                  <a:gd name="T21" fmla="*/ 9 h 184"/>
                  <a:gd name="T22" fmla="*/ 1 w 195"/>
                  <a:gd name="T23" fmla="*/ 12 h 184"/>
                  <a:gd name="T24" fmla="*/ 0 w 195"/>
                  <a:gd name="T25" fmla="*/ 16 h 184"/>
                  <a:gd name="T26" fmla="*/ 0 w 195"/>
                  <a:gd name="T27" fmla="*/ 18 h 184"/>
                  <a:gd name="T28" fmla="*/ 0 w 195"/>
                  <a:gd name="T29" fmla="*/ 21 h 184"/>
                  <a:gd name="T30" fmla="*/ 5 w 195"/>
                  <a:gd name="T31" fmla="*/ 24 h 184"/>
                  <a:gd name="T32" fmla="*/ 5 w 195"/>
                  <a:gd name="T33" fmla="*/ 28 h 184"/>
                  <a:gd name="T34" fmla="*/ 12 w 195"/>
                  <a:gd name="T35" fmla="*/ 22 h 184"/>
                  <a:gd name="T36" fmla="*/ 21 w 195"/>
                  <a:gd name="T37" fmla="*/ 25 h 184"/>
                  <a:gd name="T38" fmla="*/ 28 w 195"/>
                  <a:gd name="T39" fmla="*/ 34 h 184"/>
                  <a:gd name="T40" fmla="*/ 34 w 195"/>
                  <a:gd name="T41" fmla="*/ 40 h 184"/>
                  <a:gd name="T42" fmla="*/ 40 w 195"/>
                  <a:gd name="T43" fmla="*/ 47 h 184"/>
                  <a:gd name="T44" fmla="*/ 43 w 195"/>
                  <a:gd name="T45" fmla="*/ 48 h 184"/>
                  <a:gd name="T46" fmla="*/ 48 w 195"/>
                  <a:gd name="T47" fmla="*/ 50 h 184"/>
                  <a:gd name="T48" fmla="*/ 58 w 195"/>
                  <a:gd name="T49" fmla="*/ 55 h 184"/>
                  <a:gd name="T50" fmla="*/ 62 w 195"/>
                  <a:gd name="T51" fmla="*/ 58 h 184"/>
                  <a:gd name="T52" fmla="*/ 65 w 195"/>
                  <a:gd name="T53" fmla="*/ 61 h 184"/>
                  <a:gd name="T54" fmla="*/ 70 w 195"/>
                  <a:gd name="T55" fmla="*/ 70 h 184"/>
                  <a:gd name="T56" fmla="*/ 68 w 195"/>
                  <a:gd name="T57" fmla="*/ 78 h 184"/>
                  <a:gd name="T58" fmla="*/ 71 w 195"/>
                  <a:gd name="T59" fmla="*/ 81 h 184"/>
                  <a:gd name="T60" fmla="*/ 75 w 195"/>
                  <a:gd name="T61" fmla="*/ 75 h 184"/>
                  <a:gd name="T62" fmla="*/ 77 w 195"/>
                  <a:gd name="T63" fmla="*/ 71 h 184"/>
                  <a:gd name="T64" fmla="*/ 79 w 195"/>
                  <a:gd name="T65" fmla="*/ 69 h 184"/>
                  <a:gd name="T66" fmla="*/ 75 w 195"/>
                  <a:gd name="T67" fmla="*/ 65 h 184"/>
                  <a:gd name="T68" fmla="*/ 76 w 195"/>
                  <a:gd name="T69" fmla="*/ 58 h 184"/>
                  <a:gd name="T70" fmla="*/ 80 w 195"/>
                  <a:gd name="T71" fmla="*/ 59 h 184"/>
                  <a:gd name="T72" fmla="*/ 86 w 195"/>
                  <a:gd name="T73" fmla="*/ 63 h 184"/>
                  <a:gd name="T74" fmla="*/ 87 w 195"/>
                  <a:gd name="T75" fmla="*/ 59 h 184"/>
                  <a:gd name="T76" fmla="*/ 77 w 195"/>
                  <a:gd name="T77" fmla="*/ 54 h 184"/>
                  <a:gd name="T78" fmla="*/ 68 w 195"/>
                  <a:gd name="T79" fmla="*/ 49 h 184"/>
                  <a:gd name="T80" fmla="*/ 70 w 195"/>
                  <a:gd name="T81" fmla="*/ 45 h 184"/>
                  <a:gd name="T82" fmla="*/ 67 w 195"/>
                  <a:gd name="T83" fmla="*/ 44 h 184"/>
                  <a:gd name="T84" fmla="*/ 58 w 195"/>
                  <a:gd name="T85" fmla="*/ 42 h 184"/>
                  <a:gd name="T86" fmla="*/ 53 w 195"/>
                  <a:gd name="T87" fmla="*/ 36 h 184"/>
                  <a:gd name="T88" fmla="*/ 50 w 195"/>
                  <a:gd name="T89" fmla="*/ 30 h 184"/>
                  <a:gd name="T90" fmla="*/ 43 w 195"/>
                  <a:gd name="T91" fmla="*/ 26 h 184"/>
                  <a:gd name="T92" fmla="*/ 40 w 195"/>
                  <a:gd name="T93" fmla="*/ 19 h 184"/>
                  <a:gd name="T94" fmla="*/ 38 w 195"/>
                  <a:gd name="T95" fmla="*/ 15 h 184"/>
                  <a:gd name="T96" fmla="*/ 46 w 195"/>
                  <a:gd name="T97" fmla="*/ 11 h 184"/>
                  <a:gd name="T98" fmla="*/ 49 w 195"/>
                  <a:gd name="T99" fmla="*/ 12 h 184"/>
                  <a:gd name="T100" fmla="*/ 47 w 195"/>
                  <a:gd name="T101" fmla="*/ 6 h 184"/>
                  <a:gd name="T102" fmla="*/ 48 w 195"/>
                  <a:gd name="T103" fmla="*/ 3 h 18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95" h="184">
                    <a:moveTo>
                      <a:pt x="108" y="6"/>
                    </a:moveTo>
                    <a:lnTo>
                      <a:pt x="84" y="0"/>
                    </a:lnTo>
                    <a:lnTo>
                      <a:pt x="65" y="1"/>
                    </a:lnTo>
                    <a:lnTo>
                      <a:pt x="56" y="1"/>
                    </a:lnTo>
                    <a:lnTo>
                      <a:pt x="53" y="5"/>
                    </a:lnTo>
                    <a:lnTo>
                      <a:pt x="48" y="10"/>
                    </a:lnTo>
                    <a:lnTo>
                      <a:pt x="39" y="10"/>
                    </a:lnTo>
                    <a:lnTo>
                      <a:pt x="31" y="20"/>
                    </a:lnTo>
                    <a:lnTo>
                      <a:pt x="22" y="10"/>
                    </a:lnTo>
                    <a:lnTo>
                      <a:pt x="12" y="18"/>
                    </a:lnTo>
                    <a:lnTo>
                      <a:pt x="2" y="20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1"/>
                    </a:lnTo>
                    <a:lnTo>
                      <a:pt x="0" y="48"/>
                    </a:lnTo>
                    <a:lnTo>
                      <a:pt x="12" y="55"/>
                    </a:lnTo>
                    <a:lnTo>
                      <a:pt x="12" y="63"/>
                    </a:lnTo>
                    <a:lnTo>
                      <a:pt x="28" y="51"/>
                    </a:lnTo>
                    <a:lnTo>
                      <a:pt x="48" y="56"/>
                    </a:lnTo>
                    <a:lnTo>
                      <a:pt x="62" y="78"/>
                    </a:lnTo>
                    <a:lnTo>
                      <a:pt x="76" y="91"/>
                    </a:lnTo>
                    <a:lnTo>
                      <a:pt x="90" y="106"/>
                    </a:lnTo>
                    <a:lnTo>
                      <a:pt x="96" y="108"/>
                    </a:lnTo>
                    <a:lnTo>
                      <a:pt x="108" y="113"/>
                    </a:lnTo>
                    <a:lnTo>
                      <a:pt x="130" y="126"/>
                    </a:lnTo>
                    <a:lnTo>
                      <a:pt x="139" y="132"/>
                    </a:lnTo>
                    <a:lnTo>
                      <a:pt x="145" y="139"/>
                    </a:lnTo>
                    <a:lnTo>
                      <a:pt x="158" y="159"/>
                    </a:lnTo>
                    <a:lnTo>
                      <a:pt x="153" y="177"/>
                    </a:lnTo>
                    <a:lnTo>
                      <a:pt x="159" y="184"/>
                    </a:lnTo>
                    <a:lnTo>
                      <a:pt x="167" y="171"/>
                    </a:lnTo>
                    <a:lnTo>
                      <a:pt x="173" y="162"/>
                    </a:lnTo>
                    <a:lnTo>
                      <a:pt x="176" y="156"/>
                    </a:lnTo>
                    <a:lnTo>
                      <a:pt x="167" y="147"/>
                    </a:lnTo>
                    <a:lnTo>
                      <a:pt x="170" y="131"/>
                    </a:lnTo>
                    <a:lnTo>
                      <a:pt x="179" y="134"/>
                    </a:lnTo>
                    <a:lnTo>
                      <a:pt x="192" y="144"/>
                    </a:lnTo>
                    <a:lnTo>
                      <a:pt x="195" y="134"/>
                    </a:lnTo>
                    <a:lnTo>
                      <a:pt x="173" y="123"/>
                    </a:lnTo>
                    <a:lnTo>
                      <a:pt x="153" y="111"/>
                    </a:lnTo>
                    <a:lnTo>
                      <a:pt x="156" y="103"/>
                    </a:lnTo>
                    <a:lnTo>
                      <a:pt x="150" y="101"/>
                    </a:lnTo>
                    <a:lnTo>
                      <a:pt x="130" y="96"/>
                    </a:lnTo>
                    <a:lnTo>
                      <a:pt x="119" y="81"/>
                    </a:lnTo>
                    <a:lnTo>
                      <a:pt x="111" y="69"/>
                    </a:lnTo>
                    <a:lnTo>
                      <a:pt x="96" y="60"/>
                    </a:lnTo>
                    <a:lnTo>
                      <a:pt x="90" y="43"/>
                    </a:lnTo>
                    <a:lnTo>
                      <a:pt x="85" y="33"/>
                    </a:lnTo>
                    <a:lnTo>
                      <a:pt x="102" y="25"/>
                    </a:lnTo>
                    <a:lnTo>
                      <a:pt x="110" y="28"/>
                    </a:lnTo>
                    <a:lnTo>
                      <a:pt x="105" y="13"/>
                    </a:lnTo>
                    <a:lnTo>
                      <a:pt x="108" y="6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08" name="Freeform 338">
                <a:extLst>
                  <a:ext uri="{FF2B5EF4-FFF2-40B4-BE49-F238E27FC236}">
                    <a16:creationId xmlns:a16="http://schemas.microsoft.com/office/drawing/2014/main" id="{A29BD669-5BEB-D9C0-3E36-808576932A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67" y="3249"/>
                <a:ext cx="2" cy="1"/>
              </a:xfrm>
              <a:custGeom>
                <a:avLst/>
                <a:gdLst>
                  <a:gd name="T0" fmla="*/ 2 w 3"/>
                  <a:gd name="T1" fmla="*/ 0 h 1"/>
                  <a:gd name="T2" fmla="*/ 1 w 3"/>
                  <a:gd name="T3" fmla="*/ 0 h 1"/>
                  <a:gd name="T4" fmla="*/ 0 w 3"/>
                  <a:gd name="T5" fmla="*/ 0 h 1"/>
                  <a:gd name="T6" fmla="*/ 0 w 3"/>
                  <a:gd name="T7" fmla="*/ 0 h 1"/>
                  <a:gd name="T8" fmla="*/ 1 w 3"/>
                  <a:gd name="T9" fmla="*/ 0 h 1"/>
                  <a:gd name="T10" fmla="*/ 2 w 3"/>
                  <a:gd name="T11" fmla="*/ 0 h 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09" name="Freeform 339">
                <a:extLst>
                  <a:ext uri="{FF2B5EF4-FFF2-40B4-BE49-F238E27FC236}">
                    <a16:creationId xmlns:a16="http://schemas.microsoft.com/office/drawing/2014/main" id="{E9BA5D54-6397-D24B-B94B-1753038357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70" y="3269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10" name="Freeform 340">
                <a:extLst>
                  <a:ext uri="{FF2B5EF4-FFF2-40B4-BE49-F238E27FC236}">
                    <a16:creationId xmlns:a16="http://schemas.microsoft.com/office/drawing/2014/main" id="{DEA05017-03B2-A470-6984-A93D99C01D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71" y="3300"/>
                <a:ext cx="23" cy="15"/>
              </a:xfrm>
              <a:custGeom>
                <a:avLst/>
                <a:gdLst>
                  <a:gd name="T0" fmla="*/ 20 w 55"/>
                  <a:gd name="T1" fmla="*/ 9 h 33"/>
                  <a:gd name="T2" fmla="*/ 20 w 55"/>
                  <a:gd name="T3" fmla="*/ 15 h 33"/>
                  <a:gd name="T4" fmla="*/ 10 w 55"/>
                  <a:gd name="T5" fmla="*/ 10 h 33"/>
                  <a:gd name="T6" fmla="*/ 2 w 55"/>
                  <a:gd name="T7" fmla="*/ 6 h 33"/>
                  <a:gd name="T8" fmla="*/ 0 w 55"/>
                  <a:gd name="T9" fmla="*/ 2 h 33"/>
                  <a:gd name="T10" fmla="*/ 7 w 55"/>
                  <a:gd name="T11" fmla="*/ 2 h 33"/>
                  <a:gd name="T12" fmla="*/ 14 w 55"/>
                  <a:gd name="T13" fmla="*/ 0 h 33"/>
                  <a:gd name="T14" fmla="*/ 23 w 55"/>
                  <a:gd name="T15" fmla="*/ 0 h 33"/>
                  <a:gd name="T16" fmla="*/ 20 w 55"/>
                  <a:gd name="T17" fmla="*/ 9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5" h="33">
                    <a:moveTo>
                      <a:pt x="47" y="19"/>
                    </a:moveTo>
                    <a:lnTo>
                      <a:pt x="47" y="33"/>
                    </a:lnTo>
                    <a:lnTo>
                      <a:pt x="25" y="23"/>
                    </a:lnTo>
                    <a:lnTo>
                      <a:pt x="5" y="14"/>
                    </a:lnTo>
                    <a:lnTo>
                      <a:pt x="0" y="5"/>
                    </a:lnTo>
                    <a:lnTo>
                      <a:pt x="16" y="5"/>
                    </a:lnTo>
                    <a:lnTo>
                      <a:pt x="34" y="1"/>
                    </a:lnTo>
                    <a:lnTo>
                      <a:pt x="55" y="0"/>
                    </a:lnTo>
                    <a:lnTo>
                      <a:pt x="47" y="1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11" name="Freeform 341">
                <a:extLst>
                  <a:ext uri="{FF2B5EF4-FFF2-40B4-BE49-F238E27FC236}">
                    <a16:creationId xmlns:a16="http://schemas.microsoft.com/office/drawing/2014/main" id="{23273D29-0624-56ED-CC30-8BDCDD1451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39" y="3274"/>
                <a:ext cx="12" cy="20"/>
              </a:xfrm>
              <a:custGeom>
                <a:avLst/>
                <a:gdLst>
                  <a:gd name="T0" fmla="*/ 6 w 26"/>
                  <a:gd name="T1" fmla="*/ 18 h 48"/>
                  <a:gd name="T2" fmla="*/ 4 w 26"/>
                  <a:gd name="T3" fmla="*/ 20 h 48"/>
                  <a:gd name="T4" fmla="*/ 2 w 26"/>
                  <a:gd name="T5" fmla="*/ 16 h 48"/>
                  <a:gd name="T6" fmla="*/ 1 w 26"/>
                  <a:gd name="T7" fmla="*/ 9 h 48"/>
                  <a:gd name="T8" fmla="*/ 0 w 26"/>
                  <a:gd name="T9" fmla="*/ 3 h 48"/>
                  <a:gd name="T10" fmla="*/ 7 w 26"/>
                  <a:gd name="T11" fmla="*/ 0 h 48"/>
                  <a:gd name="T12" fmla="*/ 12 w 26"/>
                  <a:gd name="T13" fmla="*/ 6 h 48"/>
                  <a:gd name="T14" fmla="*/ 11 w 26"/>
                  <a:gd name="T15" fmla="*/ 17 h 48"/>
                  <a:gd name="T16" fmla="*/ 6 w 26"/>
                  <a:gd name="T17" fmla="*/ 18 h 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6" h="48">
                    <a:moveTo>
                      <a:pt x="14" y="42"/>
                    </a:moveTo>
                    <a:lnTo>
                      <a:pt x="9" y="48"/>
                    </a:lnTo>
                    <a:lnTo>
                      <a:pt x="4" y="38"/>
                    </a:lnTo>
                    <a:lnTo>
                      <a:pt x="3" y="22"/>
                    </a:lnTo>
                    <a:lnTo>
                      <a:pt x="0" y="7"/>
                    </a:lnTo>
                    <a:lnTo>
                      <a:pt x="15" y="0"/>
                    </a:lnTo>
                    <a:lnTo>
                      <a:pt x="26" y="15"/>
                    </a:lnTo>
                    <a:lnTo>
                      <a:pt x="23" y="40"/>
                    </a:lnTo>
                    <a:lnTo>
                      <a:pt x="14" y="4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12" name="Freeform 342">
                <a:extLst>
                  <a:ext uri="{FF2B5EF4-FFF2-40B4-BE49-F238E27FC236}">
                    <a16:creationId xmlns:a16="http://schemas.microsoft.com/office/drawing/2014/main" id="{D582E94D-9222-42F7-9DF6-4329B99DCC1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72" y="3267"/>
                <a:ext cx="141" cy="54"/>
              </a:xfrm>
              <a:custGeom>
                <a:avLst/>
                <a:gdLst>
                  <a:gd name="T0" fmla="*/ 93 w 317"/>
                  <a:gd name="T1" fmla="*/ 45 h 123"/>
                  <a:gd name="T2" fmla="*/ 81 w 317"/>
                  <a:gd name="T3" fmla="*/ 47 h 123"/>
                  <a:gd name="T4" fmla="*/ 77 w 317"/>
                  <a:gd name="T5" fmla="*/ 54 h 123"/>
                  <a:gd name="T6" fmla="*/ 76 w 317"/>
                  <a:gd name="T7" fmla="*/ 52 h 123"/>
                  <a:gd name="T8" fmla="*/ 73 w 317"/>
                  <a:gd name="T9" fmla="*/ 47 h 123"/>
                  <a:gd name="T10" fmla="*/ 62 w 317"/>
                  <a:gd name="T11" fmla="*/ 49 h 123"/>
                  <a:gd name="T12" fmla="*/ 48 w 317"/>
                  <a:gd name="T13" fmla="*/ 51 h 123"/>
                  <a:gd name="T14" fmla="*/ 34 w 317"/>
                  <a:gd name="T15" fmla="*/ 50 h 123"/>
                  <a:gd name="T16" fmla="*/ 24 w 317"/>
                  <a:gd name="T17" fmla="*/ 49 h 123"/>
                  <a:gd name="T18" fmla="*/ 16 w 317"/>
                  <a:gd name="T19" fmla="*/ 47 h 123"/>
                  <a:gd name="T20" fmla="*/ 16 w 317"/>
                  <a:gd name="T21" fmla="*/ 44 h 123"/>
                  <a:gd name="T22" fmla="*/ 11 w 317"/>
                  <a:gd name="T23" fmla="*/ 41 h 123"/>
                  <a:gd name="T24" fmla="*/ 8 w 317"/>
                  <a:gd name="T25" fmla="*/ 36 h 123"/>
                  <a:gd name="T26" fmla="*/ 1 w 317"/>
                  <a:gd name="T27" fmla="*/ 31 h 123"/>
                  <a:gd name="T28" fmla="*/ 6 w 317"/>
                  <a:gd name="T29" fmla="*/ 31 h 123"/>
                  <a:gd name="T30" fmla="*/ 5 w 317"/>
                  <a:gd name="T31" fmla="*/ 27 h 123"/>
                  <a:gd name="T32" fmla="*/ 0 w 317"/>
                  <a:gd name="T33" fmla="*/ 21 h 123"/>
                  <a:gd name="T34" fmla="*/ 7 w 317"/>
                  <a:gd name="T35" fmla="*/ 14 h 123"/>
                  <a:gd name="T36" fmla="*/ 19 w 317"/>
                  <a:gd name="T37" fmla="*/ 13 h 123"/>
                  <a:gd name="T38" fmla="*/ 23 w 317"/>
                  <a:gd name="T39" fmla="*/ 10 h 123"/>
                  <a:gd name="T40" fmla="*/ 33 w 317"/>
                  <a:gd name="T41" fmla="*/ 8 h 123"/>
                  <a:gd name="T42" fmla="*/ 50 w 317"/>
                  <a:gd name="T43" fmla="*/ 1 h 123"/>
                  <a:gd name="T44" fmla="*/ 63 w 317"/>
                  <a:gd name="T45" fmla="*/ 0 h 123"/>
                  <a:gd name="T46" fmla="*/ 70 w 317"/>
                  <a:gd name="T47" fmla="*/ 4 h 123"/>
                  <a:gd name="T48" fmla="*/ 89 w 317"/>
                  <a:gd name="T49" fmla="*/ 8 h 123"/>
                  <a:gd name="T50" fmla="*/ 110 w 317"/>
                  <a:gd name="T51" fmla="*/ 3 h 123"/>
                  <a:gd name="T52" fmla="*/ 124 w 317"/>
                  <a:gd name="T53" fmla="*/ 7 h 123"/>
                  <a:gd name="T54" fmla="*/ 130 w 317"/>
                  <a:gd name="T55" fmla="*/ 17 h 123"/>
                  <a:gd name="T56" fmla="*/ 133 w 317"/>
                  <a:gd name="T57" fmla="*/ 22 h 123"/>
                  <a:gd name="T58" fmla="*/ 136 w 317"/>
                  <a:gd name="T59" fmla="*/ 36 h 123"/>
                  <a:gd name="T60" fmla="*/ 137 w 317"/>
                  <a:gd name="T61" fmla="*/ 43 h 123"/>
                  <a:gd name="T62" fmla="*/ 125 w 317"/>
                  <a:gd name="T63" fmla="*/ 41 h 123"/>
                  <a:gd name="T64" fmla="*/ 121 w 317"/>
                  <a:gd name="T65" fmla="*/ 42 h 123"/>
                  <a:gd name="T66" fmla="*/ 106 w 317"/>
                  <a:gd name="T67" fmla="*/ 46 h 12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17" h="123">
                    <a:moveTo>
                      <a:pt x="238" y="104"/>
                    </a:moveTo>
                    <a:lnTo>
                      <a:pt x="210" y="103"/>
                    </a:lnTo>
                    <a:lnTo>
                      <a:pt x="187" y="106"/>
                    </a:lnTo>
                    <a:lnTo>
                      <a:pt x="181" y="108"/>
                    </a:lnTo>
                    <a:lnTo>
                      <a:pt x="178" y="116"/>
                    </a:lnTo>
                    <a:lnTo>
                      <a:pt x="172" y="123"/>
                    </a:lnTo>
                    <a:lnTo>
                      <a:pt x="170" y="121"/>
                    </a:lnTo>
                    <a:lnTo>
                      <a:pt x="170" y="119"/>
                    </a:lnTo>
                    <a:lnTo>
                      <a:pt x="172" y="103"/>
                    </a:lnTo>
                    <a:lnTo>
                      <a:pt x="164" y="106"/>
                    </a:lnTo>
                    <a:lnTo>
                      <a:pt x="153" y="106"/>
                    </a:lnTo>
                    <a:lnTo>
                      <a:pt x="139" y="111"/>
                    </a:lnTo>
                    <a:lnTo>
                      <a:pt x="122" y="119"/>
                    </a:lnTo>
                    <a:lnTo>
                      <a:pt x="108" y="116"/>
                    </a:lnTo>
                    <a:lnTo>
                      <a:pt x="80" y="103"/>
                    </a:lnTo>
                    <a:lnTo>
                      <a:pt x="76" y="113"/>
                    </a:lnTo>
                    <a:lnTo>
                      <a:pt x="68" y="116"/>
                    </a:lnTo>
                    <a:lnTo>
                      <a:pt x="53" y="111"/>
                    </a:lnTo>
                    <a:lnTo>
                      <a:pt x="43" y="106"/>
                    </a:lnTo>
                    <a:lnTo>
                      <a:pt x="36" y="106"/>
                    </a:lnTo>
                    <a:lnTo>
                      <a:pt x="28" y="106"/>
                    </a:lnTo>
                    <a:lnTo>
                      <a:pt x="37" y="101"/>
                    </a:lnTo>
                    <a:lnTo>
                      <a:pt x="23" y="99"/>
                    </a:lnTo>
                    <a:lnTo>
                      <a:pt x="25" y="94"/>
                    </a:lnTo>
                    <a:lnTo>
                      <a:pt x="17" y="88"/>
                    </a:lnTo>
                    <a:lnTo>
                      <a:pt x="19" y="83"/>
                    </a:lnTo>
                    <a:lnTo>
                      <a:pt x="5" y="76"/>
                    </a:lnTo>
                    <a:lnTo>
                      <a:pt x="2" y="70"/>
                    </a:lnTo>
                    <a:lnTo>
                      <a:pt x="8" y="70"/>
                    </a:lnTo>
                    <a:lnTo>
                      <a:pt x="14" y="71"/>
                    </a:lnTo>
                    <a:lnTo>
                      <a:pt x="11" y="65"/>
                    </a:lnTo>
                    <a:lnTo>
                      <a:pt x="11" y="61"/>
                    </a:lnTo>
                    <a:lnTo>
                      <a:pt x="8" y="51"/>
                    </a:lnTo>
                    <a:lnTo>
                      <a:pt x="0" y="48"/>
                    </a:lnTo>
                    <a:lnTo>
                      <a:pt x="0" y="35"/>
                    </a:lnTo>
                    <a:lnTo>
                      <a:pt x="15" y="33"/>
                    </a:lnTo>
                    <a:lnTo>
                      <a:pt x="22" y="28"/>
                    </a:lnTo>
                    <a:lnTo>
                      <a:pt x="42" y="30"/>
                    </a:lnTo>
                    <a:lnTo>
                      <a:pt x="56" y="25"/>
                    </a:lnTo>
                    <a:lnTo>
                      <a:pt x="51" y="23"/>
                    </a:lnTo>
                    <a:lnTo>
                      <a:pt x="42" y="17"/>
                    </a:lnTo>
                    <a:lnTo>
                      <a:pt x="74" y="18"/>
                    </a:lnTo>
                    <a:lnTo>
                      <a:pt x="96" y="2"/>
                    </a:lnTo>
                    <a:lnTo>
                      <a:pt x="113" y="2"/>
                    </a:lnTo>
                    <a:lnTo>
                      <a:pt x="130" y="0"/>
                    </a:lnTo>
                    <a:lnTo>
                      <a:pt x="141" y="0"/>
                    </a:lnTo>
                    <a:lnTo>
                      <a:pt x="150" y="5"/>
                    </a:lnTo>
                    <a:lnTo>
                      <a:pt x="158" y="10"/>
                    </a:lnTo>
                    <a:lnTo>
                      <a:pt x="181" y="15"/>
                    </a:lnTo>
                    <a:lnTo>
                      <a:pt x="201" y="18"/>
                    </a:lnTo>
                    <a:lnTo>
                      <a:pt x="223" y="20"/>
                    </a:lnTo>
                    <a:lnTo>
                      <a:pt x="248" y="7"/>
                    </a:lnTo>
                    <a:lnTo>
                      <a:pt x="268" y="7"/>
                    </a:lnTo>
                    <a:lnTo>
                      <a:pt x="278" y="15"/>
                    </a:lnTo>
                    <a:lnTo>
                      <a:pt x="285" y="28"/>
                    </a:lnTo>
                    <a:lnTo>
                      <a:pt x="292" y="38"/>
                    </a:lnTo>
                    <a:lnTo>
                      <a:pt x="308" y="45"/>
                    </a:lnTo>
                    <a:lnTo>
                      <a:pt x="299" y="51"/>
                    </a:lnTo>
                    <a:lnTo>
                      <a:pt x="302" y="61"/>
                    </a:lnTo>
                    <a:lnTo>
                      <a:pt x="306" y="83"/>
                    </a:lnTo>
                    <a:lnTo>
                      <a:pt x="317" y="98"/>
                    </a:lnTo>
                    <a:lnTo>
                      <a:pt x="308" y="98"/>
                    </a:lnTo>
                    <a:lnTo>
                      <a:pt x="302" y="94"/>
                    </a:lnTo>
                    <a:lnTo>
                      <a:pt x="280" y="94"/>
                    </a:lnTo>
                    <a:lnTo>
                      <a:pt x="275" y="98"/>
                    </a:lnTo>
                    <a:lnTo>
                      <a:pt x="271" y="96"/>
                    </a:lnTo>
                    <a:lnTo>
                      <a:pt x="255" y="99"/>
                    </a:lnTo>
                    <a:lnTo>
                      <a:pt x="238" y="10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13" name="Freeform 343">
                <a:extLst>
                  <a:ext uri="{FF2B5EF4-FFF2-40B4-BE49-F238E27FC236}">
                    <a16:creationId xmlns:a16="http://schemas.microsoft.com/office/drawing/2014/main" id="{41C177A8-B1E2-68DD-2908-1CAF280431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69" y="3266"/>
                <a:ext cx="21" cy="16"/>
              </a:xfrm>
              <a:custGeom>
                <a:avLst/>
                <a:gdLst>
                  <a:gd name="T0" fmla="*/ 2 w 48"/>
                  <a:gd name="T1" fmla="*/ 1 h 37"/>
                  <a:gd name="T2" fmla="*/ 1 w 48"/>
                  <a:gd name="T3" fmla="*/ 3 h 37"/>
                  <a:gd name="T4" fmla="*/ 4 w 48"/>
                  <a:gd name="T5" fmla="*/ 6 h 37"/>
                  <a:gd name="T6" fmla="*/ 0 w 48"/>
                  <a:gd name="T7" fmla="*/ 12 h 37"/>
                  <a:gd name="T8" fmla="*/ 5 w 48"/>
                  <a:gd name="T9" fmla="*/ 12 h 37"/>
                  <a:gd name="T10" fmla="*/ 2 w 48"/>
                  <a:gd name="T11" fmla="*/ 16 h 37"/>
                  <a:gd name="T12" fmla="*/ 10 w 48"/>
                  <a:gd name="T13" fmla="*/ 10 h 37"/>
                  <a:gd name="T14" fmla="*/ 21 w 48"/>
                  <a:gd name="T15" fmla="*/ 9 h 37"/>
                  <a:gd name="T16" fmla="*/ 18 w 48"/>
                  <a:gd name="T17" fmla="*/ 6 h 37"/>
                  <a:gd name="T18" fmla="*/ 12 w 48"/>
                  <a:gd name="T19" fmla="*/ 0 h 37"/>
                  <a:gd name="T20" fmla="*/ 2 w 48"/>
                  <a:gd name="T21" fmla="*/ 1 h 3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8" h="37">
                    <a:moveTo>
                      <a:pt x="5" y="2"/>
                    </a:moveTo>
                    <a:lnTo>
                      <a:pt x="3" y="7"/>
                    </a:lnTo>
                    <a:lnTo>
                      <a:pt x="8" y="14"/>
                    </a:lnTo>
                    <a:lnTo>
                      <a:pt x="0" y="27"/>
                    </a:lnTo>
                    <a:lnTo>
                      <a:pt x="11" y="27"/>
                    </a:lnTo>
                    <a:lnTo>
                      <a:pt x="5" y="37"/>
                    </a:lnTo>
                    <a:lnTo>
                      <a:pt x="23" y="24"/>
                    </a:lnTo>
                    <a:lnTo>
                      <a:pt x="48" y="20"/>
                    </a:lnTo>
                    <a:lnTo>
                      <a:pt x="40" y="14"/>
                    </a:lnTo>
                    <a:lnTo>
                      <a:pt x="28" y="0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14" name="Freeform 344">
                <a:extLst>
                  <a:ext uri="{FF2B5EF4-FFF2-40B4-BE49-F238E27FC236}">
                    <a16:creationId xmlns:a16="http://schemas.microsoft.com/office/drawing/2014/main" id="{2636AB37-EF8B-69DA-A690-B36078FEE6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35" y="3144"/>
                <a:ext cx="62" cy="39"/>
              </a:xfrm>
              <a:custGeom>
                <a:avLst/>
                <a:gdLst>
                  <a:gd name="T0" fmla="*/ 62 w 141"/>
                  <a:gd name="T1" fmla="*/ 22 h 90"/>
                  <a:gd name="T2" fmla="*/ 59 w 141"/>
                  <a:gd name="T3" fmla="*/ 24 h 90"/>
                  <a:gd name="T4" fmla="*/ 61 w 141"/>
                  <a:gd name="T5" fmla="*/ 32 h 90"/>
                  <a:gd name="T6" fmla="*/ 52 w 141"/>
                  <a:gd name="T7" fmla="*/ 36 h 90"/>
                  <a:gd name="T8" fmla="*/ 53 w 141"/>
                  <a:gd name="T9" fmla="*/ 39 h 90"/>
                  <a:gd name="T10" fmla="*/ 41 w 141"/>
                  <a:gd name="T11" fmla="*/ 37 h 90"/>
                  <a:gd name="T12" fmla="*/ 29 w 141"/>
                  <a:gd name="T13" fmla="*/ 35 h 90"/>
                  <a:gd name="T14" fmla="*/ 17 w 141"/>
                  <a:gd name="T15" fmla="*/ 35 h 90"/>
                  <a:gd name="T16" fmla="*/ 5 w 141"/>
                  <a:gd name="T17" fmla="*/ 35 h 90"/>
                  <a:gd name="T18" fmla="*/ 1 w 141"/>
                  <a:gd name="T19" fmla="*/ 32 h 90"/>
                  <a:gd name="T20" fmla="*/ 5 w 141"/>
                  <a:gd name="T21" fmla="*/ 26 h 90"/>
                  <a:gd name="T22" fmla="*/ 0 w 141"/>
                  <a:gd name="T23" fmla="*/ 15 h 90"/>
                  <a:gd name="T24" fmla="*/ 10 w 141"/>
                  <a:gd name="T25" fmla="*/ 8 h 90"/>
                  <a:gd name="T26" fmla="*/ 20 w 141"/>
                  <a:gd name="T27" fmla="*/ 1 h 90"/>
                  <a:gd name="T28" fmla="*/ 30 w 141"/>
                  <a:gd name="T29" fmla="*/ 0 h 90"/>
                  <a:gd name="T30" fmla="*/ 41 w 141"/>
                  <a:gd name="T31" fmla="*/ 2 h 90"/>
                  <a:gd name="T32" fmla="*/ 51 w 141"/>
                  <a:gd name="T33" fmla="*/ 3 h 90"/>
                  <a:gd name="T34" fmla="*/ 52 w 141"/>
                  <a:gd name="T35" fmla="*/ 14 h 90"/>
                  <a:gd name="T36" fmla="*/ 62 w 141"/>
                  <a:gd name="T37" fmla="*/ 22 h 9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141" h="90">
                    <a:moveTo>
                      <a:pt x="141" y="50"/>
                    </a:moveTo>
                    <a:lnTo>
                      <a:pt x="134" y="55"/>
                    </a:lnTo>
                    <a:lnTo>
                      <a:pt x="139" y="73"/>
                    </a:lnTo>
                    <a:lnTo>
                      <a:pt x="119" y="83"/>
                    </a:lnTo>
                    <a:lnTo>
                      <a:pt x="121" y="90"/>
                    </a:lnTo>
                    <a:lnTo>
                      <a:pt x="93" y="86"/>
                    </a:lnTo>
                    <a:lnTo>
                      <a:pt x="65" y="80"/>
                    </a:lnTo>
                    <a:lnTo>
                      <a:pt x="39" y="80"/>
                    </a:lnTo>
                    <a:lnTo>
                      <a:pt x="12" y="80"/>
                    </a:lnTo>
                    <a:lnTo>
                      <a:pt x="3" y="73"/>
                    </a:lnTo>
                    <a:lnTo>
                      <a:pt x="12" y="60"/>
                    </a:lnTo>
                    <a:lnTo>
                      <a:pt x="0" y="35"/>
                    </a:lnTo>
                    <a:lnTo>
                      <a:pt x="23" y="18"/>
                    </a:lnTo>
                    <a:lnTo>
                      <a:pt x="46" y="3"/>
                    </a:lnTo>
                    <a:lnTo>
                      <a:pt x="68" y="0"/>
                    </a:lnTo>
                    <a:lnTo>
                      <a:pt x="93" y="5"/>
                    </a:lnTo>
                    <a:lnTo>
                      <a:pt x="116" y="8"/>
                    </a:lnTo>
                    <a:lnTo>
                      <a:pt x="119" y="32"/>
                    </a:lnTo>
                    <a:lnTo>
                      <a:pt x="141" y="5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15" name="Freeform 345">
                <a:extLst>
                  <a:ext uri="{FF2B5EF4-FFF2-40B4-BE49-F238E27FC236}">
                    <a16:creationId xmlns:a16="http://schemas.microsoft.com/office/drawing/2014/main" id="{EE11648D-5785-1AF4-ACE5-AB3D0C1BB3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32" y="3137"/>
                <a:ext cx="17" cy="17"/>
              </a:xfrm>
              <a:custGeom>
                <a:avLst/>
                <a:gdLst>
                  <a:gd name="T0" fmla="*/ 10 w 37"/>
                  <a:gd name="T1" fmla="*/ 15 h 39"/>
                  <a:gd name="T2" fmla="*/ 8 w 37"/>
                  <a:gd name="T3" fmla="*/ 17 h 39"/>
                  <a:gd name="T4" fmla="*/ 4 w 37"/>
                  <a:gd name="T5" fmla="*/ 17 h 39"/>
                  <a:gd name="T6" fmla="*/ 2 w 37"/>
                  <a:gd name="T7" fmla="*/ 15 h 39"/>
                  <a:gd name="T8" fmla="*/ 0 w 37"/>
                  <a:gd name="T9" fmla="*/ 11 h 39"/>
                  <a:gd name="T10" fmla="*/ 0 w 37"/>
                  <a:gd name="T11" fmla="*/ 3 h 39"/>
                  <a:gd name="T12" fmla="*/ 4 w 37"/>
                  <a:gd name="T13" fmla="*/ 1 h 39"/>
                  <a:gd name="T14" fmla="*/ 6 w 37"/>
                  <a:gd name="T15" fmla="*/ 3 h 39"/>
                  <a:gd name="T16" fmla="*/ 6 w 37"/>
                  <a:gd name="T17" fmla="*/ 0 h 39"/>
                  <a:gd name="T18" fmla="*/ 11 w 37"/>
                  <a:gd name="T19" fmla="*/ 0 h 39"/>
                  <a:gd name="T20" fmla="*/ 13 w 37"/>
                  <a:gd name="T21" fmla="*/ 3 h 39"/>
                  <a:gd name="T22" fmla="*/ 17 w 37"/>
                  <a:gd name="T23" fmla="*/ 3 h 39"/>
                  <a:gd name="T24" fmla="*/ 15 w 37"/>
                  <a:gd name="T25" fmla="*/ 6 h 39"/>
                  <a:gd name="T26" fmla="*/ 10 w 37"/>
                  <a:gd name="T27" fmla="*/ 10 h 39"/>
                  <a:gd name="T28" fmla="*/ 11 w 37"/>
                  <a:gd name="T29" fmla="*/ 11 h 39"/>
                  <a:gd name="T30" fmla="*/ 10 w 37"/>
                  <a:gd name="T31" fmla="*/ 15 h 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7" h="39">
                    <a:moveTo>
                      <a:pt x="21" y="34"/>
                    </a:moveTo>
                    <a:lnTo>
                      <a:pt x="18" y="39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1" y="26"/>
                    </a:lnTo>
                    <a:lnTo>
                      <a:pt x="0" y="6"/>
                    </a:lnTo>
                    <a:lnTo>
                      <a:pt x="8" y="3"/>
                    </a:lnTo>
                    <a:lnTo>
                      <a:pt x="12" y="6"/>
                    </a:lnTo>
                    <a:lnTo>
                      <a:pt x="12" y="1"/>
                    </a:lnTo>
                    <a:lnTo>
                      <a:pt x="25" y="0"/>
                    </a:lnTo>
                    <a:lnTo>
                      <a:pt x="29" y="6"/>
                    </a:lnTo>
                    <a:lnTo>
                      <a:pt x="37" y="6"/>
                    </a:lnTo>
                    <a:lnTo>
                      <a:pt x="32" y="14"/>
                    </a:lnTo>
                    <a:lnTo>
                      <a:pt x="21" y="23"/>
                    </a:lnTo>
                    <a:lnTo>
                      <a:pt x="23" y="26"/>
                    </a:lnTo>
                    <a:lnTo>
                      <a:pt x="21" y="3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16" name="Freeform 346">
                <a:extLst>
                  <a:ext uri="{FF2B5EF4-FFF2-40B4-BE49-F238E27FC236}">
                    <a16:creationId xmlns:a16="http://schemas.microsoft.com/office/drawing/2014/main" id="{CEA686DD-D20F-D9E3-5720-35AB0E81060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51" y="3144"/>
                <a:ext cx="10" cy="10"/>
              </a:xfrm>
              <a:custGeom>
                <a:avLst/>
                <a:gdLst>
                  <a:gd name="T0" fmla="*/ 10 w 24"/>
                  <a:gd name="T1" fmla="*/ 4 h 22"/>
                  <a:gd name="T2" fmla="*/ 9 w 24"/>
                  <a:gd name="T3" fmla="*/ 1 h 22"/>
                  <a:gd name="T4" fmla="*/ 6 w 24"/>
                  <a:gd name="T5" fmla="*/ 0 h 22"/>
                  <a:gd name="T6" fmla="*/ 6 w 24"/>
                  <a:gd name="T7" fmla="*/ 2 h 22"/>
                  <a:gd name="T8" fmla="*/ 4 w 24"/>
                  <a:gd name="T9" fmla="*/ 2 h 22"/>
                  <a:gd name="T10" fmla="*/ 1 w 24"/>
                  <a:gd name="T11" fmla="*/ 1 h 22"/>
                  <a:gd name="T12" fmla="*/ 0 w 24"/>
                  <a:gd name="T13" fmla="*/ 2 h 22"/>
                  <a:gd name="T14" fmla="*/ 0 w 24"/>
                  <a:gd name="T15" fmla="*/ 5 h 22"/>
                  <a:gd name="T16" fmla="*/ 5 w 24"/>
                  <a:gd name="T17" fmla="*/ 10 h 22"/>
                  <a:gd name="T18" fmla="*/ 7 w 24"/>
                  <a:gd name="T19" fmla="*/ 8 h 22"/>
                  <a:gd name="T20" fmla="*/ 8 w 24"/>
                  <a:gd name="T21" fmla="*/ 6 h 22"/>
                  <a:gd name="T22" fmla="*/ 10 w 24"/>
                  <a:gd name="T23" fmla="*/ 4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4" h="22">
                    <a:moveTo>
                      <a:pt x="24" y="8"/>
                    </a:moveTo>
                    <a:lnTo>
                      <a:pt x="21" y="3"/>
                    </a:lnTo>
                    <a:lnTo>
                      <a:pt x="15" y="0"/>
                    </a:lnTo>
                    <a:lnTo>
                      <a:pt x="15" y="5"/>
                    </a:lnTo>
                    <a:lnTo>
                      <a:pt x="10" y="5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12" y="22"/>
                    </a:lnTo>
                    <a:lnTo>
                      <a:pt x="17" y="17"/>
                    </a:lnTo>
                    <a:lnTo>
                      <a:pt x="18" y="13"/>
                    </a:lnTo>
                    <a:lnTo>
                      <a:pt x="24" y="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17" name="Freeform 347">
                <a:extLst>
                  <a:ext uri="{FF2B5EF4-FFF2-40B4-BE49-F238E27FC236}">
                    <a16:creationId xmlns:a16="http://schemas.microsoft.com/office/drawing/2014/main" id="{0B001363-BDD9-1F17-6ACA-3421EFAECBF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33" y="3130"/>
                <a:ext cx="14" cy="9"/>
              </a:xfrm>
              <a:custGeom>
                <a:avLst/>
                <a:gdLst>
                  <a:gd name="T0" fmla="*/ 12 w 29"/>
                  <a:gd name="T1" fmla="*/ 6 h 20"/>
                  <a:gd name="T2" fmla="*/ 0 w 29"/>
                  <a:gd name="T3" fmla="*/ 7 h 20"/>
                  <a:gd name="T4" fmla="*/ 0 w 29"/>
                  <a:gd name="T5" fmla="*/ 9 h 20"/>
                  <a:gd name="T6" fmla="*/ 0 w 29"/>
                  <a:gd name="T7" fmla="*/ 5 h 20"/>
                  <a:gd name="T8" fmla="*/ 7 w 29"/>
                  <a:gd name="T9" fmla="*/ 4 h 20"/>
                  <a:gd name="T10" fmla="*/ 14 w 29"/>
                  <a:gd name="T11" fmla="*/ 0 h 20"/>
                  <a:gd name="T12" fmla="*/ 12 w 29"/>
                  <a:gd name="T13" fmla="*/ 6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9" h="20">
                    <a:moveTo>
                      <a:pt x="25" y="13"/>
                    </a:moveTo>
                    <a:lnTo>
                      <a:pt x="1" y="15"/>
                    </a:lnTo>
                    <a:lnTo>
                      <a:pt x="0" y="20"/>
                    </a:lnTo>
                    <a:lnTo>
                      <a:pt x="1" y="11"/>
                    </a:lnTo>
                    <a:lnTo>
                      <a:pt x="14" y="8"/>
                    </a:lnTo>
                    <a:lnTo>
                      <a:pt x="29" y="0"/>
                    </a:lnTo>
                    <a:lnTo>
                      <a:pt x="25" y="1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18" name="Freeform 348">
                <a:extLst>
                  <a:ext uri="{FF2B5EF4-FFF2-40B4-BE49-F238E27FC236}">
                    <a16:creationId xmlns:a16="http://schemas.microsoft.com/office/drawing/2014/main" id="{68E2D9B2-41FA-A4FF-4219-D4DBC66277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43" y="3149"/>
                <a:ext cx="8" cy="3"/>
              </a:xfrm>
              <a:custGeom>
                <a:avLst/>
                <a:gdLst>
                  <a:gd name="T0" fmla="*/ 8 w 17"/>
                  <a:gd name="T1" fmla="*/ 1 h 8"/>
                  <a:gd name="T2" fmla="*/ 6 w 17"/>
                  <a:gd name="T3" fmla="*/ 0 h 8"/>
                  <a:gd name="T4" fmla="*/ 0 w 17"/>
                  <a:gd name="T5" fmla="*/ 1 h 8"/>
                  <a:gd name="T6" fmla="*/ 6 w 17"/>
                  <a:gd name="T7" fmla="*/ 3 h 8"/>
                  <a:gd name="T8" fmla="*/ 8 w 17"/>
                  <a:gd name="T9" fmla="*/ 1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" h="8">
                    <a:moveTo>
                      <a:pt x="17" y="3"/>
                    </a:moveTo>
                    <a:lnTo>
                      <a:pt x="12" y="0"/>
                    </a:lnTo>
                    <a:lnTo>
                      <a:pt x="0" y="2"/>
                    </a:lnTo>
                    <a:lnTo>
                      <a:pt x="12" y="8"/>
                    </a:lnTo>
                    <a:lnTo>
                      <a:pt x="17" y="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19" name="Freeform 349">
                <a:extLst>
                  <a:ext uri="{FF2B5EF4-FFF2-40B4-BE49-F238E27FC236}">
                    <a16:creationId xmlns:a16="http://schemas.microsoft.com/office/drawing/2014/main" id="{F20645A8-3187-6C63-5011-6D2B183686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57" y="3154"/>
                <a:ext cx="2" cy="1"/>
              </a:xfrm>
              <a:custGeom>
                <a:avLst/>
                <a:gdLst>
                  <a:gd name="T0" fmla="*/ 2 w 4"/>
                  <a:gd name="T1" fmla="*/ 0 h 3"/>
                  <a:gd name="T2" fmla="*/ 1 w 4"/>
                  <a:gd name="T3" fmla="*/ 0 h 3"/>
                  <a:gd name="T4" fmla="*/ 0 w 4"/>
                  <a:gd name="T5" fmla="*/ 1 h 3"/>
                  <a:gd name="T6" fmla="*/ 2 w 4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lnTo>
                      <a:pt x="1" y="0"/>
                    </a:lnTo>
                    <a:lnTo>
                      <a:pt x="0" y="3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20" name="Freeform 350">
                <a:extLst>
                  <a:ext uri="{FF2B5EF4-FFF2-40B4-BE49-F238E27FC236}">
                    <a16:creationId xmlns:a16="http://schemas.microsoft.com/office/drawing/2014/main" id="{1E366E63-D3BB-0D4A-6A8E-5C4FE5D1877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30" y="3115"/>
                <a:ext cx="29" cy="14"/>
              </a:xfrm>
              <a:custGeom>
                <a:avLst/>
                <a:gdLst>
                  <a:gd name="T0" fmla="*/ 29 w 66"/>
                  <a:gd name="T1" fmla="*/ 8 h 31"/>
                  <a:gd name="T2" fmla="*/ 27 w 66"/>
                  <a:gd name="T3" fmla="*/ 0 h 31"/>
                  <a:gd name="T4" fmla="*/ 11 w 66"/>
                  <a:gd name="T5" fmla="*/ 0 h 31"/>
                  <a:gd name="T6" fmla="*/ 0 w 66"/>
                  <a:gd name="T7" fmla="*/ 3 h 31"/>
                  <a:gd name="T8" fmla="*/ 0 w 66"/>
                  <a:gd name="T9" fmla="*/ 6 h 31"/>
                  <a:gd name="T10" fmla="*/ 5 w 66"/>
                  <a:gd name="T11" fmla="*/ 11 h 31"/>
                  <a:gd name="T12" fmla="*/ 7 w 66"/>
                  <a:gd name="T13" fmla="*/ 11 h 31"/>
                  <a:gd name="T14" fmla="*/ 17 w 66"/>
                  <a:gd name="T15" fmla="*/ 12 h 31"/>
                  <a:gd name="T16" fmla="*/ 26 w 66"/>
                  <a:gd name="T17" fmla="*/ 14 h 31"/>
                  <a:gd name="T18" fmla="*/ 29 w 66"/>
                  <a:gd name="T19" fmla="*/ 8 h 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6" h="31">
                    <a:moveTo>
                      <a:pt x="66" y="18"/>
                    </a:moveTo>
                    <a:lnTo>
                      <a:pt x="61" y="1"/>
                    </a:lnTo>
                    <a:lnTo>
                      <a:pt x="24" y="0"/>
                    </a:lnTo>
                    <a:lnTo>
                      <a:pt x="0" y="6"/>
                    </a:lnTo>
                    <a:lnTo>
                      <a:pt x="1" y="13"/>
                    </a:lnTo>
                    <a:lnTo>
                      <a:pt x="12" y="25"/>
                    </a:lnTo>
                    <a:lnTo>
                      <a:pt x="15" y="25"/>
                    </a:lnTo>
                    <a:lnTo>
                      <a:pt x="38" y="26"/>
                    </a:lnTo>
                    <a:lnTo>
                      <a:pt x="60" y="31"/>
                    </a:lnTo>
                    <a:lnTo>
                      <a:pt x="66" y="1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21" name="Freeform 351">
                <a:extLst>
                  <a:ext uri="{FF2B5EF4-FFF2-40B4-BE49-F238E27FC236}">
                    <a16:creationId xmlns:a16="http://schemas.microsoft.com/office/drawing/2014/main" id="{85873EBF-49CC-298C-0B83-7D60210941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17" y="3126"/>
                <a:ext cx="48" cy="21"/>
              </a:xfrm>
              <a:custGeom>
                <a:avLst/>
                <a:gdLst>
                  <a:gd name="T0" fmla="*/ 24 w 110"/>
                  <a:gd name="T1" fmla="*/ 14 h 46"/>
                  <a:gd name="T2" fmla="*/ 14 w 110"/>
                  <a:gd name="T3" fmla="*/ 15 h 46"/>
                  <a:gd name="T4" fmla="*/ 2 w 110"/>
                  <a:gd name="T5" fmla="*/ 17 h 46"/>
                  <a:gd name="T6" fmla="*/ 0 w 110"/>
                  <a:gd name="T7" fmla="*/ 17 h 46"/>
                  <a:gd name="T8" fmla="*/ 3 w 110"/>
                  <a:gd name="T9" fmla="*/ 6 h 46"/>
                  <a:gd name="T10" fmla="*/ 10 w 110"/>
                  <a:gd name="T11" fmla="*/ 6 h 46"/>
                  <a:gd name="T12" fmla="*/ 17 w 110"/>
                  <a:gd name="T13" fmla="*/ 11 h 46"/>
                  <a:gd name="T14" fmla="*/ 21 w 110"/>
                  <a:gd name="T15" fmla="*/ 7 h 46"/>
                  <a:gd name="T16" fmla="*/ 20 w 110"/>
                  <a:gd name="T17" fmla="*/ 0 h 46"/>
                  <a:gd name="T18" fmla="*/ 30 w 110"/>
                  <a:gd name="T19" fmla="*/ 1 h 46"/>
                  <a:gd name="T20" fmla="*/ 39 w 110"/>
                  <a:gd name="T21" fmla="*/ 4 h 46"/>
                  <a:gd name="T22" fmla="*/ 43 w 110"/>
                  <a:gd name="T23" fmla="*/ 10 h 46"/>
                  <a:gd name="T24" fmla="*/ 48 w 110"/>
                  <a:gd name="T25" fmla="*/ 20 h 46"/>
                  <a:gd name="T26" fmla="*/ 38 w 110"/>
                  <a:gd name="T27" fmla="*/ 21 h 46"/>
                  <a:gd name="T28" fmla="*/ 24 w 110"/>
                  <a:gd name="T29" fmla="*/ 14 h 4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10" h="46">
                    <a:moveTo>
                      <a:pt x="56" y="31"/>
                    </a:moveTo>
                    <a:lnTo>
                      <a:pt x="31" y="33"/>
                    </a:lnTo>
                    <a:lnTo>
                      <a:pt x="5" y="38"/>
                    </a:lnTo>
                    <a:lnTo>
                      <a:pt x="0" y="38"/>
                    </a:lnTo>
                    <a:lnTo>
                      <a:pt x="8" y="13"/>
                    </a:lnTo>
                    <a:lnTo>
                      <a:pt x="22" y="13"/>
                    </a:lnTo>
                    <a:lnTo>
                      <a:pt x="40" y="23"/>
                    </a:lnTo>
                    <a:lnTo>
                      <a:pt x="48" y="16"/>
                    </a:lnTo>
                    <a:lnTo>
                      <a:pt x="45" y="0"/>
                    </a:lnTo>
                    <a:lnTo>
                      <a:pt x="68" y="3"/>
                    </a:lnTo>
                    <a:lnTo>
                      <a:pt x="90" y="8"/>
                    </a:lnTo>
                    <a:lnTo>
                      <a:pt x="99" y="21"/>
                    </a:lnTo>
                    <a:lnTo>
                      <a:pt x="110" y="43"/>
                    </a:lnTo>
                    <a:lnTo>
                      <a:pt x="88" y="46"/>
                    </a:lnTo>
                    <a:lnTo>
                      <a:pt x="56" y="3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22" name="Freeform 352">
                <a:extLst>
                  <a:ext uri="{FF2B5EF4-FFF2-40B4-BE49-F238E27FC236}">
                    <a16:creationId xmlns:a16="http://schemas.microsoft.com/office/drawing/2014/main" id="{199C2E37-2F90-CA90-D293-27B8FC2B6F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17" y="3139"/>
                <a:ext cx="38" cy="20"/>
              </a:xfrm>
              <a:custGeom>
                <a:avLst/>
                <a:gdLst>
                  <a:gd name="T0" fmla="*/ 2 w 88"/>
                  <a:gd name="T1" fmla="*/ 14 h 46"/>
                  <a:gd name="T2" fmla="*/ 0 w 88"/>
                  <a:gd name="T3" fmla="*/ 3 h 46"/>
                  <a:gd name="T4" fmla="*/ 2 w 88"/>
                  <a:gd name="T5" fmla="*/ 3 h 46"/>
                  <a:gd name="T6" fmla="*/ 13 w 88"/>
                  <a:gd name="T7" fmla="*/ 0 h 46"/>
                  <a:gd name="T8" fmla="*/ 24 w 88"/>
                  <a:gd name="T9" fmla="*/ 0 h 46"/>
                  <a:gd name="T10" fmla="*/ 38 w 88"/>
                  <a:gd name="T11" fmla="*/ 6 h 46"/>
                  <a:gd name="T12" fmla="*/ 28 w 88"/>
                  <a:gd name="T13" fmla="*/ 13 h 46"/>
                  <a:gd name="T14" fmla="*/ 18 w 88"/>
                  <a:gd name="T15" fmla="*/ 20 h 46"/>
                  <a:gd name="T16" fmla="*/ 12 w 88"/>
                  <a:gd name="T17" fmla="*/ 20 h 46"/>
                  <a:gd name="T18" fmla="*/ 12 w 88"/>
                  <a:gd name="T19" fmla="*/ 17 h 46"/>
                  <a:gd name="T20" fmla="*/ 6 w 88"/>
                  <a:gd name="T21" fmla="*/ 15 h 46"/>
                  <a:gd name="T22" fmla="*/ 2 w 88"/>
                  <a:gd name="T23" fmla="*/ 14 h 4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88" h="46">
                    <a:moveTo>
                      <a:pt x="5" y="33"/>
                    </a:moveTo>
                    <a:lnTo>
                      <a:pt x="0" y="8"/>
                    </a:lnTo>
                    <a:lnTo>
                      <a:pt x="5" y="6"/>
                    </a:lnTo>
                    <a:lnTo>
                      <a:pt x="31" y="1"/>
                    </a:lnTo>
                    <a:lnTo>
                      <a:pt x="56" y="0"/>
                    </a:lnTo>
                    <a:lnTo>
                      <a:pt x="88" y="14"/>
                    </a:lnTo>
                    <a:lnTo>
                      <a:pt x="65" y="29"/>
                    </a:lnTo>
                    <a:lnTo>
                      <a:pt x="42" y="46"/>
                    </a:lnTo>
                    <a:lnTo>
                      <a:pt x="28" y="46"/>
                    </a:lnTo>
                    <a:lnTo>
                      <a:pt x="28" y="38"/>
                    </a:lnTo>
                    <a:lnTo>
                      <a:pt x="14" y="34"/>
                    </a:lnTo>
                    <a:lnTo>
                      <a:pt x="5" y="3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23" name="Freeform 353">
                <a:extLst>
                  <a:ext uri="{FF2B5EF4-FFF2-40B4-BE49-F238E27FC236}">
                    <a16:creationId xmlns:a16="http://schemas.microsoft.com/office/drawing/2014/main" id="{78409950-4C26-D7FC-125F-D403CDB9A0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00" y="3167"/>
                <a:ext cx="26" cy="22"/>
              </a:xfrm>
              <a:custGeom>
                <a:avLst/>
                <a:gdLst>
                  <a:gd name="T0" fmla="*/ 20 w 57"/>
                  <a:gd name="T1" fmla="*/ 13 h 51"/>
                  <a:gd name="T2" fmla="*/ 25 w 57"/>
                  <a:gd name="T3" fmla="*/ 10 h 51"/>
                  <a:gd name="T4" fmla="*/ 24 w 57"/>
                  <a:gd name="T5" fmla="*/ 6 h 51"/>
                  <a:gd name="T6" fmla="*/ 26 w 57"/>
                  <a:gd name="T7" fmla="*/ 1 h 51"/>
                  <a:gd name="T8" fmla="*/ 17 w 57"/>
                  <a:gd name="T9" fmla="*/ 0 h 51"/>
                  <a:gd name="T10" fmla="*/ 8 w 57"/>
                  <a:gd name="T11" fmla="*/ 6 h 51"/>
                  <a:gd name="T12" fmla="*/ 2 w 57"/>
                  <a:gd name="T13" fmla="*/ 13 h 51"/>
                  <a:gd name="T14" fmla="*/ 0 w 57"/>
                  <a:gd name="T15" fmla="*/ 18 h 51"/>
                  <a:gd name="T16" fmla="*/ 6 w 57"/>
                  <a:gd name="T17" fmla="*/ 18 h 51"/>
                  <a:gd name="T18" fmla="*/ 15 w 57"/>
                  <a:gd name="T19" fmla="*/ 18 h 51"/>
                  <a:gd name="T20" fmla="*/ 17 w 57"/>
                  <a:gd name="T21" fmla="*/ 20 h 51"/>
                  <a:gd name="T22" fmla="*/ 19 w 57"/>
                  <a:gd name="T23" fmla="*/ 22 h 51"/>
                  <a:gd name="T24" fmla="*/ 20 w 57"/>
                  <a:gd name="T25" fmla="*/ 13 h 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7" h="51">
                    <a:moveTo>
                      <a:pt x="43" y="29"/>
                    </a:moveTo>
                    <a:lnTo>
                      <a:pt x="55" y="23"/>
                    </a:lnTo>
                    <a:lnTo>
                      <a:pt x="52" y="13"/>
                    </a:lnTo>
                    <a:lnTo>
                      <a:pt x="57" y="3"/>
                    </a:lnTo>
                    <a:lnTo>
                      <a:pt x="38" y="0"/>
                    </a:lnTo>
                    <a:lnTo>
                      <a:pt x="18" y="13"/>
                    </a:lnTo>
                    <a:lnTo>
                      <a:pt x="4" y="31"/>
                    </a:lnTo>
                    <a:lnTo>
                      <a:pt x="0" y="41"/>
                    </a:lnTo>
                    <a:lnTo>
                      <a:pt x="14" y="41"/>
                    </a:lnTo>
                    <a:lnTo>
                      <a:pt x="32" y="41"/>
                    </a:lnTo>
                    <a:lnTo>
                      <a:pt x="37" y="46"/>
                    </a:lnTo>
                    <a:lnTo>
                      <a:pt x="41" y="51"/>
                    </a:lnTo>
                    <a:lnTo>
                      <a:pt x="43" y="2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24" name="Freeform 354">
                <a:extLst>
                  <a:ext uri="{FF2B5EF4-FFF2-40B4-BE49-F238E27FC236}">
                    <a16:creationId xmlns:a16="http://schemas.microsoft.com/office/drawing/2014/main" id="{0E0704CF-B805-84D3-9765-887F8176E6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73" y="3155"/>
                <a:ext cx="71" cy="49"/>
              </a:xfrm>
              <a:custGeom>
                <a:avLst/>
                <a:gdLst>
                  <a:gd name="T0" fmla="*/ 29 w 159"/>
                  <a:gd name="T1" fmla="*/ 2 h 113"/>
                  <a:gd name="T2" fmla="*/ 28 w 159"/>
                  <a:gd name="T3" fmla="*/ 0 h 113"/>
                  <a:gd name="T4" fmla="*/ 18 w 159"/>
                  <a:gd name="T5" fmla="*/ 0 h 113"/>
                  <a:gd name="T6" fmla="*/ 9 w 159"/>
                  <a:gd name="T7" fmla="*/ 3 h 113"/>
                  <a:gd name="T8" fmla="*/ 0 w 159"/>
                  <a:gd name="T9" fmla="*/ 5 h 113"/>
                  <a:gd name="T10" fmla="*/ 3 w 159"/>
                  <a:gd name="T11" fmla="*/ 8 h 113"/>
                  <a:gd name="T12" fmla="*/ 0 w 159"/>
                  <a:gd name="T13" fmla="*/ 9 h 113"/>
                  <a:gd name="T14" fmla="*/ 1 w 159"/>
                  <a:gd name="T15" fmla="*/ 17 h 113"/>
                  <a:gd name="T16" fmla="*/ 5 w 159"/>
                  <a:gd name="T17" fmla="*/ 26 h 113"/>
                  <a:gd name="T18" fmla="*/ 6 w 159"/>
                  <a:gd name="T19" fmla="*/ 33 h 113"/>
                  <a:gd name="T20" fmla="*/ 8 w 159"/>
                  <a:gd name="T21" fmla="*/ 33 h 113"/>
                  <a:gd name="T22" fmla="*/ 17 w 159"/>
                  <a:gd name="T23" fmla="*/ 37 h 113"/>
                  <a:gd name="T24" fmla="*/ 18 w 159"/>
                  <a:gd name="T25" fmla="*/ 39 h 113"/>
                  <a:gd name="T26" fmla="*/ 22 w 159"/>
                  <a:gd name="T27" fmla="*/ 38 h 113"/>
                  <a:gd name="T28" fmla="*/ 28 w 159"/>
                  <a:gd name="T29" fmla="*/ 38 h 113"/>
                  <a:gd name="T30" fmla="*/ 36 w 159"/>
                  <a:gd name="T31" fmla="*/ 45 h 113"/>
                  <a:gd name="T32" fmla="*/ 44 w 159"/>
                  <a:gd name="T33" fmla="*/ 45 h 113"/>
                  <a:gd name="T34" fmla="*/ 45 w 159"/>
                  <a:gd name="T35" fmla="*/ 47 h 113"/>
                  <a:gd name="T36" fmla="*/ 51 w 159"/>
                  <a:gd name="T37" fmla="*/ 46 h 113"/>
                  <a:gd name="T38" fmla="*/ 62 w 159"/>
                  <a:gd name="T39" fmla="*/ 49 h 113"/>
                  <a:gd name="T40" fmla="*/ 63 w 159"/>
                  <a:gd name="T41" fmla="*/ 46 h 113"/>
                  <a:gd name="T42" fmla="*/ 70 w 159"/>
                  <a:gd name="T43" fmla="*/ 37 h 113"/>
                  <a:gd name="T44" fmla="*/ 71 w 159"/>
                  <a:gd name="T45" fmla="*/ 33 h 113"/>
                  <a:gd name="T46" fmla="*/ 67 w 159"/>
                  <a:gd name="T47" fmla="*/ 24 h 113"/>
                  <a:gd name="T48" fmla="*/ 63 w 159"/>
                  <a:gd name="T49" fmla="*/ 21 h 113"/>
                  <a:gd name="T50" fmla="*/ 67 w 159"/>
                  <a:gd name="T51" fmla="*/ 15 h 113"/>
                  <a:gd name="T52" fmla="*/ 61 w 159"/>
                  <a:gd name="T53" fmla="*/ 3 h 113"/>
                  <a:gd name="T54" fmla="*/ 49 w 159"/>
                  <a:gd name="T55" fmla="*/ 3 h 113"/>
                  <a:gd name="T56" fmla="*/ 37 w 159"/>
                  <a:gd name="T57" fmla="*/ 2 h 113"/>
                  <a:gd name="T58" fmla="*/ 29 w 159"/>
                  <a:gd name="T59" fmla="*/ 2 h 113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59" h="113">
                    <a:moveTo>
                      <a:pt x="65" y="5"/>
                    </a:moveTo>
                    <a:lnTo>
                      <a:pt x="63" y="0"/>
                    </a:lnTo>
                    <a:lnTo>
                      <a:pt x="41" y="0"/>
                    </a:lnTo>
                    <a:lnTo>
                      <a:pt x="21" y="8"/>
                    </a:lnTo>
                    <a:lnTo>
                      <a:pt x="0" y="12"/>
                    </a:lnTo>
                    <a:lnTo>
                      <a:pt x="6" y="18"/>
                    </a:lnTo>
                    <a:lnTo>
                      <a:pt x="1" y="20"/>
                    </a:lnTo>
                    <a:lnTo>
                      <a:pt x="3" y="40"/>
                    </a:lnTo>
                    <a:lnTo>
                      <a:pt x="12" y="61"/>
                    </a:lnTo>
                    <a:lnTo>
                      <a:pt x="14" y="76"/>
                    </a:lnTo>
                    <a:lnTo>
                      <a:pt x="17" y="76"/>
                    </a:lnTo>
                    <a:lnTo>
                      <a:pt x="37" y="85"/>
                    </a:lnTo>
                    <a:lnTo>
                      <a:pt x="41" y="90"/>
                    </a:lnTo>
                    <a:lnTo>
                      <a:pt x="49" y="88"/>
                    </a:lnTo>
                    <a:lnTo>
                      <a:pt x="62" y="88"/>
                    </a:lnTo>
                    <a:lnTo>
                      <a:pt x="80" y="104"/>
                    </a:lnTo>
                    <a:lnTo>
                      <a:pt x="99" y="104"/>
                    </a:lnTo>
                    <a:lnTo>
                      <a:pt x="100" y="108"/>
                    </a:lnTo>
                    <a:lnTo>
                      <a:pt x="114" y="106"/>
                    </a:lnTo>
                    <a:lnTo>
                      <a:pt x="139" y="113"/>
                    </a:lnTo>
                    <a:lnTo>
                      <a:pt x="142" y="106"/>
                    </a:lnTo>
                    <a:lnTo>
                      <a:pt x="156" y="86"/>
                    </a:lnTo>
                    <a:lnTo>
                      <a:pt x="159" y="76"/>
                    </a:lnTo>
                    <a:lnTo>
                      <a:pt x="150" y="55"/>
                    </a:lnTo>
                    <a:lnTo>
                      <a:pt x="140" y="48"/>
                    </a:lnTo>
                    <a:lnTo>
                      <a:pt x="151" y="35"/>
                    </a:lnTo>
                    <a:lnTo>
                      <a:pt x="137" y="8"/>
                    </a:lnTo>
                    <a:lnTo>
                      <a:pt x="109" y="7"/>
                    </a:lnTo>
                    <a:lnTo>
                      <a:pt x="82" y="5"/>
                    </a:lnTo>
                    <a:lnTo>
                      <a:pt x="65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25" name="Freeform 355">
                <a:extLst>
                  <a:ext uri="{FF2B5EF4-FFF2-40B4-BE49-F238E27FC236}">
                    <a16:creationId xmlns:a16="http://schemas.microsoft.com/office/drawing/2014/main" id="{F2E4AA77-4873-C035-FA6D-819A21D32A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22" y="3211"/>
                <a:ext cx="68" cy="40"/>
              </a:xfrm>
              <a:custGeom>
                <a:avLst/>
                <a:gdLst>
                  <a:gd name="T0" fmla="*/ 63 w 153"/>
                  <a:gd name="T1" fmla="*/ 33 h 91"/>
                  <a:gd name="T2" fmla="*/ 62 w 153"/>
                  <a:gd name="T3" fmla="*/ 40 h 91"/>
                  <a:gd name="T4" fmla="*/ 48 w 153"/>
                  <a:gd name="T5" fmla="*/ 36 h 91"/>
                  <a:gd name="T6" fmla="*/ 36 w 153"/>
                  <a:gd name="T7" fmla="*/ 40 h 91"/>
                  <a:gd name="T8" fmla="*/ 28 w 153"/>
                  <a:gd name="T9" fmla="*/ 39 h 91"/>
                  <a:gd name="T10" fmla="*/ 20 w 153"/>
                  <a:gd name="T11" fmla="*/ 38 h 91"/>
                  <a:gd name="T12" fmla="*/ 19 w 153"/>
                  <a:gd name="T13" fmla="*/ 36 h 91"/>
                  <a:gd name="T14" fmla="*/ 18 w 153"/>
                  <a:gd name="T15" fmla="*/ 32 h 91"/>
                  <a:gd name="T16" fmla="*/ 16 w 153"/>
                  <a:gd name="T17" fmla="*/ 32 h 91"/>
                  <a:gd name="T18" fmla="*/ 14 w 153"/>
                  <a:gd name="T19" fmla="*/ 32 h 91"/>
                  <a:gd name="T20" fmla="*/ 10 w 153"/>
                  <a:gd name="T21" fmla="*/ 29 h 91"/>
                  <a:gd name="T22" fmla="*/ 0 w 153"/>
                  <a:gd name="T23" fmla="*/ 19 h 91"/>
                  <a:gd name="T24" fmla="*/ 4 w 153"/>
                  <a:gd name="T25" fmla="*/ 18 h 91"/>
                  <a:gd name="T26" fmla="*/ 10 w 153"/>
                  <a:gd name="T27" fmla="*/ 10 h 91"/>
                  <a:gd name="T28" fmla="*/ 16 w 153"/>
                  <a:gd name="T29" fmla="*/ 3 h 91"/>
                  <a:gd name="T30" fmla="*/ 17 w 153"/>
                  <a:gd name="T31" fmla="*/ 3 h 91"/>
                  <a:gd name="T32" fmla="*/ 30 w 153"/>
                  <a:gd name="T33" fmla="*/ 4 h 91"/>
                  <a:gd name="T34" fmla="*/ 42 w 153"/>
                  <a:gd name="T35" fmla="*/ 0 h 91"/>
                  <a:gd name="T36" fmla="*/ 43 w 153"/>
                  <a:gd name="T37" fmla="*/ 0 h 91"/>
                  <a:gd name="T38" fmla="*/ 48 w 153"/>
                  <a:gd name="T39" fmla="*/ 5 h 91"/>
                  <a:gd name="T40" fmla="*/ 53 w 153"/>
                  <a:gd name="T41" fmla="*/ 11 h 91"/>
                  <a:gd name="T42" fmla="*/ 55 w 153"/>
                  <a:gd name="T43" fmla="*/ 18 h 91"/>
                  <a:gd name="T44" fmla="*/ 57 w 153"/>
                  <a:gd name="T45" fmla="*/ 25 h 91"/>
                  <a:gd name="T46" fmla="*/ 63 w 153"/>
                  <a:gd name="T47" fmla="*/ 25 h 91"/>
                  <a:gd name="T48" fmla="*/ 68 w 153"/>
                  <a:gd name="T49" fmla="*/ 26 h 91"/>
                  <a:gd name="T50" fmla="*/ 68 w 153"/>
                  <a:gd name="T51" fmla="*/ 29 h 91"/>
                  <a:gd name="T52" fmla="*/ 64 w 153"/>
                  <a:gd name="T53" fmla="*/ 31 h 91"/>
                  <a:gd name="T54" fmla="*/ 63 w 153"/>
                  <a:gd name="T55" fmla="*/ 30 h 91"/>
                  <a:gd name="T56" fmla="*/ 63 w 153"/>
                  <a:gd name="T57" fmla="*/ 33 h 9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53" h="91">
                    <a:moveTo>
                      <a:pt x="141" y="75"/>
                    </a:moveTo>
                    <a:lnTo>
                      <a:pt x="139" y="90"/>
                    </a:lnTo>
                    <a:lnTo>
                      <a:pt x="108" y="83"/>
                    </a:lnTo>
                    <a:lnTo>
                      <a:pt x="82" y="91"/>
                    </a:lnTo>
                    <a:lnTo>
                      <a:pt x="63" y="88"/>
                    </a:lnTo>
                    <a:lnTo>
                      <a:pt x="46" y="87"/>
                    </a:lnTo>
                    <a:lnTo>
                      <a:pt x="42" y="82"/>
                    </a:lnTo>
                    <a:lnTo>
                      <a:pt x="40" y="73"/>
                    </a:lnTo>
                    <a:lnTo>
                      <a:pt x="36" y="72"/>
                    </a:lnTo>
                    <a:lnTo>
                      <a:pt x="31" y="72"/>
                    </a:lnTo>
                    <a:lnTo>
                      <a:pt x="23" y="67"/>
                    </a:lnTo>
                    <a:lnTo>
                      <a:pt x="0" y="43"/>
                    </a:lnTo>
                    <a:lnTo>
                      <a:pt x="8" y="40"/>
                    </a:lnTo>
                    <a:lnTo>
                      <a:pt x="22" y="22"/>
                    </a:lnTo>
                    <a:lnTo>
                      <a:pt x="37" y="7"/>
                    </a:lnTo>
                    <a:lnTo>
                      <a:pt x="39" y="7"/>
                    </a:lnTo>
                    <a:lnTo>
                      <a:pt x="68" y="9"/>
                    </a:lnTo>
                    <a:lnTo>
                      <a:pt x="94" y="0"/>
                    </a:lnTo>
                    <a:lnTo>
                      <a:pt x="96" y="0"/>
                    </a:lnTo>
                    <a:lnTo>
                      <a:pt x="108" y="12"/>
                    </a:lnTo>
                    <a:lnTo>
                      <a:pt x="119" y="24"/>
                    </a:lnTo>
                    <a:lnTo>
                      <a:pt x="124" y="40"/>
                    </a:lnTo>
                    <a:lnTo>
                      <a:pt x="128" y="58"/>
                    </a:lnTo>
                    <a:lnTo>
                      <a:pt x="142" y="58"/>
                    </a:lnTo>
                    <a:lnTo>
                      <a:pt x="153" y="60"/>
                    </a:lnTo>
                    <a:lnTo>
                      <a:pt x="153" y="65"/>
                    </a:lnTo>
                    <a:lnTo>
                      <a:pt x="145" y="70"/>
                    </a:lnTo>
                    <a:lnTo>
                      <a:pt x="142" y="68"/>
                    </a:lnTo>
                    <a:lnTo>
                      <a:pt x="141" y="7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26" name="Freeform 356">
                <a:extLst>
                  <a:ext uri="{FF2B5EF4-FFF2-40B4-BE49-F238E27FC236}">
                    <a16:creationId xmlns:a16="http://schemas.microsoft.com/office/drawing/2014/main" id="{96C4CC96-AF68-9A8B-95A4-E78F3DF7DC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62" y="3187"/>
                <a:ext cx="47" cy="22"/>
              </a:xfrm>
              <a:custGeom>
                <a:avLst/>
                <a:gdLst>
                  <a:gd name="T0" fmla="*/ 39 w 105"/>
                  <a:gd name="T1" fmla="*/ 6 h 50"/>
                  <a:gd name="T2" fmla="*/ 47 w 105"/>
                  <a:gd name="T3" fmla="*/ 13 h 50"/>
                  <a:gd name="T4" fmla="*/ 47 w 105"/>
                  <a:gd name="T5" fmla="*/ 14 h 50"/>
                  <a:gd name="T6" fmla="*/ 45 w 105"/>
                  <a:gd name="T7" fmla="*/ 16 h 50"/>
                  <a:gd name="T8" fmla="*/ 43 w 105"/>
                  <a:gd name="T9" fmla="*/ 16 h 50"/>
                  <a:gd name="T10" fmla="*/ 43 w 105"/>
                  <a:gd name="T11" fmla="*/ 17 h 50"/>
                  <a:gd name="T12" fmla="*/ 40 w 105"/>
                  <a:gd name="T13" fmla="*/ 20 h 50"/>
                  <a:gd name="T14" fmla="*/ 37 w 105"/>
                  <a:gd name="T15" fmla="*/ 20 h 50"/>
                  <a:gd name="T16" fmla="*/ 34 w 105"/>
                  <a:gd name="T17" fmla="*/ 20 h 50"/>
                  <a:gd name="T18" fmla="*/ 31 w 105"/>
                  <a:gd name="T19" fmla="*/ 20 h 50"/>
                  <a:gd name="T20" fmla="*/ 21 w 105"/>
                  <a:gd name="T21" fmla="*/ 18 h 50"/>
                  <a:gd name="T22" fmla="*/ 16 w 105"/>
                  <a:gd name="T23" fmla="*/ 22 h 50"/>
                  <a:gd name="T24" fmla="*/ 12 w 105"/>
                  <a:gd name="T25" fmla="*/ 20 h 50"/>
                  <a:gd name="T26" fmla="*/ 2 w 105"/>
                  <a:gd name="T27" fmla="*/ 10 h 50"/>
                  <a:gd name="T28" fmla="*/ 0 w 105"/>
                  <a:gd name="T29" fmla="*/ 7 h 50"/>
                  <a:gd name="T30" fmla="*/ 16 w 105"/>
                  <a:gd name="T31" fmla="*/ 0 h 50"/>
                  <a:gd name="T32" fmla="*/ 17 w 105"/>
                  <a:gd name="T33" fmla="*/ 1 h 50"/>
                  <a:gd name="T34" fmla="*/ 19 w 105"/>
                  <a:gd name="T35" fmla="*/ 1 h 50"/>
                  <a:gd name="T36" fmla="*/ 28 w 105"/>
                  <a:gd name="T37" fmla="*/ 5 h 50"/>
                  <a:gd name="T38" fmla="*/ 30 w 105"/>
                  <a:gd name="T39" fmla="*/ 7 h 50"/>
                  <a:gd name="T40" fmla="*/ 33 w 105"/>
                  <a:gd name="T41" fmla="*/ 6 h 50"/>
                  <a:gd name="T42" fmla="*/ 39 w 105"/>
                  <a:gd name="T43" fmla="*/ 6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05" h="50">
                    <a:moveTo>
                      <a:pt x="87" y="13"/>
                    </a:moveTo>
                    <a:lnTo>
                      <a:pt x="105" y="30"/>
                    </a:lnTo>
                    <a:lnTo>
                      <a:pt x="105" y="31"/>
                    </a:lnTo>
                    <a:lnTo>
                      <a:pt x="100" y="36"/>
                    </a:lnTo>
                    <a:lnTo>
                      <a:pt x="96" y="36"/>
                    </a:lnTo>
                    <a:lnTo>
                      <a:pt x="96" y="38"/>
                    </a:lnTo>
                    <a:lnTo>
                      <a:pt x="90" y="45"/>
                    </a:lnTo>
                    <a:lnTo>
                      <a:pt x="82" y="46"/>
                    </a:lnTo>
                    <a:lnTo>
                      <a:pt x="76" y="46"/>
                    </a:lnTo>
                    <a:lnTo>
                      <a:pt x="70" y="45"/>
                    </a:lnTo>
                    <a:lnTo>
                      <a:pt x="46" y="41"/>
                    </a:lnTo>
                    <a:lnTo>
                      <a:pt x="35" y="50"/>
                    </a:lnTo>
                    <a:lnTo>
                      <a:pt x="26" y="45"/>
                    </a:lnTo>
                    <a:lnTo>
                      <a:pt x="5" y="23"/>
                    </a:lnTo>
                    <a:lnTo>
                      <a:pt x="0" y="17"/>
                    </a:lnTo>
                    <a:lnTo>
                      <a:pt x="35" y="0"/>
                    </a:lnTo>
                    <a:lnTo>
                      <a:pt x="39" y="3"/>
                    </a:lnTo>
                    <a:lnTo>
                      <a:pt x="42" y="2"/>
                    </a:lnTo>
                    <a:lnTo>
                      <a:pt x="62" y="12"/>
                    </a:lnTo>
                    <a:lnTo>
                      <a:pt x="66" y="17"/>
                    </a:lnTo>
                    <a:lnTo>
                      <a:pt x="74" y="13"/>
                    </a:lnTo>
                    <a:lnTo>
                      <a:pt x="87" y="1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27" name="Freeform 357">
                <a:extLst>
                  <a:ext uri="{FF2B5EF4-FFF2-40B4-BE49-F238E27FC236}">
                    <a16:creationId xmlns:a16="http://schemas.microsoft.com/office/drawing/2014/main" id="{AE0F91FD-F250-CFB6-E8BB-D1B636B225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95" y="3184"/>
                <a:ext cx="25" cy="16"/>
              </a:xfrm>
              <a:custGeom>
                <a:avLst/>
                <a:gdLst>
                  <a:gd name="T0" fmla="*/ 6 w 56"/>
                  <a:gd name="T1" fmla="*/ 0 h 35"/>
                  <a:gd name="T2" fmla="*/ 0 w 56"/>
                  <a:gd name="T3" fmla="*/ 2 h 35"/>
                  <a:gd name="T4" fmla="*/ 2 w 56"/>
                  <a:gd name="T5" fmla="*/ 5 h 35"/>
                  <a:gd name="T6" fmla="*/ 12 w 56"/>
                  <a:gd name="T7" fmla="*/ 11 h 35"/>
                  <a:gd name="T8" fmla="*/ 15 w 56"/>
                  <a:gd name="T9" fmla="*/ 11 h 35"/>
                  <a:gd name="T10" fmla="*/ 16 w 56"/>
                  <a:gd name="T11" fmla="*/ 11 h 35"/>
                  <a:gd name="T12" fmla="*/ 23 w 56"/>
                  <a:gd name="T13" fmla="*/ 16 h 35"/>
                  <a:gd name="T14" fmla="*/ 23 w 56"/>
                  <a:gd name="T15" fmla="*/ 16 h 35"/>
                  <a:gd name="T16" fmla="*/ 23 w 56"/>
                  <a:gd name="T17" fmla="*/ 14 h 35"/>
                  <a:gd name="T18" fmla="*/ 25 w 56"/>
                  <a:gd name="T19" fmla="*/ 11 h 35"/>
                  <a:gd name="T20" fmla="*/ 25 w 56"/>
                  <a:gd name="T21" fmla="*/ 6 h 35"/>
                  <a:gd name="T22" fmla="*/ 24 w 56"/>
                  <a:gd name="T23" fmla="*/ 5 h 35"/>
                  <a:gd name="T24" fmla="*/ 22 w 56"/>
                  <a:gd name="T25" fmla="*/ 3 h 35"/>
                  <a:gd name="T26" fmla="*/ 20 w 56"/>
                  <a:gd name="T27" fmla="*/ 0 h 35"/>
                  <a:gd name="T28" fmla="*/ 12 w 56"/>
                  <a:gd name="T29" fmla="*/ 0 h 35"/>
                  <a:gd name="T30" fmla="*/ 6 w 56"/>
                  <a:gd name="T31" fmla="*/ 0 h 3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6" h="35">
                    <a:moveTo>
                      <a:pt x="13" y="0"/>
                    </a:moveTo>
                    <a:lnTo>
                      <a:pt x="0" y="5"/>
                    </a:lnTo>
                    <a:lnTo>
                      <a:pt x="5" y="12"/>
                    </a:lnTo>
                    <a:lnTo>
                      <a:pt x="27" y="23"/>
                    </a:lnTo>
                    <a:lnTo>
                      <a:pt x="34" y="23"/>
                    </a:lnTo>
                    <a:lnTo>
                      <a:pt x="36" y="25"/>
                    </a:lnTo>
                    <a:lnTo>
                      <a:pt x="51" y="35"/>
                    </a:lnTo>
                    <a:lnTo>
                      <a:pt x="51" y="31"/>
                    </a:lnTo>
                    <a:lnTo>
                      <a:pt x="56" y="23"/>
                    </a:lnTo>
                    <a:lnTo>
                      <a:pt x="56" y="13"/>
                    </a:lnTo>
                    <a:lnTo>
                      <a:pt x="54" y="10"/>
                    </a:lnTo>
                    <a:lnTo>
                      <a:pt x="50" y="7"/>
                    </a:lnTo>
                    <a:lnTo>
                      <a:pt x="45" y="0"/>
                    </a:lnTo>
                    <a:lnTo>
                      <a:pt x="27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28" name="Freeform 358">
                <a:extLst>
                  <a:ext uri="{FF2B5EF4-FFF2-40B4-BE49-F238E27FC236}">
                    <a16:creationId xmlns:a16="http://schemas.microsoft.com/office/drawing/2014/main" id="{F3F2DEF5-9A84-DABB-F96E-5116F97E7C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19" y="3154"/>
                <a:ext cx="60" cy="65"/>
              </a:xfrm>
              <a:custGeom>
                <a:avLst/>
                <a:gdLst>
                  <a:gd name="T0" fmla="*/ 15 w 137"/>
                  <a:gd name="T1" fmla="*/ 12 h 149"/>
                  <a:gd name="T2" fmla="*/ 16 w 137"/>
                  <a:gd name="T3" fmla="*/ 12 h 149"/>
                  <a:gd name="T4" fmla="*/ 16 w 137"/>
                  <a:gd name="T5" fmla="*/ 11 h 149"/>
                  <a:gd name="T6" fmla="*/ 18 w 137"/>
                  <a:gd name="T7" fmla="*/ 9 h 149"/>
                  <a:gd name="T8" fmla="*/ 22 w 137"/>
                  <a:gd name="T9" fmla="*/ 11 h 149"/>
                  <a:gd name="T10" fmla="*/ 21 w 137"/>
                  <a:gd name="T11" fmla="*/ 9 h 149"/>
                  <a:gd name="T12" fmla="*/ 18 w 137"/>
                  <a:gd name="T13" fmla="*/ 6 h 149"/>
                  <a:gd name="T14" fmla="*/ 18 w 137"/>
                  <a:gd name="T15" fmla="*/ 4 h 149"/>
                  <a:gd name="T16" fmla="*/ 17 w 137"/>
                  <a:gd name="T17" fmla="*/ 0 h 149"/>
                  <a:gd name="T18" fmla="*/ 21 w 137"/>
                  <a:gd name="T19" fmla="*/ 0 h 149"/>
                  <a:gd name="T20" fmla="*/ 23 w 137"/>
                  <a:gd name="T21" fmla="*/ 0 h 149"/>
                  <a:gd name="T22" fmla="*/ 25 w 137"/>
                  <a:gd name="T23" fmla="*/ 3 h 149"/>
                  <a:gd name="T24" fmla="*/ 32 w 137"/>
                  <a:gd name="T25" fmla="*/ 4 h 149"/>
                  <a:gd name="T26" fmla="*/ 32 w 137"/>
                  <a:gd name="T27" fmla="*/ 7 h 149"/>
                  <a:gd name="T28" fmla="*/ 33 w 137"/>
                  <a:gd name="T29" fmla="*/ 8 h 149"/>
                  <a:gd name="T30" fmla="*/ 43 w 137"/>
                  <a:gd name="T31" fmla="*/ 4 h 149"/>
                  <a:gd name="T32" fmla="*/ 43 w 137"/>
                  <a:gd name="T33" fmla="*/ 4 h 149"/>
                  <a:gd name="T34" fmla="*/ 51 w 137"/>
                  <a:gd name="T35" fmla="*/ 7 h 149"/>
                  <a:gd name="T36" fmla="*/ 54 w 137"/>
                  <a:gd name="T37" fmla="*/ 7 h 149"/>
                  <a:gd name="T38" fmla="*/ 56 w 137"/>
                  <a:gd name="T39" fmla="*/ 9 h 149"/>
                  <a:gd name="T40" fmla="*/ 54 w 137"/>
                  <a:gd name="T41" fmla="*/ 10 h 149"/>
                  <a:gd name="T42" fmla="*/ 55 w 137"/>
                  <a:gd name="T43" fmla="*/ 19 h 149"/>
                  <a:gd name="T44" fmla="*/ 59 w 137"/>
                  <a:gd name="T45" fmla="*/ 28 h 149"/>
                  <a:gd name="T46" fmla="*/ 60 w 137"/>
                  <a:gd name="T47" fmla="*/ 34 h 149"/>
                  <a:gd name="T48" fmla="*/ 59 w 137"/>
                  <a:gd name="T49" fmla="*/ 33 h 149"/>
                  <a:gd name="T50" fmla="*/ 43 w 137"/>
                  <a:gd name="T51" fmla="*/ 41 h 149"/>
                  <a:gd name="T52" fmla="*/ 45 w 137"/>
                  <a:gd name="T53" fmla="*/ 43 h 149"/>
                  <a:gd name="T54" fmla="*/ 54 w 137"/>
                  <a:gd name="T55" fmla="*/ 53 h 149"/>
                  <a:gd name="T56" fmla="*/ 49 w 137"/>
                  <a:gd name="T57" fmla="*/ 58 h 149"/>
                  <a:gd name="T58" fmla="*/ 50 w 137"/>
                  <a:gd name="T59" fmla="*/ 63 h 149"/>
                  <a:gd name="T60" fmla="*/ 48 w 137"/>
                  <a:gd name="T61" fmla="*/ 63 h 149"/>
                  <a:gd name="T62" fmla="*/ 40 w 137"/>
                  <a:gd name="T63" fmla="*/ 63 h 149"/>
                  <a:gd name="T64" fmla="*/ 34 w 137"/>
                  <a:gd name="T65" fmla="*/ 64 h 149"/>
                  <a:gd name="T66" fmla="*/ 32 w 137"/>
                  <a:gd name="T67" fmla="*/ 65 h 149"/>
                  <a:gd name="T68" fmla="*/ 26 w 137"/>
                  <a:gd name="T69" fmla="*/ 64 h 149"/>
                  <a:gd name="T70" fmla="*/ 19 w 137"/>
                  <a:gd name="T71" fmla="*/ 63 h 149"/>
                  <a:gd name="T72" fmla="*/ 12 w 137"/>
                  <a:gd name="T73" fmla="*/ 63 h 149"/>
                  <a:gd name="T74" fmla="*/ 15 w 137"/>
                  <a:gd name="T75" fmla="*/ 51 h 149"/>
                  <a:gd name="T76" fmla="*/ 4 w 137"/>
                  <a:gd name="T77" fmla="*/ 48 h 149"/>
                  <a:gd name="T78" fmla="*/ 3 w 137"/>
                  <a:gd name="T79" fmla="*/ 47 h 149"/>
                  <a:gd name="T80" fmla="*/ 3 w 137"/>
                  <a:gd name="T81" fmla="*/ 46 h 149"/>
                  <a:gd name="T82" fmla="*/ 1 w 137"/>
                  <a:gd name="T83" fmla="*/ 41 h 149"/>
                  <a:gd name="T84" fmla="*/ 1 w 137"/>
                  <a:gd name="T85" fmla="*/ 37 h 149"/>
                  <a:gd name="T86" fmla="*/ 0 w 137"/>
                  <a:gd name="T87" fmla="*/ 35 h 149"/>
                  <a:gd name="T88" fmla="*/ 1 w 137"/>
                  <a:gd name="T89" fmla="*/ 26 h 149"/>
                  <a:gd name="T90" fmla="*/ 7 w 137"/>
                  <a:gd name="T91" fmla="*/ 22 h 149"/>
                  <a:gd name="T92" fmla="*/ 5 w 137"/>
                  <a:gd name="T93" fmla="*/ 19 h 149"/>
                  <a:gd name="T94" fmla="*/ 7 w 137"/>
                  <a:gd name="T95" fmla="*/ 14 h 149"/>
                  <a:gd name="T96" fmla="*/ 7 w 137"/>
                  <a:gd name="T97" fmla="*/ 13 h 149"/>
                  <a:gd name="T98" fmla="*/ 7 w 137"/>
                  <a:gd name="T99" fmla="*/ 11 h 149"/>
                  <a:gd name="T100" fmla="*/ 15 w 137"/>
                  <a:gd name="T101" fmla="*/ 12 h 14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37" h="149">
                    <a:moveTo>
                      <a:pt x="34" y="28"/>
                    </a:moveTo>
                    <a:lnTo>
                      <a:pt x="36" y="28"/>
                    </a:lnTo>
                    <a:lnTo>
                      <a:pt x="36" y="25"/>
                    </a:lnTo>
                    <a:lnTo>
                      <a:pt x="42" y="20"/>
                    </a:lnTo>
                    <a:lnTo>
                      <a:pt x="51" y="25"/>
                    </a:lnTo>
                    <a:lnTo>
                      <a:pt x="47" y="20"/>
                    </a:lnTo>
                    <a:lnTo>
                      <a:pt x="42" y="13"/>
                    </a:lnTo>
                    <a:lnTo>
                      <a:pt x="42" y="10"/>
                    </a:lnTo>
                    <a:lnTo>
                      <a:pt x="38" y="0"/>
                    </a:lnTo>
                    <a:lnTo>
                      <a:pt x="48" y="1"/>
                    </a:lnTo>
                    <a:lnTo>
                      <a:pt x="53" y="1"/>
                    </a:lnTo>
                    <a:lnTo>
                      <a:pt x="56" y="8"/>
                    </a:lnTo>
                    <a:lnTo>
                      <a:pt x="72" y="10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98" y="10"/>
                    </a:lnTo>
                    <a:lnTo>
                      <a:pt x="116" y="16"/>
                    </a:lnTo>
                    <a:lnTo>
                      <a:pt x="123" y="16"/>
                    </a:lnTo>
                    <a:lnTo>
                      <a:pt x="129" y="21"/>
                    </a:lnTo>
                    <a:lnTo>
                      <a:pt x="124" y="23"/>
                    </a:lnTo>
                    <a:lnTo>
                      <a:pt x="126" y="43"/>
                    </a:lnTo>
                    <a:lnTo>
                      <a:pt x="135" y="64"/>
                    </a:lnTo>
                    <a:lnTo>
                      <a:pt x="137" y="79"/>
                    </a:lnTo>
                    <a:lnTo>
                      <a:pt x="135" y="76"/>
                    </a:lnTo>
                    <a:lnTo>
                      <a:pt x="98" y="93"/>
                    </a:lnTo>
                    <a:lnTo>
                      <a:pt x="103" y="99"/>
                    </a:lnTo>
                    <a:lnTo>
                      <a:pt x="124" y="121"/>
                    </a:lnTo>
                    <a:lnTo>
                      <a:pt x="112" y="132"/>
                    </a:lnTo>
                    <a:lnTo>
                      <a:pt x="115" y="144"/>
                    </a:lnTo>
                    <a:lnTo>
                      <a:pt x="109" y="144"/>
                    </a:lnTo>
                    <a:lnTo>
                      <a:pt x="92" y="144"/>
                    </a:lnTo>
                    <a:lnTo>
                      <a:pt x="78" y="146"/>
                    </a:lnTo>
                    <a:lnTo>
                      <a:pt x="72" y="149"/>
                    </a:lnTo>
                    <a:lnTo>
                      <a:pt x="59" y="146"/>
                    </a:lnTo>
                    <a:lnTo>
                      <a:pt x="44" y="144"/>
                    </a:lnTo>
                    <a:lnTo>
                      <a:pt x="28" y="144"/>
                    </a:lnTo>
                    <a:lnTo>
                      <a:pt x="34" y="117"/>
                    </a:lnTo>
                    <a:lnTo>
                      <a:pt x="10" y="109"/>
                    </a:lnTo>
                    <a:lnTo>
                      <a:pt x="7" y="107"/>
                    </a:lnTo>
                    <a:lnTo>
                      <a:pt x="7" y="106"/>
                    </a:lnTo>
                    <a:lnTo>
                      <a:pt x="2" y="94"/>
                    </a:lnTo>
                    <a:lnTo>
                      <a:pt x="2" y="84"/>
                    </a:lnTo>
                    <a:lnTo>
                      <a:pt x="0" y="81"/>
                    </a:lnTo>
                    <a:lnTo>
                      <a:pt x="2" y="59"/>
                    </a:lnTo>
                    <a:lnTo>
                      <a:pt x="16" y="51"/>
                    </a:lnTo>
                    <a:lnTo>
                      <a:pt x="11" y="43"/>
                    </a:lnTo>
                    <a:lnTo>
                      <a:pt x="16" y="33"/>
                    </a:lnTo>
                    <a:lnTo>
                      <a:pt x="16" y="30"/>
                    </a:lnTo>
                    <a:lnTo>
                      <a:pt x="16" y="25"/>
                    </a:lnTo>
                    <a:lnTo>
                      <a:pt x="34" y="28"/>
                    </a:lnTo>
                    <a:close/>
                  </a:path>
                </a:pathLst>
              </a:custGeom>
              <a:solidFill>
                <a:srgbClr val="BDB9B5"/>
              </a:solidFill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29" name="Freeform 359">
                <a:extLst>
                  <a:ext uri="{FF2B5EF4-FFF2-40B4-BE49-F238E27FC236}">
                    <a16:creationId xmlns:a16="http://schemas.microsoft.com/office/drawing/2014/main" id="{EE536B14-8A27-1651-5BCA-2ABB0D2402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67" y="3156"/>
                <a:ext cx="4" cy="3"/>
              </a:xfrm>
              <a:custGeom>
                <a:avLst/>
                <a:gdLst>
                  <a:gd name="T0" fmla="*/ 0 w 9"/>
                  <a:gd name="T1" fmla="*/ 3 h 5"/>
                  <a:gd name="T2" fmla="*/ 4 w 9"/>
                  <a:gd name="T3" fmla="*/ 3 h 5"/>
                  <a:gd name="T4" fmla="*/ 2 w 9"/>
                  <a:gd name="T5" fmla="*/ 0 h 5"/>
                  <a:gd name="T6" fmla="*/ 0 w 9"/>
                  <a:gd name="T7" fmla="*/ 3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" h="5">
                    <a:moveTo>
                      <a:pt x="0" y="5"/>
                    </a:moveTo>
                    <a:lnTo>
                      <a:pt x="9" y="5"/>
                    </a:lnTo>
                    <a:lnTo>
                      <a:pt x="5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30" name="Freeform 360">
                <a:extLst>
                  <a:ext uri="{FF2B5EF4-FFF2-40B4-BE49-F238E27FC236}">
                    <a16:creationId xmlns:a16="http://schemas.microsoft.com/office/drawing/2014/main" id="{1357C0BC-D564-73FE-9F83-35B9619EDDD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18" y="3195"/>
                <a:ext cx="4" cy="6"/>
              </a:xfrm>
              <a:custGeom>
                <a:avLst/>
                <a:gdLst>
                  <a:gd name="T0" fmla="*/ 2 w 10"/>
                  <a:gd name="T1" fmla="*/ 0 h 13"/>
                  <a:gd name="T2" fmla="*/ 1 w 10"/>
                  <a:gd name="T3" fmla="*/ 5 h 13"/>
                  <a:gd name="T4" fmla="*/ 1 w 10"/>
                  <a:gd name="T5" fmla="*/ 6 h 13"/>
                  <a:gd name="T6" fmla="*/ 0 w 10"/>
                  <a:gd name="T7" fmla="*/ 6 h 13"/>
                  <a:gd name="T8" fmla="*/ 4 w 10"/>
                  <a:gd name="T9" fmla="*/ 6 h 13"/>
                  <a:gd name="T10" fmla="*/ 4 w 10"/>
                  <a:gd name="T11" fmla="*/ 6 h 13"/>
                  <a:gd name="T12" fmla="*/ 2 w 10"/>
                  <a:gd name="T13" fmla="*/ 0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" h="13">
                    <a:moveTo>
                      <a:pt x="5" y="0"/>
                    </a:moveTo>
                    <a:lnTo>
                      <a:pt x="2" y="10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10" y="13"/>
                    </a:lnTo>
                    <a:lnTo>
                      <a:pt x="10" y="1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31" name="Freeform 361">
                <a:extLst>
                  <a:ext uri="{FF2B5EF4-FFF2-40B4-BE49-F238E27FC236}">
                    <a16:creationId xmlns:a16="http://schemas.microsoft.com/office/drawing/2014/main" id="{E6DAE76C-9F0F-7EDA-927B-FF8EE8F635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65" y="3206"/>
                <a:ext cx="31" cy="32"/>
              </a:xfrm>
              <a:custGeom>
                <a:avLst/>
                <a:gdLst>
                  <a:gd name="T0" fmla="*/ 7 w 72"/>
                  <a:gd name="T1" fmla="*/ 0 h 71"/>
                  <a:gd name="T2" fmla="*/ 0 w 72"/>
                  <a:gd name="T3" fmla="*/ 5 h 71"/>
                  <a:gd name="T4" fmla="*/ 1 w 72"/>
                  <a:gd name="T5" fmla="*/ 5 h 71"/>
                  <a:gd name="T6" fmla="*/ 6 w 72"/>
                  <a:gd name="T7" fmla="*/ 10 h 71"/>
                  <a:gd name="T8" fmla="*/ 11 w 72"/>
                  <a:gd name="T9" fmla="*/ 16 h 71"/>
                  <a:gd name="T10" fmla="*/ 13 w 72"/>
                  <a:gd name="T11" fmla="*/ 23 h 71"/>
                  <a:gd name="T12" fmla="*/ 16 w 72"/>
                  <a:gd name="T13" fmla="*/ 31 h 71"/>
                  <a:gd name="T14" fmla="*/ 22 w 72"/>
                  <a:gd name="T15" fmla="*/ 31 h 71"/>
                  <a:gd name="T16" fmla="*/ 25 w 72"/>
                  <a:gd name="T17" fmla="*/ 32 h 71"/>
                  <a:gd name="T18" fmla="*/ 25 w 72"/>
                  <a:gd name="T19" fmla="*/ 27 h 71"/>
                  <a:gd name="T20" fmla="*/ 31 w 72"/>
                  <a:gd name="T21" fmla="*/ 22 h 71"/>
                  <a:gd name="T22" fmla="*/ 25 w 72"/>
                  <a:gd name="T23" fmla="*/ 17 h 71"/>
                  <a:gd name="T24" fmla="*/ 20 w 72"/>
                  <a:gd name="T25" fmla="*/ 11 h 71"/>
                  <a:gd name="T26" fmla="*/ 14 w 72"/>
                  <a:gd name="T27" fmla="*/ 6 h 71"/>
                  <a:gd name="T28" fmla="*/ 8 w 72"/>
                  <a:gd name="T29" fmla="*/ 0 h 71"/>
                  <a:gd name="T30" fmla="*/ 7 w 72"/>
                  <a:gd name="T31" fmla="*/ 0 h 7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72" h="71">
                    <a:moveTo>
                      <a:pt x="16" y="0"/>
                    </a:moveTo>
                    <a:lnTo>
                      <a:pt x="0" y="11"/>
                    </a:lnTo>
                    <a:lnTo>
                      <a:pt x="2" y="11"/>
                    </a:lnTo>
                    <a:lnTo>
                      <a:pt x="14" y="23"/>
                    </a:lnTo>
                    <a:lnTo>
                      <a:pt x="25" y="35"/>
                    </a:lnTo>
                    <a:lnTo>
                      <a:pt x="30" y="51"/>
                    </a:lnTo>
                    <a:lnTo>
                      <a:pt x="36" y="68"/>
                    </a:lnTo>
                    <a:lnTo>
                      <a:pt x="50" y="68"/>
                    </a:lnTo>
                    <a:lnTo>
                      <a:pt x="59" y="71"/>
                    </a:lnTo>
                    <a:lnTo>
                      <a:pt x="58" y="61"/>
                    </a:lnTo>
                    <a:lnTo>
                      <a:pt x="72" y="48"/>
                    </a:lnTo>
                    <a:lnTo>
                      <a:pt x="58" y="38"/>
                    </a:lnTo>
                    <a:lnTo>
                      <a:pt x="47" y="25"/>
                    </a:lnTo>
                    <a:lnTo>
                      <a:pt x="33" y="13"/>
                    </a:lnTo>
                    <a:lnTo>
                      <a:pt x="19" y="1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32" name="Freeform 362">
                <a:extLst>
                  <a:ext uri="{FF2B5EF4-FFF2-40B4-BE49-F238E27FC236}">
                    <a16:creationId xmlns:a16="http://schemas.microsoft.com/office/drawing/2014/main" id="{E4602A4E-1452-6CA1-19FC-4EB067C716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09" y="3023"/>
                <a:ext cx="147" cy="103"/>
              </a:xfrm>
              <a:custGeom>
                <a:avLst/>
                <a:gdLst>
                  <a:gd name="T0" fmla="*/ 84 w 331"/>
                  <a:gd name="T1" fmla="*/ 13 h 234"/>
                  <a:gd name="T2" fmla="*/ 82 w 331"/>
                  <a:gd name="T3" fmla="*/ 12 h 234"/>
                  <a:gd name="T4" fmla="*/ 80 w 331"/>
                  <a:gd name="T5" fmla="*/ 13 h 234"/>
                  <a:gd name="T6" fmla="*/ 73 w 331"/>
                  <a:gd name="T7" fmla="*/ 12 h 234"/>
                  <a:gd name="T8" fmla="*/ 72 w 331"/>
                  <a:gd name="T9" fmla="*/ 18 h 234"/>
                  <a:gd name="T10" fmla="*/ 70 w 331"/>
                  <a:gd name="T11" fmla="*/ 22 h 234"/>
                  <a:gd name="T12" fmla="*/ 64 w 331"/>
                  <a:gd name="T13" fmla="*/ 24 h 234"/>
                  <a:gd name="T14" fmla="*/ 60 w 331"/>
                  <a:gd name="T15" fmla="*/ 22 h 234"/>
                  <a:gd name="T16" fmla="*/ 59 w 331"/>
                  <a:gd name="T17" fmla="*/ 27 h 234"/>
                  <a:gd name="T18" fmla="*/ 56 w 331"/>
                  <a:gd name="T19" fmla="*/ 28 h 234"/>
                  <a:gd name="T20" fmla="*/ 55 w 331"/>
                  <a:gd name="T21" fmla="*/ 31 h 234"/>
                  <a:gd name="T22" fmla="*/ 46 w 331"/>
                  <a:gd name="T23" fmla="*/ 37 h 234"/>
                  <a:gd name="T24" fmla="*/ 46 w 331"/>
                  <a:gd name="T25" fmla="*/ 39 h 234"/>
                  <a:gd name="T26" fmla="*/ 44 w 331"/>
                  <a:gd name="T27" fmla="*/ 45 h 234"/>
                  <a:gd name="T28" fmla="*/ 38 w 331"/>
                  <a:gd name="T29" fmla="*/ 49 h 234"/>
                  <a:gd name="T30" fmla="*/ 36 w 331"/>
                  <a:gd name="T31" fmla="*/ 51 h 234"/>
                  <a:gd name="T32" fmla="*/ 29 w 331"/>
                  <a:gd name="T33" fmla="*/ 57 h 234"/>
                  <a:gd name="T34" fmla="*/ 37 w 331"/>
                  <a:gd name="T35" fmla="*/ 55 h 234"/>
                  <a:gd name="T36" fmla="*/ 29 w 331"/>
                  <a:gd name="T37" fmla="*/ 59 h 234"/>
                  <a:gd name="T38" fmla="*/ 22 w 331"/>
                  <a:gd name="T39" fmla="*/ 61 h 234"/>
                  <a:gd name="T40" fmla="*/ 19 w 331"/>
                  <a:gd name="T41" fmla="*/ 63 h 234"/>
                  <a:gd name="T42" fmla="*/ 11 w 331"/>
                  <a:gd name="T43" fmla="*/ 66 h 234"/>
                  <a:gd name="T44" fmla="*/ 14 w 331"/>
                  <a:gd name="T45" fmla="*/ 66 h 234"/>
                  <a:gd name="T46" fmla="*/ 12 w 331"/>
                  <a:gd name="T47" fmla="*/ 69 h 234"/>
                  <a:gd name="T48" fmla="*/ 5 w 331"/>
                  <a:gd name="T49" fmla="*/ 69 h 234"/>
                  <a:gd name="T50" fmla="*/ 0 w 331"/>
                  <a:gd name="T51" fmla="*/ 70 h 234"/>
                  <a:gd name="T52" fmla="*/ 0 w 331"/>
                  <a:gd name="T53" fmla="*/ 74 h 234"/>
                  <a:gd name="T54" fmla="*/ 2 w 331"/>
                  <a:gd name="T55" fmla="*/ 76 h 234"/>
                  <a:gd name="T56" fmla="*/ 14 w 331"/>
                  <a:gd name="T57" fmla="*/ 77 h 234"/>
                  <a:gd name="T58" fmla="*/ 14 w 331"/>
                  <a:gd name="T59" fmla="*/ 80 h 234"/>
                  <a:gd name="T60" fmla="*/ 1 w 331"/>
                  <a:gd name="T61" fmla="*/ 82 h 234"/>
                  <a:gd name="T62" fmla="*/ 4 w 331"/>
                  <a:gd name="T63" fmla="*/ 82 h 234"/>
                  <a:gd name="T64" fmla="*/ 4 w 331"/>
                  <a:gd name="T65" fmla="*/ 85 h 234"/>
                  <a:gd name="T66" fmla="*/ 11 w 331"/>
                  <a:gd name="T67" fmla="*/ 84 h 234"/>
                  <a:gd name="T68" fmla="*/ 6 w 331"/>
                  <a:gd name="T69" fmla="*/ 89 h 234"/>
                  <a:gd name="T70" fmla="*/ 2 w 331"/>
                  <a:gd name="T71" fmla="*/ 93 h 234"/>
                  <a:gd name="T72" fmla="*/ 8 w 331"/>
                  <a:gd name="T73" fmla="*/ 93 h 234"/>
                  <a:gd name="T74" fmla="*/ 5 w 331"/>
                  <a:gd name="T75" fmla="*/ 100 h 234"/>
                  <a:gd name="T76" fmla="*/ 30 w 331"/>
                  <a:gd name="T77" fmla="*/ 96 h 234"/>
                  <a:gd name="T78" fmla="*/ 36 w 331"/>
                  <a:gd name="T79" fmla="*/ 89 h 234"/>
                  <a:gd name="T80" fmla="*/ 46 w 331"/>
                  <a:gd name="T81" fmla="*/ 88 h 234"/>
                  <a:gd name="T82" fmla="*/ 49 w 331"/>
                  <a:gd name="T83" fmla="*/ 76 h 234"/>
                  <a:gd name="T84" fmla="*/ 44 w 331"/>
                  <a:gd name="T85" fmla="*/ 58 h 234"/>
                  <a:gd name="T86" fmla="*/ 52 w 331"/>
                  <a:gd name="T87" fmla="*/ 50 h 234"/>
                  <a:gd name="T88" fmla="*/ 61 w 331"/>
                  <a:gd name="T89" fmla="*/ 37 h 234"/>
                  <a:gd name="T90" fmla="*/ 75 w 331"/>
                  <a:gd name="T91" fmla="*/ 22 h 234"/>
                  <a:gd name="T92" fmla="*/ 85 w 331"/>
                  <a:gd name="T93" fmla="*/ 15 h 234"/>
                  <a:gd name="T94" fmla="*/ 98 w 331"/>
                  <a:gd name="T95" fmla="*/ 17 h 234"/>
                  <a:gd name="T96" fmla="*/ 117 w 331"/>
                  <a:gd name="T97" fmla="*/ 17 h 234"/>
                  <a:gd name="T98" fmla="*/ 137 w 331"/>
                  <a:gd name="T99" fmla="*/ 10 h 234"/>
                  <a:gd name="T100" fmla="*/ 147 w 331"/>
                  <a:gd name="T101" fmla="*/ 11 h 234"/>
                  <a:gd name="T102" fmla="*/ 140 w 331"/>
                  <a:gd name="T103" fmla="*/ 10 h 234"/>
                  <a:gd name="T104" fmla="*/ 141 w 331"/>
                  <a:gd name="T105" fmla="*/ 3 h 234"/>
                  <a:gd name="T106" fmla="*/ 131 w 331"/>
                  <a:gd name="T107" fmla="*/ 7 h 234"/>
                  <a:gd name="T108" fmla="*/ 128 w 331"/>
                  <a:gd name="T109" fmla="*/ 3 h 234"/>
                  <a:gd name="T110" fmla="*/ 121 w 331"/>
                  <a:gd name="T111" fmla="*/ 6 h 234"/>
                  <a:gd name="T112" fmla="*/ 115 w 331"/>
                  <a:gd name="T113" fmla="*/ 2 h 234"/>
                  <a:gd name="T114" fmla="*/ 108 w 331"/>
                  <a:gd name="T115" fmla="*/ 3 h 234"/>
                  <a:gd name="T116" fmla="*/ 98 w 331"/>
                  <a:gd name="T117" fmla="*/ 6 h 234"/>
                  <a:gd name="T118" fmla="*/ 95 w 331"/>
                  <a:gd name="T119" fmla="*/ 9 h 23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331" h="234">
                    <a:moveTo>
                      <a:pt x="195" y="25"/>
                    </a:moveTo>
                    <a:lnTo>
                      <a:pt x="195" y="26"/>
                    </a:lnTo>
                    <a:lnTo>
                      <a:pt x="190" y="30"/>
                    </a:lnTo>
                    <a:lnTo>
                      <a:pt x="190" y="20"/>
                    </a:lnTo>
                    <a:lnTo>
                      <a:pt x="189" y="26"/>
                    </a:lnTo>
                    <a:lnTo>
                      <a:pt x="184" y="28"/>
                    </a:lnTo>
                    <a:lnTo>
                      <a:pt x="184" y="22"/>
                    </a:lnTo>
                    <a:lnTo>
                      <a:pt x="179" y="26"/>
                    </a:lnTo>
                    <a:lnTo>
                      <a:pt x="181" y="30"/>
                    </a:lnTo>
                    <a:lnTo>
                      <a:pt x="170" y="28"/>
                    </a:lnTo>
                    <a:lnTo>
                      <a:pt x="171" y="30"/>
                    </a:lnTo>
                    <a:lnTo>
                      <a:pt x="165" y="28"/>
                    </a:lnTo>
                    <a:lnTo>
                      <a:pt x="162" y="35"/>
                    </a:lnTo>
                    <a:lnTo>
                      <a:pt x="162" y="40"/>
                    </a:lnTo>
                    <a:lnTo>
                      <a:pt x="161" y="41"/>
                    </a:lnTo>
                    <a:lnTo>
                      <a:pt x="147" y="43"/>
                    </a:lnTo>
                    <a:lnTo>
                      <a:pt x="161" y="46"/>
                    </a:lnTo>
                    <a:lnTo>
                      <a:pt x="158" y="50"/>
                    </a:lnTo>
                    <a:lnTo>
                      <a:pt x="147" y="48"/>
                    </a:lnTo>
                    <a:lnTo>
                      <a:pt x="147" y="50"/>
                    </a:lnTo>
                    <a:lnTo>
                      <a:pt x="144" y="55"/>
                    </a:lnTo>
                    <a:lnTo>
                      <a:pt x="139" y="51"/>
                    </a:lnTo>
                    <a:lnTo>
                      <a:pt x="134" y="51"/>
                    </a:lnTo>
                    <a:lnTo>
                      <a:pt x="125" y="61"/>
                    </a:lnTo>
                    <a:lnTo>
                      <a:pt x="137" y="58"/>
                    </a:lnTo>
                    <a:lnTo>
                      <a:pt x="133" y="61"/>
                    </a:lnTo>
                    <a:lnTo>
                      <a:pt x="136" y="63"/>
                    </a:lnTo>
                    <a:lnTo>
                      <a:pt x="134" y="65"/>
                    </a:lnTo>
                    <a:lnTo>
                      <a:pt x="127" y="63"/>
                    </a:lnTo>
                    <a:lnTo>
                      <a:pt x="125" y="66"/>
                    </a:lnTo>
                    <a:lnTo>
                      <a:pt x="136" y="70"/>
                    </a:lnTo>
                    <a:lnTo>
                      <a:pt x="124" y="70"/>
                    </a:lnTo>
                    <a:lnTo>
                      <a:pt x="113" y="75"/>
                    </a:lnTo>
                    <a:lnTo>
                      <a:pt x="107" y="80"/>
                    </a:lnTo>
                    <a:lnTo>
                      <a:pt x="103" y="83"/>
                    </a:lnTo>
                    <a:lnTo>
                      <a:pt x="107" y="85"/>
                    </a:lnTo>
                    <a:lnTo>
                      <a:pt x="116" y="85"/>
                    </a:lnTo>
                    <a:lnTo>
                      <a:pt x="103" y="89"/>
                    </a:lnTo>
                    <a:lnTo>
                      <a:pt x="99" y="93"/>
                    </a:lnTo>
                    <a:lnTo>
                      <a:pt x="99" y="98"/>
                    </a:lnTo>
                    <a:lnTo>
                      <a:pt x="100" y="103"/>
                    </a:lnTo>
                    <a:lnTo>
                      <a:pt x="103" y="103"/>
                    </a:lnTo>
                    <a:lnTo>
                      <a:pt x="86" y="108"/>
                    </a:lnTo>
                    <a:lnTo>
                      <a:pt x="86" y="111"/>
                    </a:lnTo>
                    <a:lnTo>
                      <a:pt x="93" y="108"/>
                    </a:lnTo>
                    <a:lnTo>
                      <a:pt x="89" y="114"/>
                    </a:lnTo>
                    <a:lnTo>
                      <a:pt x="82" y="116"/>
                    </a:lnTo>
                    <a:lnTo>
                      <a:pt x="77" y="116"/>
                    </a:lnTo>
                    <a:lnTo>
                      <a:pt x="69" y="126"/>
                    </a:lnTo>
                    <a:lnTo>
                      <a:pt x="65" y="129"/>
                    </a:lnTo>
                    <a:lnTo>
                      <a:pt x="69" y="134"/>
                    </a:lnTo>
                    <a:lnTo>
                      <a:pt x="77" y="129"/>
                    </a:lnTo>
                    <a:lnTo>
                      <a:pt x="83" y="126"/>
                    </a:lnTo>
                    <a:lnTo>
                      <a:pt x="82" y="131"/>
                    </a:lnTo>
                    <a:lnTo>
                      <a:pt x="72" y="134"/>
                    </a:lnTo>
                    <a:lnTo>
                      <a:pt x="66" y="134"/>
                    </a:lnTo>
                    <a:lnTo>
                      <a:pt x="55" y="134"/>
                    </a:lnTo>
                    <a:lnTo>
                      <a:pt x="49" y="139"/>
                    </a:lnTo>
                    <a:lnTo>
                      <a:pt x="45" y="144"/>
                    </a:lnTo>
                    <a:lnTo>
                      <a:pt x="45" y="146"/>
                    </a:lnTo>
                    <a:lnTo>
                      <a:pt x="42" y="144"/>
                    </a:lnTo>
                    <a:lnTo>
                      <a:pt x="45" y="149"/>
                    </a:lnTo>
                    <a:lnTo>
                      <a:pt x="28" y="144"/>
                    </a:lnTo>
                    <a:lnTo>
                      <a:pt x="24" y="149"/>
                    </a:lnTo>
                    <a:lnTo>
                      <a:pt x="32" y="149"/>
                    </a:lnTo>
                    <a:lnTo>
                      <a:pt x="37" y="149"/>
                    </a:lnTo>
                    <a:lnTo>
                      <a:pt x="31" y="149"/>
                    </a:lnTo>
                    <a:lnTo>
                      <a:pt x="18" y="152"/>
                    </a:lnTo>
                    <a:lnTo>
                      <a:pt x="28" y="157"/>
                    </a:lnTo>
                    <a:lnTo>
                      <a:pt x="26" y="157"/>
                    </a:lnTo>
                    <a:lnTo>
                      <a:pt x="18" y="154"/>
                    </a:lnTo>
                    <a:lnTo>
                      <a:pt x="18" y="157"/>
                    </a:lnTo>
                    <a:lnTo>
                      <a:pt x="12" y="157"/>
                    </a:lnTo>
                    <a:lnTo>
                      <a:pt x="12" y="159"/>
                    </a:lnTo>
                    <a:lnTo>
                      <a:pt x="4" y="161"/>
                    </a:lnTo>
                    <a:lnTo>
                      <a:pt x="1" y="159"/>
                    </a:lnTo>
                    <a:lnTo>
                      <a:pt x="0" y="164"/>
                    </a:lnTo>
                    <a:lnTo>
                      <a:pt x="18" y="166"/>
                    </a:lnTo>
                    <a:lnTo>
                      <a:pt x="0" y="167"/>
                    </a:lnTo>
                    <a:lnTo>
                      <a:pt x="7" y="172"/>
                    </a:lnTo>
                    <a:lnTo>
                      <a:pt x="3" y="172"/>
                    </a:lnTo>
                    <a:lnTo>
                      <a:pt x="4" y="172"/>
                    </a:lnTo>
                    <a:lnTo>
                      <a:pt x="1" y="177"/>
                    </a:lnTo>
                    <a:lnTo>
                      <a:pt x="21" y="176"/>
                    </a:lnTo>
                    <a:lnTo>
                      <a:pt x="31" y="176"/>
                    </a:lnTo>
                    <a:lnTo>
                      <a:pt x="32" y="172"/>
                    </a:lnTo>
                    <a:lnTo>
                      <a:pt x="32" y="179"/>
                    </a:lnTo>
                    <a:lnTo>
                      <a:pt x="31" y="182"/>
                    </a:lnTo>
                    <a:lnTo>
                      <a:pt x="18" y="179"/>
                    </a:lnTo>
                    <a:lnTo>
                      <a:pt x="0" y="182"/>
                    </a:lnTo>
                    <a:lnTo>
                      <a:pt x="3" y="186"/>
                    </a:lnTo>
                    <a:lnTo>
                      <a:pt x="0" y="186"/>
                    </a:lnTo>
                    <a:lnTo>
                      <a:pt x="9" y="187"/>
                    </a:lnTo>
                    <a:lnTo>
                      <a:pt x="7" y="191"/>
                    </a:lnTo>
                    <a:lnTo>
                      <a:pt x="3" y="196"/>
                    </a:lnTo>
                    <a:lnTo>
                      <a:pt x="9" y="194"/>
                    </a:lnTo>
                    <a:lnTo>
                      <a:pt x="12" y="199"/>
                    </a:lnTo>
                    <a:lnTo>
                      <a:pt x="18" y="191"/>
                    </a:lnTo>
                    <a:lnTo>
                      <a:pt x="24" y="191"/>
                    </a:lnTo>
                    <a:lnTo>
                      <a:pt x="21" y="197"/>
                    </a:lnTo>
                    <a:lnTo>
                      <a:pt x="18" y="191"/>
                    </a:lnTo>
                    <a:lnTo>
                      <a:pt x="14" y="202"/>
                    </a:lnTo>
                    <a:lnTo>
                      <a:pt x="15" y="204"/>
                    </a:lnTo>
                    <a:lnTo>
                      <a:pt x="7" y="207"/>
                    </a:lnTo>
                    <a:lnTo>
                      <a:pt x="4" y="212"/>
                    </a:lnTo>
                    <a:lnTo>
                      <a:pt x="12" y="209"/>
                    </a:lnTo>
                    <a:lnTo>
                      <a:pt x="18" y="209"/>
                    </a:lnTo>
                    <a:lnTo>
                      <a:pt x="18" y="212"/>
                    </a:lnTo>
                    <a:lnTo>
                      <a:pt x="17" y="217"/>
                    </a:lnTo>
                    <a:lnTo>
                      <a:pt x="12" y="219"/>
                    </a:lnTo>
                    <a:lnTo>
                      <a:pt x="12" y="227"/>
                    </a:lnTo>
                    <a:lnTo>
                      <a:pt x="24" y="234"/>
                    </a:lnTo>
                    <a:lnTo>
                      <a:pt x="45" y="234"/>
                    </a:lnTo>
                    <a:lnTo>
                      <a:pt x="68" y="217"/>
                    </a:lnTo>
                    <a:lnTo>
                      <a:pt x="77" y="217"/>
                    </a:lnTo>
                    <a:lnTo>
                      <a:pt x="79" y="206"/>
                    </a:lnTo>
                    <a:lnTo>
                      <a:pt x="82" y="202"/>
                    </a:lnTo>
                    <a:lnTo>
                      <a:pt x="86" y="214"/>
                    </a:lnTo>
                    <a:lnTo>
                      <a:pt x="93" y="217"/>
                    </a:lnTo>
                    <a:lnTo>
                      <a:pt x="103" y="201"/>
                    </a:lnTo>
                    <a:lnTo>
                      <a:pt x="105" y="186"/>
                    </a:lnTo>
                    <a:lnTo>
                      <a:pt x="105" y="179"/>
                    </a:lnTo>
                    <a:lnTo>
                      <a:pt x="110" y="172"/>
                    </a:lnTo>
                    <a:lnTo>
                      <a:pt x="99" y="167"/>
                    </a:lnTo>
                    <a:lnTo>
                      <a:pt x="99" y="149"/>
                    </a:lnTo>
                    <a:lnTo>
                      <a:pt x="99" y="131"/>
                    </a:lnTo>
                    <a:lnTo>
                      <a:pt x="111" y="123"/>
                    </a:lnTo>
                    <a:lnTo>
                      <a:pt x="124" y="121"/>
                    </a:lnTo>
                    <a:lnTo>
                      <a:pt x="116" y="114"/>
                    </a:lnTo>
                    <a:lnTo>
                      <a:pt x="127" y="93"/>
                    </a:lnTo>
                    <a:lnTo>
                      <a:pt x="124" y="88"/>
                    </a:lnTo>
                    <a:lnTo>
                      <a:pt x="137" y="85"/>
                    </a:lnTo>
                    <a:lnTo>
                      <a:pt x="144" y="73"/>
                    </a:lnTo>
                    <a:lnTo>
                      <a:pt x="150" y="55"/>
                    </a:lnTo>
                    <a:lnTo>
                      <a:pt x="168" y="51"/>
                    </a:lnTo>
                    <a:lnTo>
                      <a:pt x="170" y="43"/>
                    </a:lnTo>
                    <a:lnTo>
                      <a:pt x="193" y="43"/>
                    </a:lnTo>
                    <a:lnTo>
                      <a:pt x="192" y="35"/>
                    </a:lnTo>
                    <a:lnTo>
                      <a:pt x="198" y="35"/>
                    </a:lnTo>
                    <a:lnTo>
                      <a:pt x="207" y="30"/>
                    </a:lnTo>
                    <a:lnTo>
                      <a:pt x="221" y="38"/>
                    </a:lnTo>
                    <a:lnTo>
                      <a:pt x="236" y="41"/>
                    </a:lnTo>
                    <a:lnTo>
                      <a:pt x="255" y="41"/>
                    </a:lnTo>
                    <a:lnTo>
                      <a:pt x="263" y="38"/>
                    </a:lnTo>
                    <a:lnTo>
                      <a:pt x="267" y="25"/>
                    </a:lnTo>
                    <a:lnTo>
                      <a:pt x="286" y="18"/>
                    </a:lnTo>
                    <a:lnTo>
                      <a:pt x="308" y="23"/>
                    </a:lnTo>
                    <a:lnTo>
                      <a:pt x="309" y="35"/>
                    </a:lnTo>
                    <a:lnTo>
                      <a:pt x="323" y="28"/>
                    </a:lnTo>
                    <a:lnTo>
                      <a:pt x="331" y="26"/>
                    </a:lnTo>
                    <a:lnTo>
                      <a:pt x="331" y="22"/>
                    </a:lnTo>
                    <a:lnTo>
                      <a:pt x="323" y="20"/>
                    </a:lnTo>
                    <a:lnTo>
                      <a:pt x="315" y="22"/>
                    </a:lnTo>
                    <a:lnTo>
                      <a:pt x="305" y="17"/>
                    </a:lnTo>
                    <a:lnTo>
                      <a:pt x="331" y="13"/>
                    </a:lnTo>
                    <a:lnTo>
                      <a:pt x="317" y="7"/>
                    </a:lnTo>
                    <a:lnTo>
                      <a:pt x="305" y="5"/>
                    </a:lnTo>
                    <a:lnTo>
                      <a:pt x="295" y="7"/>
                    </a:lnTo>
                    <a:lnTo>
                      <a:pt x="294" y="15"/>
                    </a:lnTo>
                    <a:lnTo>
                      <a:pt x="292" y="10"/>
                    </a:lnTo>
                    <a:lnTo>
                      <a:pt x="291" y="7"/>
                    </a:lnTo>
                    <a:lnTo>
                      <a:pt x="289" y="7"/>
                    </a:lnTo>
                    <a:lnTo>
                      <a:pt x="288" y="0"/>
                    </a:lnTo>
                    <a:lnTo>
                      <a:pt x="280" y="5"/>
                    </a:lnTo>
                    <a:lnTo>
                      <a:pt x="272" y="13"/>
                    </a:lnTo>
                    <a:lnTo>
                      <a:pt x="267" y="5"/>
                    </a:lnTo>
                    <a:lnTo>
                      <a:pt x="252" y="17"/>
                    </a:lnTo>
                    <a:lnTo>
                      <a:pt x="258" y="5"/>
                    </a:lnTo>
                    <a:lnTo>
                      <a:pt x="253" y="5"/>
                    </a:lnTo>
                    <a:lnTo>
                      <a:pt x="244" y="5"/>
                    </a:lnTo>
                    <a:lnTo>
                      <a:pt x="244" y="7"/>
                    </a:lnTo>
                    <a:lnTo>
                      <a:pt x="229" y="17"/>
                    </a:lnTo>
                    <a:lnTo>
                      <a:pt x="219" y="17"/>
                    </a:lnTo>
                    <a:lnTo>
                      <a:pt x="221" y="13"/>
                    </a:lnTo>
                    <a:lnTo>
                      <a:pt x="206" y="15"/>
                    </a:lnTo>
                    <a:lnTo>
                      <a:pt x="215" y="18"/>
                    </a:lnTo>
                    <a:lnTo>
                      <a:pt x="213" y="20"/>
                    </a:lnTo>
                    <a:lnTo>
                      <a:pt x="204" y="20"/>
                    </a:lnTo>
                    <a:lnTo>
                      <a:pt x="195" y="2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33" name="Freeform 363">
                <a:extLst>
                  <a:ext uri="{FF2B5EF4-FFF2-40B4-BE49-F238E27FC236}">
                    <a16:creationId xmlns:a16="http://schemas.microsoft.com/office/drawing/2014/main" id="{F6B5BBA4-14B3-323F-713A-A0BE0EE022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33" y="2963"/>
                <a:ext cx="54" cy="23"/>
              </a:xfrm>
              <a:custGeom>
                <a:avLst/>
                <a:gdLst>
                  <a:gd name="T0" fmla="*/ 12 w 121"/>
                  <a:gd name="T1" fmla="*/ 1 h 51"/>
                  <a:gd name="T2" fmla="*/ 5 w 121"/>
                  <a:gd name="T3" fmla="*/ 1 h 51"/>
                  <a:gd name="T4" fmla="*/ 0 w 121"/>
                  <a:gd name="T5" fmla="*/ 2 h 51"/>
                  <a:gd name="T6" fmla="*/ 0 w 121"/>
                  <a:gd name="T7" fmla="*/ 5 h 51"/>
                  <a:gd name="T8" fmla="*/ 5 w 121"/>
                  <a:gd name="T9" fmla="*/ 5 h 51"/>
                  <a:gd name="T10" fmla="*/ 6 w 121"/>
                  <a:gd name="T11" fmla="*/ 7 h 51"/>
                  <a:gd name="T12" fmla="*/ 1 w 121"/>
                  <a:gd name="T13" fmla="*/ 7 h 51"/>
                  <a:gd name="T14" fmla="*/ 8 w 121"/>
                  <a:gd name="T15" fmla="*/ 9 h 51"/>
                  <a:gd name="T16" fmla="*/ 14 w 121"/>
                  <a:gd name="T17" fmla="*/ 12 h 51"/>
                  <a:gd name="T18" fmla="*/ 18 w 121"/>
                  <a:gd name="T19" fmla="*/ 10 h 51"/>
                  <a:gd name="T20" fmla="*/ 21 w 121"/>
                  <a:gd name="T21" fmla="*/ 7 h 51"/>
                  <a:gd name="T22" fmla="*/ 23 w 121"/>
                  <a:gd name="T23" fmla="*/ 9 h 51"/>
                  <a:gd name="T24" fmla="*/ 28 w 121"/>
                  <a:gd name="T25" fmla="*/ 8 h 51"/>
                  <a:gd name="T26" fmla="*/ 29 w 121"/>
                  <a:gd name="T27" fmla="*/ 10 h 51"/>
                  <a:gd name="T28" fmla="*/ 17 w 121"/>
                  <a:gd name="T29" fmla="*/ 13 h 51"/>
                  <a:gd name="T30" fmla="*/ 15 w 121"/>
                  <a:gd name="T31" fmla="*/ 15 h 51"/>
                  <a:gd name="T32" fmla="*/ 29 w 121"/>
                  <a:gd name="T33" fmla="*/ 15 h 51"/>
                  <a:gd name="T34" fmla="*/ 24 w 121"/>
                  <a:gd name="T35" fmla="*/ 15 h 51"/>
                  <a:gd name="T36" fmla="*/ 27 w 121"/>
                  <a:gd name="T37" fmla="*/ 16 h 51"/>
                  <a:gd name="T38" fmla="*/ 17 w 121"/>
                  <a:gd name="T39" fmla="*/ 17 h 51"/>
                  <a:gd name="T40" fmla="*/ 28 w 121"/>
                  <a:gd name="T41" fmla="*/ 20 h 51"/>
                  <a:gd name="T42" fmla="*/ 32 w 121"/>
                  <a:gd name="T43" fmla="*/ 23 h 51"/>
                  <a:gd name="T44" fmla="*/ 33 w 121"/>
                  <a:gd name="T45" fmla="*/ 21 h 51"/>
                  <a:gd name="T46" fmla="*/ 38 w 121"/>
                  <a:gd name="T47" fmla="*/ 16 h 51"/>
                  <a:gd name="T48" fmla="*/ 40 w 121"/>
                  <a:gd name="T49" fmla="*/ 14 h 51"/>
                  <a:gd name="T50" fmla="*/ 42 w 121"/>
                  <a:gd name="T51" fmla="*/ 11 h 51"/>
                  <a:gd name="T52" fmla="*/ 54 w 121"/>
                  <a:gd name="T53" fmla="*/ 7 h 51"/>
                  <a:gd name="T54" fmla="*/ 40 w 121"/>
                  <a:gd name="T55" fmla="*/ 5 h 51"/>
                  <a:gd name="T56" fmla="*/ 39 w 121"/>
                  <a:gd name="T57" fmla="*/ 3 h 51"/>
                  <a:gd name="T58" fmla="*/ 34 w 121"/>
                  <a:gd name="T59" fmla="*/ 3 h 51"/>
                  <a:gd name="T60" fmla="*/ 34 w 121"/>
                  <a:gd name="T61" fmla="*/ 2 h 51"/>
                  <a:gd name="T62" fmla="*/ 27 w 121"/>
                  <a:gd name="T63" fmla="*/ 0 h 51"/>
                  <a:gd name="T64" fmla="*/ 28 w 121"/>
                  <a:gd name="T65" fmla="*/ 7 h 51"/>
                  <a:gd name="T66" fmla="*/ 19 w 121"/>
                  <a:gd name="T67" fmla="*/ 0 h 51"/>
                  <a:gd name="T68" fmla="*/ 15 w 121"/>
                  <a:gd name="T69" fmla="*/ 3 h 51"/>
                  <a:gd name="T70" fmla="*/ 11 w 121"/>
                  <a:gd name="T71" fmla="*/ 2 h 51"/>
                  <a:gd name="T72" fmla="*/ 12 w 121"/>
                  <a:gd name="T73" fmla="*/ 1 h 5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21" h="51">
                    <a:moveTo>
                      <a:pt x="28" y="3"/>
                    </a:moveTo>
                    <a:lnTo>
                      <a:pt x="11" y="3"/>
                    </a:lnTo>
                    <a:lnTo>
                      <a:pt x="0" y="5"/>
                    </a:lnTo>
                    <a:lnTo>
                      <a:pt x="1" y="10"/>
                    </a:lnTo>
                    <a:lnTo>
                      <a:pt x="11" y="10"/>
                    </a:lnTo>
                    <a:lnTo>
                      <a:pt x="14" y="15"/>
                    </a:lnTo>
                    <a:lnTo>
                      <a:pt x="3" y="15"/>
                    </a:lnTo>
                    <a:lnTo>
                      <a:pt x="18" y="21"/>
                    </a:lnTo>
                    <a:lnTo>
                      <a:pt x="32" y="26"/>
                    </a:lnTo>
                    <a:lnTo>
                      <a:pt x="40" y="23"/>
                    </a:lnTo>
                    <a:lnTo>
                      <a:pt x="48" y="16"/>
                    </a:lnTo>
                    <a:lnTo>
                      <a:pt x="51" y="21"/>
                    </a:lnTo>
                    <a:lnTo>
                      <a:pt x="63" y="18"/>
                    </a:lnTo>
                    <a:lnTo>
                      <a:pt x="65" y="23"/>
                    </a:lnTo>
                    <a:lnTo>
                      <a:pt x="37" y="28"/>
                    </a:lnTo>
                    <a:lnTo>
                      <a:pt x="34" y="33"/>
                    </a:lnTo>
                    <a:lnTo>
                      <a:pt x="66" y="33"/>
                    </a:lnTo>
                    <a:lnTo>
                      <a:pt x="54" y="33"/>
                    </a:lnTo>
                    <a:lnTo>
                      <a:pt x="60" y="36"/>
                    </a:lnTo>
                    <a:lnTo>
                      <a:pt x="39" y="38"/>
                    </a:lnTo>
                    <a:lnTo>
                      <a:pt x="62" y="44"/>
                    </a:lnTo>
                    <a:lnTo>
                      <a:pt x="71" y="51"/>
                    </a:lnTo>
                    <a:lnTo>
                      <a:pt x="74" y="46"/>
                    </a:lnTo>
                    <a:lnTo>
                      <a:pt x="85" y="36"/>
                    </a:lnTo>
                    <a:lnTo>
                      <a:pt x="90" y="30"/>
                    </a:lnTo>
                    <a:lnTo>
                      <a:pt x="93" y="25"/>
                    </a:lnTo>
                    <a:lnTo>
                      <a:pt x="121" y="16"/>
                    </a:lnTo>
                    <a:lnTo>
                      <a:pt x="90" y="11"/>
                    </a:lnTo>
                    <a:lnTo>
                      <a:pt x="87" y="6"/>
                    </a:lnTo>
                    <a:lnTo>
                      <a:pt x="77" y="6"/>
                    </a:lnTo>
                    <a:lnTo>
                      <a:pt x="76" y="5"/>
                    </a:lnTo>
                    <a:lnTo>
                      <a:pt x="60" y="0"/>
                    </a:lnTo>
                    <a:lnTo>
                      <a:pt x="62" y="15"/>
                    </a:lnTo>
                    <a:lnTo>
                      <a:pt x="42" y="1"/>
                    </a:lnTo>
                    <a:lnTo>
                      <a:pt x="34" y="6"/>
                    </a:lnTo>
                    <a:lnTo>
                      <a:pt x="25" y="5"/>
                    </a:lnTo>
                    <a:lnTo>
                      <a:pt x="28" y="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34" name="Freeform 364">
                <a:extLst>
                  <a:ext uri="{FF2B5EF4-FFF2-40B4-BE49-F238E27FC236}">
                    <a16:creationId xmlns:a16="http://schemas.microsoft.com/office/drawing/2014/main" id="{80D5E879-8F26-735C-D57A-5B3D6C9DEF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69" y="2960"/>
                <a:ext cx="45" cy="8"/>
              </a:xfrm>
              <a:custGeom>
                <a:avLst/>
                <a:gdLst>
                  <a:gd name="T0" fmla="*/ 20 w 102"/>
                  <a:gd name="T1" fmla="*/ 2 h 19"/>
                  <a:gd name="T2" fmla="*/ 8 w 102"/>
                  <a:gd name="T3" fmla="*/ 1 h 19"/>
                  <a:gd name="T4" fmla="*/ 5 w 102"/>
                  <a:gd name="T5" fmla="*/ 2 h 19"/>
                  <a:gd name="T6" fmla="*/ 0 w 102"/>
                  <a:gd name="T7" fmla="*/ 2 h 19"/>
                  <a:gd name="T8" fmla="*/ 0 w 102"/>
                  <a:gd name="T9" fmla="*/ 4 h 19"/>
                  <a:gd name="T10" fmla="*/ 19 w 102"/>
                  <a:gd name="T11" fmla="*/ 4 h 19"/>
                  <a:gd name="T12" fmla="*/ 9 w 102"/>
                  <a:gd name="T13" fmla="*/ 6 h 19"/>
                  <a:gd name="T14" fmla="*/ 23 w 102"/>
                  <a:gd name="T15" fmla="*/ 8 h 19"/>
                  <a:gd name="T16" fmla="*/ 39 w 102"/>
                  <a:gd name="T17" fmla="*/ 7 h 19"/>
                  <a:gd name="T18" fmla="*/ 45 w 102"/>
                  <a:gd name="T19" fmla="*/ 4 h 19"/>
                  <a:gd name="T20" fmla="*/ 41 w 102"/>
                  <a:gd name="T21" fmla="*/ 2 h 19"/>
                  <a:gd name="T22" fmla="*/ 27 w 102"/>
                  <a:gd name="T23" fmla="*/ 2 h 19"/>
                  <a:gd name="T24" fmla="*/ 25 w 102"/>
                  <a:gd name="T25" fmla="*/ 1 h 19"/>
                  <a:gd name="T26" fmla="*/ 23 w 102"/>
                  <a:gd name="T27" fmla="*/ 0 h 19"/>
                  <a:gd name="T28" fmla="*/ 20 w 102"/>
                  <a:gd name="T29" fmla="*/ 2 h 19"/>
                  <a:gd name="T30" fmla="*/ 20 w 102"/>
                  <a:gd name="T31" fmla="*/ 2 h 1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02" h="19">
                    <a:moveTo>
                      <a:pt x="46" y="5"/>
                    </a:moveTo>
                    <a:lnTo>
                      <a:pt x="18" y="2"/>
                    </a:lnTo>
                    <a:lnTo>
                      <a:pt x="11" y="4"/>
                    </a:lnTo>
                    <a:lnTo>
                      <a:pt x="0" y="5"/>
                    </a:lnTo>
                    <a:lnTo>
                      <a:pt x="1" y="9"/>
                    </a:lnTo>
                    <a:lnTo>
                      <a:pt x="42" y="10"/>
                    </a:lnTo>
                    <a:lnTo>
                      <a:pt x="21" y="14"/>
                    </a:lnTo>
                    <a:lnTo>
                      <a:pt x="52" y="19"/>
                    </a:lnTo>
                    <a:lnTo>
                      <a:pt x="88" y="17"/>
                    </a:lnTo>
                    <a:lnTo>
                      <a:pt x="102" y="9"/>
                    </a:lnTo>
                    <a:lnTo>
                      <a:pt x="93" y="4"/>
                    </a:lnTo>
                    <a:lnTo>
                      <a:pt x="62" y="4"/>
                    </a:lnTo>
                    <a:lnTo>
                      <a:pt x="56" y="2"/>
                    </a:lnTo>
                    <a:lnTo>
                      <a:pt x="51" y="0"/>
                    </a:lnTo>
                    <a:lnTo>
                      <a:pt x="46" y="4"/>
                    </a:lnTo>
                    <a:lnTo>
                      <a:pt x="46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35" name="Freeform 365">
                <a:extLst>
                  <a:ext uri="{FF2B5EF4-FFF2-40B4-BE49-F238E27FC236}">
                    <a16:creationId xmlns:a16="http://schemas.microsoft.com/office/drawing/2014/main" id="{FE9AECF8-6106-DDEA-302C-11B48532CF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85" y="2975"/>
                <a:ext cx="22" cy="4"/>
              </a:xfrm>
              <a:custGeom>
                <a:avLst/>
                <a:gdLst>
                  <a:gd name="T0" fmla="*/ 17 w 49"/>
                  <a:gd name="T1" fmla="*/ 4 h 10"/>
                  <a:gd name="T2" fmla="*/ 9 w 49"/>
                  <a:gd name="T3" fmla="*/ 4 h 10"/>
                  <a:gd name="T4" fmla="*/ 2 w 49"/>
                  <a:gd name="T5" fmla="*/ 4 h 10"/>
                  <a:gd name="T6" fmla="*/ 4 w 49"/>
                  <a:gd name="T7" fmla="*/ 2 h 10"/>
                  <a:gd name="T8" fmla="*/ 0 w 49"/>
                  <a:gd name="T9" fmla="*/ 0 h 10"/>
                  <a:gd name="T10" fmla="*/ 13 w 49"/>
                  <a:gd name="T11" fmla="*/ 0 h 10"/>
                  <a:gd name="T12" fmla="*/ 22 w 49"/>
                  <a:gd name="T13" fmla="*/ 2 h 10"/>
                  <a:gd name="T14" fmla="*/ 17 w 49"/>
                  <a:gd name="T15" fmla="*/ 4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9" h="10">
                    <a:moveTo>
                      <a:pt x="37" y="10"/>
                    </a:moveTo>
                    <a:lnTo>
                      <a:pt x="20" y="10"/>
                    </a:lnTo>
                    <a:lnTo>
                      <a:pt x="5" y="10"/>
                    </a:lnTo>
                    <a:lnTo>
                      <a:pt x="9" y="5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49" y="5"/>
                    </a:lnTo>
                    <a:lnTo>
                      <a:pt x="37" y="1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36" name="Freeform 366">
                <a:extLst>
                  <a:ext uri="{FF2B5EF4-FFF2-40B4-BE49-F238E27FC236}">
                    <a16:creationId xmlns:a16="http://schemas.microsoft.com/office/drawing/2014/main" id="{9CD69894-FBD6-83C6-4B5D-1AB7C82440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67" y="3040"/>
                <a:ext cx="6" cy="4"/>
              </a:xfrm>
              <a:custGeom>
                <a:avLst/>
                <a:gdLst>
                  <a:gd name="T0" fmla="*/ 3 w 16"/>
                  <a:gd name="T1" fmla="*/ 0 h 10"/>
                  <a:gd name="T2" fmla="*/ 1 w 16"/>
                  <a:gd name="T3" fmla="*/ 4 h 10"/>
                  <a:gd name="T4" fmla="*/ 0 w 16"/>
                  <a:gd name="T5" fmla="*/ 4 h 10"/>
                  <a:gd name="T6" fmla="*/ 2 w 16"/>
                  <a:gd name="T7" fmla="*/ 4 h 10"/>
                  <a:gd name="T8" fmla="*/ 3 w 16"/>
                  <a:gd name="T9" fmla="*/ 4 h 10"/>
                  <a:gd name="T10" fmla="*/ 6 w 16"/>
                  <a:gd name="T11" fmla="*/ 2 h 10"/>
                  <a:gd name="T12" fmla="*/ 4 w 16"/>
                  <a:gd name="T13" fmla="*/ 2 h 10"/>
                  <a:gd name="T14" fmla="*/ 3 w 16"/>
                  <a:gd name="T15" fmla="*/ 0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6" h="10">
                    <a:moveTo>
                      <a:pt x="8" y="0"/>
                    </a:moveTo>
                    <a:lnTo>
                      <a:pt x="2" y="9"/>
                    </a:lnTo>
                    <a:lnTo>
                      <a:pt x="0" y="10"/>
                    </a:lnTo>
                    <a:lnTo>
                      <a:pt x="5" y="9"/>
                    </a:lnTo>
                    <a:lnTo>
                      <a:pt x="9" y="10"/>
                    </a:lnTo>
                    <a:lnTo>
                      <a:pt x="16" y="4"/>
                    </a:lnTo>
                    <a:lnTo>
                      <a:pt x="11" y="5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37" name="Freeform 367">
                <a:extLst>
                  <a:ext uri="{FF2B5EF4-FFF2-40B4-BE49-F238E27FC236}">
                    <a16:creationId xmlns:a16="http://schemas.microsoft.com/office/drawing/2014/main" id="{3A445855-276C-F391-70B4-8BC9C80869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7" y="3032"/>
                <a:ext cx="78" cy="80"/>
              </a:xfrm>
              <a:custGeom>
                <a:avLst/>
                <a:gdLst>
                  <a:gd name="T0" fmla="*/ 66 w 175"/>
                  <a:gd name="T1" fmla="*/ 43 h 183"/>
                  <a:gd name="T2" fmla="*/ 63 w 175"/>
                  <a:gd name="T3" fmla="*/ 41 h 183"/>
                  <a:gd name="T4" fmla="*/ 62 w 175"/>
                  <a:gd name="T5" fmla="*/ 33 h 183"/>
                  <a:gd name="T6" fmla="*/ 54 w 175"/>
                  <a:gd name="T7" fmla="*/ 25 h 183"/>
                  <a:gd name="T8" fmla="*/ 58 w 175"/>
                  <a:gd name="T9" fmla="*/ 19 h 183"/>
                  <a:gd name="T10" fmla="*/ 49 w 175"/>
                  <a:gd name="T11" fmla="*/ 14 h 183"/>
                  <a:gd name="T12" fmla="*/ 49 w 175"/>
                  <a:gd name="T13" fmla="*/ 9 h 183"/>
                  <a:gd name="T14" fmla="*/ 49 w 175"/>
                  <a:gd name="T15" fmla="*/ 7 h 183"/>
                  <a:gd name="T16" fmla="*/ 49 w 175"/>
                  <a:gd name="T17" fmla="*/ 2 h 183"/>
                  <a:gd name="T18" fmla="*/ 39 w 175"/>
                  <a:gd name="T19" fmla="*/ 0 h 183"/>
                  <a:gd name="T20" fmla="*/ 31 w 175"/>
                  <a:gd name="T21" fmla="*/ 3 h 183"/>
                  <a:gd name="T22" fmla="*/ 29 w 175"/>
                  <a:gd name="T23" fmla="*/ 9 h 183"/>
                  <a:gd name="T24" fmla="*/ 25 w 175"/>
                  <a:gd name="T25" fmla="*/ 10 h 183"/>
                  <a:gd name="T26" fmla="*/ 17 w 175"/>
                  <a:gd name="T27" fmla="*/ 10 h 183"/>
                  <a:gd name="T28" fmla="*/ 10 w 175"/>
                  <a:gd name="T29" fmla="*/ 9 h 183"/>
                  <a:gd name="T30" fmla="*/ 4 w 175"/>
                  <a:gd name="T31" fmla="*/ 5 h 183"/>
                  <a:gd name="T32" fmla="*/ 0 w 175"/>
                  <a:gd name="T33" fmla="*/ 7 h 183"/>
                  <a:gd name="T34" fmla="*/ 17 w 175"/>
                  <a:gd name="T35" fmla="*/ 14 h 183"/>
                  <a:gd name="T36" fmla="*/ 23 w 175"/>
                  <a:gd name="T37" fmla="*/ 25 h 183"/>
                  <a:gd name="T38" fmla="*/ 27 w 175"/>
                  <a:gd name="T39" fmla="*/ 33 h 183"/>
                  <a:gd name="T40" fmla="*/ 29 w 175"/>
                  <a:gd name="T41" fmla="*/ 32 h 183"/>
                  <a:gd name="T42" fmla="*/ 33 w 175"/>
                  <a:gd name="T43" fmla="*/ 33 h 183"/>
                  <a:gd name="T44" fmla="*/ 34 w 175"/>
                  <a:gd name="T45" fmla="*/ 39 h 183"/>
                  <a:gd name="T46" fmla="*/ 23 w 175"/>
                  <a:gd name="T47" fmla="*/ 47 h 183"/>
                  <a:gd name="T48" fmla="*/ 19 w 175"/>
                  <a:gd name="T49" fmla="*/ 52 h 183"/>
                  <a:gd name="T50" fmla="*/ 14 w 175"/>
                  <a:gd name="T51" fmla="*/ 55 h 183"/>
                  <a:gd name="T52" fmla="*/ 14 w 175"/>
                  <a:gd name="T53" fmla="*/ 63 h 183"/>
                  <a:gd name="T54" fmla="*/ 16 w 175"/>
                  <a:gd name="T55" fmla="*/ 73 h 183"/>
                  <a:gd name="T56" fmla="*/ 23 w 175"/>
                  <a:gd name="T57" fmla="*/ 76 h 183"/>
                  <a:gd name="T58" fmla="*/ 24 w 175"/>
                  <a:gd name="T59" fmla="*/ 77 h 183"/>
                  <a:gd name="T60" fmla="*/ 27 w 175"/>
                  <a:gd name="T61" fmla="*/ 77 h 183"/>
                  <a:gd name="T62" fmla="*/ 29 w 175"/>
                  <a:gd name="T63" fmla="*/ 80 h 183"/>
                  <a:gd name="T64" fmla="*/ 31 w 175"/>
                  <a:gd name="T65" fmla="*/ 79 h 183"/>
                  <a:gd name="T66" fmla="*/ 46 w 175"/>
                  <a:gd name="T67" fmla="*/ 76 h 183"/>
                  <a:gd name="T68" fmla="*/ 49 w 175"/>
                  <a:gd name="T69" fmla="*/ 75 h 183"/>
                  <a:gd name="T70" fmla="*/ 58 w 175"/>
                  <a:gd name="T71" fmla="*/ 75 h 183"/>
                  <a:gd name="T72" fmla="*/ 63 w 175"/>
                  <a:gd name="T73" fmla="*/ 70 h 183"/>
                  <a:gd name="T74" fmla="*/ 68 w 175"/>
                  <a:gd name="T75" fmla="*/ 65 h 183"/>
                  <a:gd name="T76" fmla="*/ 72 w 175"/>
                  <a:gd name="T77" fmla="*/ 60 h 183"/>
                  <a:gd name="T78" fmla="*/ 78 w 175"/>
                  <a:gd name="T79" fmla="*/ 55 h 183"/>
                  <a:gd name="T80" fmla="*/ 66 w 175"/>
                  <a:gd name="T81" fmla="*/ 49 h 183"/>
                  <a:gd name="T82" fmla="*/ 69 w 175"/>
                  <a:gd name="T83" fmla="*/ 46 h 183"/>
                  <a:gd name="T84" fmla="*/ 66 w 175"/>
                  <a:gd name="T85" fmla="*/ 43 h 18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75" h="183">
                    <a:moveTo>
                      <a:pt x="147" y="98"/>
                    </a:moveTo>
                    <a:lnTo>
                      <a:pt x="141" y="93"/>
                    </a:lnTo>
                    <a:lnTo>
                      <a:pt x="139" y="76"/>
                    </a:lnTo>
                    <a:lnTo>
                      <a:pt x="122" y="57"/>
                    </a:lnTo>
                    <a:lnTo>
                      <a:pt x="131" y="43"/>
                    </a:lnTo>
                    <a:lnTo>
                      <a:pt x="111" y="32"/>
                    </a:lnTo>
                    <a:lnTo>
                      <a:pt x="110" y="20"/>
                    </a:lnTo>
                    <a:lnTo>
                      <a:pt x="111" y="17"/>
                    </a:lnTo>
                    <a:lnTo>
                      <a:pt x="110" y="5"/>
                    </a:lnTo>
                    <a:lnTo>
                      <a:pt x="88" y="0"/>
                    </a:lnTo>
                    <a:lnTo>
                      <a:pt x="69" y="7"/>
                    </a:lnTo>
                    <a:lnTo>
                      <a:pt x="65" y="20"/>
                    </a:lnTo>
                    <a:lnTo>
                      <a:pt x="57" y="23"/>
                    </a:lnTo>
                    <a:lnTo>
                      <a:pt x="38" y="23"/>
                    </a:lnTo>
                    <a:lnTo>
                      <a:pt x="23" y="20"/>
                    </a:lnTo>
                    <a:lnTo>
                      <a:pt x="9" y="12"/>
                    </a:lnTo>
                    <a:lnTo>
                      <a:pt x="0" y="17"/>
                    </a:lnTo>
                    <a:lnTo>
                      <a:pt x="38" y="33"/>
                    </a:lnTo>
                    <a:lnTo>
                      <a:pt x="52" y="57"/>
                    </a:lnTo>
                    <a:lnTo>
                      <a:pt x="60" y="75"/>
                    </a:lnTo>
                    <a:lnTo>
                      <a:pt x="65" y="73"/>
                    </a:lnTo>
                    <a:lnTo>
                      <a:pt x="73" y="76"/>
                    </a:lnTo>
                    <a:lnTo>
                      <a:pt x="76" y="90"/>
                    </a:lnTo>
                    <a:lnTo>
                      <a:pt x="51" y="108"/>
                    </a:lnTo>
                    <a:lnTo>
                      <a:pt x="42" y="118"/>
                    </a:lnTo>
                    <a:lnTo>
                      <a:pt x="31" y="125"/>
                    </a:lnTo>
                    <a:lnTo>
                      <a:pt x="32" y="144"/>
                    </a:lnTo>
                    <a:lnTo>
                      <a:pt x="37" y="168"/>
                    </a:lnTo>
                    <a:lnTo>
                      <a:pt x="52" y="173"/>
                    </a:lnTo>
                    <a:lnTo>
                      <a:pt x="54" y="176"/>
                    </a:lnTo>
                    <a:lnTo>
                      <a:pt x="60" y="176"/>
                    </a:lnTo>
                    <a:lnTo>
                      <a:pt x="65" y="183"/>
                    </a:lnTo>
                    <a:lnTo>
                      <a:pt x="69" y="181"/>
                    </a:lnTo>
                    <a:lnTo>
                      <a:pt x="103" y="173"/>
                    </a:lnTo>
                    <a:lnTo>
                      <a:pt x="111" y="171"/>
                    </a:lnTo>
                    <a:lnTo>
                      <a:pt x="131" y="171"/>
                    </a:lnTo>
                    <a:lnTo>
                      <a:pt x="142" y="159"/>
                    </a:lnTo>
                    <a:lnTo>
                      <a:pt x="153" y="149"/>
                    </a:lnTo>
                    <a:lnTo>
                      <a:pt x="162" y="138"/>
                    </a:lnTo>
                    <a:lnTo>
                      <a:pt x="175" y="126"/>
                    </a:lnTo>
                    <a:lnTo>
                      <a:pt x="148" y="111"/>
                    </a:lnTo>
                    <a:lnTo>
                      <a:pt x="155" y="106"/>
                    </a:lnTo>
                    <a:lnTo>
                      <a:pt x="147" y="9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38" name="Freeform 368">
                <a:extLst>
                  <a:ext uri="{FF2B5EF4-FFF2-40B4-BE49-F238E27FC236}">
                    <a16:creationId xmlns:a16="http://schemas.microsoft.com/office/drawing/2014/main" id="{AD0132FC-A1FF-9950-BD39-FDC2E4B6DD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45" y="3220"/>
                <a:ext cx="1" cy="2"/>
              </a:xfrm>
              <a:custGeom>
                <a:avLst/>
                <a:gdLst>
                  <a:gd name="T0" fmla="*/ 0 w 3"/>
                  <a:gd name="T1" fmla="*/ 0 h 4"/>
                  <a:gd name="T2" fmla="*/ 0 w 3"/>
                  <a:gd name="T3" fmla="*/ 2 h 4"/>
                  <a:gd name="T4" fmla="*/ 1 w 3"/>
                  <a:gd name="T5" fmla="*/ 2 h 4"/>
                  <a:gd name="T6" fmla="*/ 0 w 3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lnTo>
                      <a:pt x="0" y="4"/>
                    </a:lnTo>
                    <a:lnTo>
                      <a:pt x="3" y="4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39" name="Freeform 369">
                <a:extLst>
                  <a:ext uri="{FF2B5EF4-FFF2-40B4-BE49-F238E27FC236}">
                    <a16:creationId xmlns:a16="http://schemas.microsoft.com/office/drawing/2014/main" id="{D6045CBB-7FB9-1AC8-E2C8-3446778562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46" y="3206"/>
                <a:ext cx="53" cy="21"/>
              </a:xfrm>
              <a:custGeom>
                <a:avLst/>
                <a:gdLst>
                  <a:gd name="T0" fmla="*/ 19 w 121"/>
                  <a:gd name="T1" fmla="*/ 18 h 50"/>
                  <a:gd name="T2" fmla="*/ 11 w 121"/>
                  <a:gd name="T3" fmla="*/ 18 h 50"/>
                  <a:gd name="T4" fmla="*/ 7 w 121"/>
                  <a:gd name="T5" fmla="*/ 18 h 50"/>
                  <a:gd name="T6" fmla="*/ 7 w 121"/>
                  <a:gd name="T7" fmla="*/ 18 h 50"/>
                  <a:gd name="T8" fmla="*/ 1 w 121"/>
                  <a:gd name="T9" fmla="*/ 16 h 50"/>
                  <a:gd name="T10" fmla="*/ 1 w 121"/>
                  <a:gd name="T11" fmla="*/ 16 h 50"/>
                  <a:gd name="T12" fmla="*/ 1 w 121"/>
                  <a:gd name="T13" fmla="*/ 16 h 50"/>
                  <a:gd name="T14" fmla="*/ 0 w 121"/>
                  <a:gd name="T15" fmla="*/ 15 h 50"/>
                  <a:gd name="T16" fmla="*/ 0 w 121"/>
                  <a:gd name="T17" fmla="*/ 12 h 50"/>
                  <a:gd name="T18" fmla="*/ 5 w 121"/>
                  <a:gd name="T19" fmla="*/ 13 h 50"/>
                  <a:gd name="T20" fmla="*/ 6 w 121"/>
                  <a:gd name="T21" fmla="*/ 13 h 50"/>
                  <a:gd name="T22" fmla="*/ 9 w 121"/>
                  <a:gd name="T23" fmla="*/ 12 h 50"/>
                  <a:gd name="T24" fmla="*/ 15 w 121"/>
                  <a:gd name="T25" fmla="*/ 11 h 50"/>
                  <a:gd name="T26" fmla="*/ 22 w 121"/>
                  <a:gd name="T27" fmla="*/ 11 h 50"/>
                  <a:gd name="T28" fmla="*/ 25 w 121"/>
                  <a:gd name="T29" fmla="*/ 11 h 50"/>
                  <a:gd name="T30" fmla="*/ 24 w 121"/>
                  <a:gd name="T31" fmla="*/ 6 h 50"/>
                  <a:gd name="T32" fmla="*/ 29 w 121"/>
                  <a:gd name="T33" fmla="*/ 2 h 50"/>
                  <a:gd name="T34" fmla="*/ 33 w 121"/>
                  <a:gd name="T35" fmla="*/ 4 h 50"/>
                  <a:gd name="T36" fmla="*/ 37 w 121"/>
                  <a:gd name="T37" fmla="*/ 0 h 50"/>
                  <a:gd name="T38" fmla="*/ 48 w 121"/>
                  <a:gd name="T39" fmla="*/ 2 h 50"/>
                  <a:gd name="T40" fmla="*/ 53 w 121"/>
                  <a:gd name="T41" fmla="*/ 8 h 50"/>
                  <a:gd name="T42" fmla="*/ 50 w 121"/>
                  <a:gd name="T43" fmla="*/ 11 h 50"/>
                  <a:gd name="T44" fmla="*/ 49 w 121"/>
                  <a:gd name="T45" fmla="*/ 11 h 50"/>
                  <a:gd name="T46" fmla="*/ 47 w 121"/>
                  <a:gd name="T47" fmla="*/ 17 h 50"/>
                  <a:gd name="T48" fmla="*/ 46 w 121"/>
                  <a:gd name="T49" fmla="*/ 18 h 50"/>
                  <a:gd name="T50" fmla="*/ 32 w 121"/>
                  <a:gd name="T51" fmla="*/ 21 h 50"/>
                  <a:gd name="T52" fmla="*/ 29 w 121"/>
                  <a:gd name="T53" fmla="*/ 20 h 50"/>
                  <a:gd name="T54" fmla="*/ 19 w 121"/>
                  <a:gd name="T55" fmla="*/ 18 h 5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21" h="50">
                    <a:moveTo>
                      <a:pt x="44" y="42"/>
                    </a:moveTo>
                    <a:lnTo>
                      <a:pt x="25" y="42"/>
                    </a:lnTo>
                    <a:lnTo>
                      <a:pt x="16" y="42"/>
                    </a:lnTo>
                    <a:lnTo>
                      <a:pt x="3" y="39"/>
                    </a:lnTo>
                    <a:lnTo>
                      <a:pt x="2" y="39"/>
                    </a:lnTo>
                    <a:lnTo>
                      <a:pt x="2" y="37"/>
                    </a:lnTo>
                    <a:lnTo>
                      <a:pt x="0" y="35"/>
                    </a:lnTo>
                    <a:lnTo>
                      <a:pt x="0" y="29"/>
                    </a:lnTo>
                    <a:lnTo>
                      <a:pt x="11" y="32"/>
                    </a:lnTo>
                    <a:lnTo>
                      <a:pt x="14" y="32"/>
                    </a:lnTo>
                    <a:lnTo>
                      <a:pt x="20" y="29"/>
                    </a:lnTo>
                    <a:lnTo>
                      <a:pt x="34" y="27"/>
                    </a:lnTo>
                    <a:lnTo>
                      <a:pt x="51" y="27"/>
                    </a:lnTo>
                    <a:lnTo>
                      <a:pt x="57" y="27"/>
                    </a:lnTo>
                    <a:lnTo>
                      <a:pt x="54" y="14"/>
                    </a:lnTo>
                    <a:lnTo>
                      <a:pt x="67" y="4"/>
                    </a:lnTo>
                    <a:lnTo>
                      <a:pt x="76" y="9"/>
                    </a:lnTo>
                    <a:lnTo>
                      <a:pt x="85" y="0"/>
                    </a:lnTo>
                    <a:lnTo>
                      <a:pt x="110" y="4"/>
                    </a:lnTo>
                    <a:lnTo>
                      <a:pt x="121" y="19"/>
                    </a:lnTo>
                    <a:lnTo>
                      <a:pt x="115" y="27"/>
                    </a:lnTo>
                    <a:lnTo>
                      <a:pt x="113" y="27"/>
                    </a:lnTo>
                    <a:lnTo>
                      <a:pt x="107" y="40"/>
                    </a:lnTo>
                    <a:lnTo>
                      <a:pt x="105" y="42"/>
                    </a:lnTo>
                    <a:lnTo>
                      <a:pt x="74" y="50"/>
                    </a:lnTo>
                    <a:lnTo>
                      <a:pt x="67" y="48"/>
                    </a:lnTo>
                    <a:lnTo>
                      <a:pt x="44" y="4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40" name="Freeform 370">
                <a:extLst>
                  <a:ext uri="{FF2B5EF4-FFF2-40B4-BE49-F238E27FC236}">
                    <a16:creationId xmlns:a16="http://schemas.microsoft.com/office/drawing/2014/main" id="{D7AA53B3-F9E5-CD86-A782-714F42DBF4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1" y="3238"/>
                <a:ext cx="29" cy="24"/>
              </a:xfrm>
              <a:custGeom>
                <a:avLst/>
                <a:gdLst>
                  <a:gd name="T0" fmla="*/ 25 w 65"/>
                  <a:gd name="T1" fmla="*/ 3 h 55"/>
                  <a:gd name="T2" fmla="*/ 27 w 65"/>
                  <a:gd name="T3" fmla="*/ 4 h 55"/>
                  <a:gd name="T4" fmla="*/ 25 w 65"/>
                  <a:gd name="T5" fmla="*/ 6 h 55"/>
                  <a:gd name="T6" fmla="*/ 25 w 65"/>
                  <a:gd name="T7" fmla="*/ 7 h 55"/>
                  <a:gd name="T8" fmla="*/ 25 w 65"/>
                  <a:gd name="T9" fmla="*/ 8 h 55"/>
                  <a:gd name="T10" fmla="*/ 25 w 65"/>
                  <a:gd name="T11" fmla="*/ 10 h 55"/>
                  <a:gd name="T12" fmla="*/ 29 w 65"/>
                  <a:gd name="T13" fmla="*/ 12 h 55"/>
                  <a:gd name="T14" fmla="*/ 27 w 65"/>
                  <a:gd name="T15" fmla="*/ 12 h 55"/>
                  <a:gd name="T16" fmla="*/ 28 w 65"/>
                  <a:gd name="T17" fmla="*/ 14 h 55"/>
                  <a:gd name="T18" fmla="*/ 28 w 65"/>
                  <a:gd name="T19" fmla="*/ 15 h 55"/>
                  <a:gd name="T20" fmla="*/ 23 w 65"/>
                  <a:gd name="T21" fmla="*/ 16 h 55"/>
                  <a:gd name="T22" fmla="*/ 25 w 65"/>
                  <a:gd name="T23" fmla="*/ 18 h 55"/>
                  <a:gd name="T24" fmla="*/ 25 w 65"/>
                  <a:gd name="T25" fmla="*/ 19 h 55"/>
                  <a:gd name="T26" fmla="*/ 23 w 65"/>
                  <a:gd name="T27" fmla="*/ 18 h 55"/>
                  <a:gd name="T28" fmla="*/ 22 w 65"/>
                  <a:gd name="T29" fmla="*/ 20 h 55"/>
                  <a:gd name="T30" fmla="*/ 21 w 65"/>
                  <a:gd name="T31" fmla="*/ 20 h 55"/>
                  <a:gd name="T32" fmla="*/ 23 w 65"/>
                  <a:gd name="T33" fmla="*/ 24 h 55"/>
                  <a:gd name="T34" fmla="*/ 21 w 65"/>
                  <a:gd name="T35" fmla="*/ 24 h 55"/>
                  <a:gd name="T36" fmla="*/ 19 w 65"/>
                  <a:gd name="T37" fmla="*/ 23 h 55"/>
                  <a:gd name="T38" fmla="*/ 17 w 65"/>
                  <a:gd name="T39" fmla="*/ 22 h 55"/>
                  <a:gd name="T40" fmla="*/ 15 w 65"/>
                  <a:gd name="T41" fmla="*/ 20 h 55"/>
                  <a:gd name="T42" fmla="*/ 15 w 65"/>
                  <a:gd name="T43" fmla="*/ 20 h 55"/>
                  <a:gd name="T44" fmla="*/ 12 w 65"/>
                  <a:gd name="T45" fmla="*/ 18 h 55"/>
                  <a:gd name="T46" fmla="*/ 12 w 65"/>
                  <a:gd name="T47" fmla="*/ 17 h 55"/>
                  <a:gd name="T48" fmla="*/ 10 w 65"/>
                  <a:gd name="T49" fmla="*/ 15 h 55"/>
                  <a:gd name="T50" fmla="*/ 4 w 65"/>
                  <a:gd name="T51" fmla="*/ 10 h 55"/>
                  <a:gd name="T52" fmla="*/ 4 w 65"/>
                  <a:gd name="T53" fmla="*/ 10 h 55"/>
                  <a:gd name="T54" fmla="*/ 3 w 65"/>
                  <a:gd name="T55" fmla="*/ 10 h 55"/>
                  <a:gd name="T56" fmla="*/ 2 w 65"/>
                  <a:gd name="T57" fmla="*/ 6 h 55"/>
                  <a:gd name="T58" fmla="*/ 0 w 65"/>
                  <a:gd name="T59" fmla="*/ 4 h 55"/>
                  <a:gd name="T60" fmla="*/ 0 w 65"/>
                  <a:gd name="T61" fmla="*/ 1 h 55"/>
                  <a:gd name="T62" fmla="*/ 2 w 65"/>
                  <a:gd name="T63" fmla="*/ 1 h 55"/>
                  <a:gd name="T64" fmla="*/ 4 w 65"/>
                  <a:gd name="T65" fmla="*/ 2 h 55"/>
                  <a:gd name="T66" fmla="*/ 5 w 65"/>
                  <a:gd name="T67" fmla="*/ 0 h 55"/>
                  <a:gd name="T68" fmla="*/ 8 w 65"/>
                  <a:gd name="T69" fmla="*/ 0 h 55"/>
                  <a:gd name="T70" fmla="*/ 10 w 65"/>
                  <a:gd name="T71" fmla="*/ 1 h 55"/>
                  <a:gd name="T72" fmla="*/ 15 w 65"/>
                  <a:gd name="T73" fmla="*/ 2 h 55"/>
                  <a:gd name="T74" fmla="*/ 16 w 65"/>
                  <a:gd name="T75" fmla="*/ 1 h 55"/>
                  <a:gd name="T76" fmla="*/ 17 w 65"/>
                  <a:gd name="T77" fmla="*/ 2 h 55"/>
                  <a:gd name="T78" fmla="*/ 17 w 65"/>
                  <a:gd name="T79" fmla="*/ 1 h 55"/>
                  <a:gd name="T80" fmla="*/ 19 w 65"/>
                  <a:gd name="T81" fmla="*/ 2 h 55"/>
                  <a:gd name="T82" fmla="*/ 21 w 65"/>
                  <a:gd name="T83" fmla="*/ 1 h 55"/>
                  <a:gd name="T84" fmla="*/ 22 w 65"/>
                  <a:gd name="T85" fmla="*/ 3 h 55"/>
                  <a:gd name="T86" fmla="*/ 23 w 65"/>
                  <a:gd name="T87" fmla="*/ 3 h 55"/>
                  <a:gd name="T88" fmla="*/ 25 w 65"/>
                  <a:gd name="T89" fmla="*/ 3 h 5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65" h="55">
                    <a:moveTo>
                      <a:pt x="57" y="8"/>
                    </a:moveTo>
                    <a:lnTo>
                      <a:pt x="60" y="10"/>
                    </a:lnTo>
                    <a:lnTo>
                      <a:pt x="57" y="13"/>
                    </a:lnTo>
                    <a:lnTo>
                      <a:pt x="56" y="17"/>
                    </a:lnTo>
                    <a:lnTo>
                      <a:pt x="56" y="18"/>
                    </a:lnTo>
                    <a:lnTo>
                      <a:pt x="57" y="22"/>
                    </a:lnTo>
                    <a:lnTo>
                      <a:pt x="65" y="27"/>
                    </a:lnTo>
                    <a:lnTo>
                      <a:pt x="60" y="28"/>
                    </a:lnTo>
                    <a:lnTo>
                      <a:pt x="63" y="31"/>
                    </a:lnTo>
                    <a:lnTo>
                      <a:pt x="63" y="35"/>
                    </a:lnTo>
                    <a:lnTo>
                      <a:pt x="52" y="36"/>
                    </a:lnTo>
                    <a:lnTo>
                      <a:pt x="57" y="41"/>
                    </a:lnTo>
                    <a:lnTo>
                      <a:pt x="56" y="43"/>
                    </a:lnTo>
                    <a:lnTo>
                      <a:pt x="52" y="41"/>
                    </a:lnTo>
                    <a:lnTo>
                      <a:pt x="49" y="46"/>
                    </a:lnTo>
                    <a:lnTo>
                      <a:pt x="46" y="46"/>
                    </a:lnTo>
                    <a:lnTo>
                      <a:pt x="51" y="55"/>
                    </a:lnTo>
                    <a:lnTo>
                      <a:pt x="46" y="55"/>
                    </a:lnTo>
                    <a:lnTo>
                      <a:pt x="43" y="53"/>
                    </a:lnTo>
                    <a:lnTo>
                      <a:pt x="39" y="50"/>
                    </a:lnTo>
                    <a:lnTo>
                      <a:pt x="34" y="46"/>
                    </a:lnTo>
                    <a:lnTo>
                      <a:pt x="28" y="41"/>
                    </a:lnTo>
                    <a:lnTo>
                      <a:pt x="26" y="38"/>
                    </a:lnTo>
                    <a:lnTo>
                      <a:pt x="22" y="35"/>
                    </a:lnTo>
                    <a:lnTo>
                      <a:pt x="9" y="23"/>
                    </a:lnTo>
                    <a:lnTo>
                      <a:pt x="6" y="22"/>
                    </a:lnTo>
                    <a:lnTo>
                      <a:pt x="5" y="13"/>
                    </a:lnTo>
                    <a:lnTo>
                      <a:pt x="0" y="10"/>
                    </a:lnTo>
                    <a:lnTo>
                      <a:pt x="0" y="2"/>
                    </a:lnTo>
                    <a:lnTo>
                      <a:pt x="5" y="2"/>
                    </a:lnTo>
                    <a:lnTo>
                      <a:pt x="9" y="5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34" y="5"/>
                    </a:lnTo>
                    <a:lnTo>
                      <a:pt x="35" y="2"/>
                    </a:lnTo>
                    <a:lnTo>
                      <a:pt x="39" y="5"/>
                    </a:lnTo>
                    <a:lnTo>
                      <a:pt x="39" y="3"/>
                    </a:lnTo>
                    <a:lnTo>
                      <a:pt x="43" y="5"/>
                    </a:lnTo>
                    <a:lnTo>
                      <a:pt x="46" y="3"/>
                    </a:lnTo>
                    <a:lnTo>
                      <a:pt x="49" y="8"/>
                    </a:lnTo>
                    <a:lnTo>
                      <a:pt x="52" y="8"/>
                    </a:lnTo>
                    <a:lnTo>
                      <a:pt x="57" y="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41" name="Freeform 371">
                <a:extLst>
                  <a:ext uri="{FF2B5EF4-FFF2-40B4-BE49-F238E27FC236}">
                    <a16:creationId xmlns:a16="http://schemas.microsoft.com/office/drawing/2014/main" id="{797AADC0-CBF1-6178-7BA5-1646E8B17F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76" y="3226"/>
                <a:ext cx="42" cy="32"/>
              </a:xfrm>
              <a:custGeom>
                <a:avLst/>
                <a:gdLst>
                  <a:gd name="T0" fmla="*/ 39 w 95"/>
                  <a:gd name="T1" fmla="*/ 15 h 74"/>
                  <a:gd name="T2" fmla="*/ 42 w 95"/>
                  <a:gd name="T3" fmla="*/ 12 h 74"/>
                  <a:gd name="T4" fmla="*/ 39 w 95"/>
                  <a:gd name="T5" fmla="*/ 11 h 74"/>
                  <a:gd name="T6" fmla="*/ 39 w 95"/>
                  <a:gd name="T7" fmla="*/ 10 h 74"/>
                  <a:gd name="T8" fmla="*/ 36 w 95"/>
                  <a:gd name="T9" fmla="*/ 6 h 74"/>
                  <a:gd name="T10" fmla="*/ 20 w 95"/>
                  <a:gd name="T11" fmla="*/ 0 h 74"/>
                  <a:gd name="T12" fmla="*/ 19 w 95"/>
                  <a:gd name="T13" fmla="*/ 1 h 74"/>
                  <a:gd name="T14" fmla="*/ 16 w 95"/>
                  <a:gd name="T15" fmla="*/ 2 h 74"/>
                  <a:gd name="T16" fmla="*/ 14 w 95"/>
                  <a:gd name="T17" fmla="*/ 3 h 74"/>
                  <a:gd name="T18" fmla="*/ 15 w 95"/>
                  <a:gd name="T19" fmla="*/ 6 h 74"/>
                  <a:gd name="T20" fmla="*/ 14 w 95"/>
                  <a:gd name="T21" fmla="*/ 7 h 74"/>
                  <a:gd name="T22" fmla="*/ 11 w 95"/>
                  <a:gd name="T23" fmla="*/ 9 h 74"/>
                  <a:gd name="T24" fmla="*/ 10 w 95"/>
                  <a:gd name="T25" fmla="*/ 10 h 74"/>
                  <a:gd name="T26" fmla="*/ 8 w 95"/>
                  <a:gd name="T27" fmla="*/ 9 h 74"/>
                  <a:gd name="T28" fmla="*/ 6 w 95"/>
                  <a:gd name="T29" fmla="*/ 9 h 74"/>
                  <a:gd name="T30" fmla="*/ 2 w 95"/>
                  <a:gd name="T31" fmla="*/ 10 h 74"/>
                  <a:gd name="T32" fmla="*/ 1 w 95"/>
                  <a:gd name="T33" fmla="*/ 12 h 74"/>
                  <a:gd name="T34" fmla="*/ 6 w 95"/>
                  <a:gd name="T35" fmla="*/ 12 h 74"/>
                  <a:gd name="T36" fmla="*/ 13 w 95"/>
                  <a:gd name="T37" fmla="*/ 24 h 74"/>
                  <a:gd name="T38" fmla="*/ 29 w 95"/>
                  <a:gd name="T39" fmla="*/ 32 h 74"/>
                  <a:gd name="T40" fmla="*/ 31 w 95"/>
                  <a:gd name="T41" fmla="*/ 32 h 74"/>
                  <a:gd name="T42" fmla="*/ 27 w 95"/>
                  <a:gd name="T43" fmla="*/ 29 h 74"/>
                  <a:gd name="T44" fmla="*/ 26 w 95"/>
                  <a:gd name="T45" fmla="*/ 27 h 74"/>
                  <a:gd name="T46" fmla="*/ 20 w 95"/>
                  <a:gd name="T47" fmla="*/ 22 h 74"/>
                  <a:gd name="T48" fmla="*/ 17 w 95"/>
                  <a:gd name="T49" fmla="*/ 17 h 74"/>
                  <a:gd name="T50" fmla="*/ 16 w 95"/>
                  <a:gd name="T51" fmla="*/ 12 h 74"/>
                  <a:gd name="T52" fmla="*/ 19 w 95"/>
                  <a:gd name="T53" fmla="*/ 14 h 74"/>
                  <a:gd name="T54" fmla="*/ 23 w 95"/>
                  <a:gd name="T55" fmla="*/ 12 h 74"/>
                  <a:gd name="T56" fmla="*/ 31 w 95"/>
                  <a:gd name="T57" fmla="*/ 13 h 74"/>
                  <a:gd name="T58" fmla="*/ 32 w 95"/>
                  <a:gd name="T59" fmla="*/ 13 h 74"/>
                  <a:gd name="T60" fmla="*/ 35 w 95"/>
                  <a:gd name="T61" fmla="*/ 13 h 74"/>
                  <a:gd name="T62" fmla="*/ 37 w 95"/>
                  <a:gd name="T63" fmla="*/ 15 h 7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95" h="74">
                    <a:moveTo>
                      <a:pt x="84" y="35"/>
                    </a:moveTo>
                    <a:lnTo>
                      <a:pt x="88" y="35"/>
                    </a:lnTo>
                    <a:lnTo>
                      <a:pt x="90" y="31"/>
                    </a:lnTo>
                    <a:lnTo>
                      <a:pt x="95" y="28"/>
                    </a:lnTo>
                    <a:lnTo>
                      <a:pt x="88" y="26"/>
                    </a:lnTo>
                    <a:lnTo>
                      <a:pt x="87" y="25"/>
                    </a:lnTo>
                    <a:lnTo>
                      <a:pt x="88" y="23"/>
                    </a:lnTo>
                    <a:lnTo>
                      <a:pt x="87" y="21"/>
                    </a:lnTo>
                    <a:lnTo>
                      <a:pt x="82" y="15"/>
                    </a:lnTo>
                    <a:lnTo>
                      <a:pt x="59" y="13"/>
                    </a:lnTo>
                    <a:lnTo>
                      <a:pt x="45" y="0"/>
                    </a:lnTo>
                    <a:lnTo>
                      <a:pt x="44" y="3"/>
                    </a:lnTo>
                    <a:lnTo>
                      <a:pt x="42" y="3"/>
                    </a:lnTo>
                    <a:lnTo>
                      <a:pt x="42" y="5"/>
                    </a:lnTo>
                    <a:lnTo>
                      <a:pt x="36" y="5"/>
                    </a:lnTo>
                    <a:lnTo>
                      <a:pt x="36" y="6"/>
                    </a:lnTo>
                    <a:lnTo>
                      <a:pt x="31" y="6"/>
                    </a:lnTo>
                    <a:lnTo>
                      <a:pt x="31" y="11"/>
                    </a:lnTo>
                    <a:lnTo>
                      <a:pt x="33" y="13"/>
                    </a:lnTo>
                    <a:lnTo>
                      <a:pt x="33" y="16"/>
                    </a:lnTo>
                    <a:lnTo>
                      <a:pt x="31" y="16"/>
                    </a:lnTo>
                    <a:lnTo>
                      <a:pt x="25" y="18"/>
                    </a:lnTo>
                    <a:lnTo>
                      <a:pt x="25" y="21"/>
                    </a:lnTo>
                    <a:lnTo>
                      <a:pt x="27" y="23"/>
                    </a:lnTo>
                    <a:lnTo>
                      <a:pt x="22" y="23"/>
                    </a:lnTo>
                    <a:lnTo>
                      <a:pt x="20" y="21"/>
                    </a:lnTo>
                    <a:lnTo>
                      <a:pt x="19" y="21"/>
                    </a:lnTo>
                    <a:lnTo>
                      <a:pt x="17" y="21"/>
                    </a:lnTo>
                    <a:lnTo>
                      <a:pt x="14" y="21"/>
                    </a:lnTo>
                    <a:lnTo>
                      <a:pt x="13" y="23"/>
                    </a:lnTo>
                    <a:lnTo>
                      <a:pt x="5" y="23"/>
                    </a:lnTo>
                    <a:lnTo>
                      <a:pt x="0" y="21"/>
                    </a:lnTo>
                    <a:lnTo>
                      <a:pt x="3" y="28"/>
                    </a:lnTo>
                    <a:lnTo>
                      <a:pt x="8" y="35"/>
                    </a:lnTo>
                    <a:lnTo>
                      <a:pt x="13" y="28"/>
                    </a:lnTo>
                    <a:lnTo>
                      <a:pt x="23" y="50"/>
                    </a:lnTo>
                    <a:lnTo>
                      <a:pt x="30" y="55"/>
                    </a:lnTo>
                    <a:lnTo>
                      <a:pt x="45" y="64"/>
                    </a:lnTo>
                    <a:lnTo>
                      <a:pt x="65" y="74"/>
                    </a:lnTo>
                    <a:lnTo>
                      <a:pt x="68" y="74"/>
                    </a:lnTo>
                    <a:lnTo>
                      <a:pt x="70" y="74"/>
                    </a:lnTo>
                    <a:lnTo>
                      <a:pt x="70" y="73"/>
                    </a:lnTo>
                    <a:lnTo>
                      <a:pt x="62" y="68"/>
                    </a:lnTo>
                    <a:lnTo>
                      <a:pt x="61" y="64"/>
                    </a:lnTo>
                    <a:lnTo>
                      <a:pt x="58" y="63"/>
                    </a:lnTo>
                    <a:lnTo>
                      <a:pt x="45" y="51"/>
                    </a:lnTo>
                    <a:lnTo>
                      <a:pt x="45" y="50"/>
                    </a:lnTo>
                    <a:lnTo>
                      <a:pt x="42" y="50"/>
                    </a:lnTo>
                    <a:lnTo>
                      <a:pt x="39" y="40"/>
                    </a:lnTo>
                    <a:lnTo>
                      <a:pt x="36" y="36"/>
                    </a:lnTo>
                    <a:lnTo>
                      <a:pt x="36" y="28"/>
                    </a:lnTo>
                    <a:lnTo>
                      <a:pt x="39" y="28"/>
                    </a:lnTo>
                    <a:lnTo>
                      <a:pt x="44" y="33"/>
                    </a:lnTo>
                    <a:lnTo>
                      <a:pt x="47" y="28"/>
                    </a:lnTo>
                    <a:lnTo>
                      <a:pt x="53" y="28"/>
                    </a:lnTo>
                    <a:lnTo>
                      <a:pt x="58" y="28"/>
                    </a:lnTo>
                    <a:lnTo>
                      <a:pt x="70" y="31"/>
                    </a:lnTo>
                    <a:lnTo>
                      <a:pt x="71" y="28"/>
                    </a:lnTo>
                    <a:lnTo>
                      <a:pt x="73" y="31"/>
                    </a:lnTo>
                    <a:lnTo>
                      <a:pt x="75" y="31"/>
                    </a:lnTo>
                    <a:lnTo>
                      <a:pt x="79" y="31"/>
                    </a:lnTo>
                    <a:lnTo>
                      <a:pt x="82" y="31"/>
                    </a:lnTo>
                    <a:lnTo>
                      <a:pt x="84" y="3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42" name="Freeform 372">
                <a:extLst>
                  <a:ext uri="{FF2B5EF4-FFF2-40B4-BE49-F238E27FC236}">
                    <a16:creationId xmlns:a16="http://schemas.microsoft.com/office/drawing/2014/main" id="{4D3E6EC5-9EF5-A853-13B6-90DBD14E16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01" y="3258"/>
                <a:ext cx="11" cy="5"/>
              </a:xfrm>
              <a:custGeom>
                <a:avLst/>
                <a:gdLst>
                  <a:gd name="T0" fmla="*/ 11 w 24"/>
                  <a:gd name="T1" fmla="*/ 5 h 12"/>
                  <a:gd name="T2" fmla="*/ 11 w 24"/>
                  <a:gd name="T3" fmla="*/ 4 h 12"/>
                  <a:gd name="T4" fmla="*/ 11 w 24"/>
                  <a:gd name="T5" fmla="*/ 3 h 12"/>
                  <a:gd name="T6" fmla="*/ 10 w 24"/>
                  <a:gd name="T7" fmla="*/ 2 h 12"/>
                  <a:gd name="T8" fmla="*/ 7 w 24"/>
                  <a:gd name="T9" fmla="*/ 2 h 12"/>
                  <a:gd name="T10" fmla="*/ 6 w 24"/>
                  <a:gd name="T11" fmla="*/ 0 h 12"/>
                  <a:gd name="T12" fmla="*/ 5 w 24"/>
                  <a:gd name="T13" fmla="*/ 1 h 12"/>
                  <a:gd name="T14" fmla="*/ 0 w 24"/>
                  <a:gd name="T15" fmla="*/ 0 h 12"/>
                  <a:gd name="T16" fmla="*/ 11 w 24"/>
                  <a:gd name="T17" fmla="*/ 5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4" h="12">
                    <a:moveTo>
                      <a:pt x="24" y="12"/>
                    </a:moveTo>
                    <a:lnTo>
                      <a:pt x="24" y="9"/>
                    </a:lnTo>
                    <a:lnTo>
                      <a:pt x="24" y="7"/>
                    </a:lnTo>
                    <a:lnTo>
                      <a:pt x="21" y="5"/>
                    </a:lnTo>
                    <a:lnTo>
                      <a:pt x="15" y="4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24" y="1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43" name="Freeform 373">
                <a:extLst>
                  <a:ext uri="{FF2B5EF4-FFF2-40B4-BE49-F238E27FC236}">
                    <a16:creationId xmlns:a16="http://schemas.microsoft.com/office/drawing/2014/main" id="{B7E3DA85-E77B-2575-FC22-4A9839BF8A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44" y="3187"/>
                <a:ext cx="90" cy="76"/>
              </a:xfrm>
              <a:custGeom>
                <a:avLst/>
                <a:gdLst>
                  <a:gd name="T0" fmla="*/ 88 w 204"/>
                  <a:gd name="T1" fmla="*/ 60 h 174"/>
                  <a:gd name="T2" fmla="*/ 88 w 204"/>
                  <a:gd name="T3" fmla="*/ 64 h 174"/>
                  <a:gd name="T4" fmla="*/ 87 w 204"/>
                  <a:gd name="T5" fmla="*/ 64 h 174"/>
                  <a:gd name="T6" fmla="*/ 80 w 204"/>
                  <a:gd name="T7" fmla="*/ 70 h 174"/>
                  <a:gd name="T8" fmla="*/ 70 w 204"/>
                  <a:gd name="T9" fmla="*/ 66 h 174"/>
                  <a:gd name="T10" fmla="*/ 68 w 204"/>
                  <a:gd name="T11" fmla="*/ 66 h 174"/>
                  <a:gd name="T12" fmla="*/ 67 w 204"/>
                  <a:gd name="T13" fmla="*/ 66 h 174"/>
                  <a:gd name="T14" fmla="*/ 61 w 204"/>
                  <a:gd name="T15" fmla="*/ 66 h 174"/>
                  <a:gd name="T16" fmla="*/ 57 w 204"/>
                  <a:gd name="T17" fmla="*/ 70 h 174"/>
                  <a:gd name="T18" fmla="*/ 57 w 204"/>
                  <a:gd name="T19" fmla="*/ 76 h 174"/>
                  <a:gd name="T20" fmla="*/ 46 w 204"/>
                  <a:gd name="T21" fmla="*/ 75 h 174"/>
                  <a:gd name="T22" fmla="*/ 46 w 204"/>
                  <a:gd name="T23" fmla="*/ 74 h 174"/>
                  <a:gd name="T24" fmla="*/ 45 w 204"/>
                  <a:gd name="T25" fmla="*/ 74 h 174"/>
                  <a:gd name="T26" fmla="*/ 25 w 204"/>
                  <a:gd name="T27" fmla="*/ 70 h 174"/>
                  <a:gd name="T28" fmla="*/ 21 w 204"/>
                  <a:gd name="T29" fmla="*/ 66 h 174"/>
                  <a:gd name="T30" fmla="*/ 24 w 204"/>
                  <a:gd name="T31" fmla="*/ 62 h 174"/>
                  <a:gd name="T32" fmla="*/ 25 w 204"/>
                  <a:gd name="T33" fmla="*/ 56 h 174"/>
                  <a:gd name="T34" fmla="*/ 25 w 204"/>
                  <a:gd name="T35" fmla="*/ 48 h 174"/>
                  <a:gd name="T36" fmla="*/ 29 w 204"/>
                  <a:gd name="T37" fmla="*/ 52 h 174"/>
                  <a:gd name="T38" fmla="*/ 25 w 204"/>
                  <a:gd name="T39" fmla="*/ 45 h 174"/>
                  <a:gd name="T40" fmla="*/ 26 w 204"/>
                  <a:gd name="T41" fmla="*/ 43 h 174"/>
                  <a:gd name="T42" fmla="*/ 22 w 204"/>
                  <a:gd name="T43" fmla="*/ 41 h 174"/>
                  <a:gd name="T44" fmla="*/ 19 w 204"/>
                  <a:gd name="T45" fmla="*/ 34 h 174"/>
                  <a:gd name="T46" fmla="*/ 20 w 204"/>
                  <a:gd name="T47" fmla="*/ 33 h 174"/>
                  <a:gd name="T48" fmla="*/ 16 w 204"/>
                  <a:gd name="T49" fmla="*/ 32 h 174"/>
                  <a:gd name="T50" fmla="*/ 12 w 204"/>
                  <a:gd name="T51" fmla="*/ 31 h 174"/>
                  <a:gd name="T52" fmla="*/ 6 w 204"/>
                  <a:gd name="T53" fmla="*/ 28 h 174"/>
                  <a:gd name="T54" fmla="*/ 1 w 204"/>
                  <a:gd name="T55" fmla="*/ 26 h 174"/>
                  <a:gd name="T56" fmla="*/ 2 w 204"/>
                  <a:gd name="T57" fmla="*/ 24 h 174"/>
                  <a:gd name="T58" fmla="*/ 4 w 204"/>
                  <a:gd name="T59" fmla="*/ 24 h 174"/>
                  <a:gd name="T60" fmla="*/ 0 w 204"/>
                  <a:gd name="T61" fmla="*/ 24 h 174"/>
                  <a:gd name="T62" fmla="*/ 8 w 204"/>
                  <a:gd name="T63" fmla="*/ 20 h 174"/>
                  <a:gd name="T64" fmla="*/ 15 w 204"/>
                  <a:gd name="T65" fmla="*/ 21 h 174"/>
                  <a:gd name="T66" fmla="*/ 23 w 204"/>
                  <a:gd name="T67" fmla="*/ 21 h 174"/>
                  <a:gd name="T68" fmla="*/ 21 w 204"/>
                  <a:gd name="T69" fmla="*/ 12 h 174"/>
                  <a:gd name="T70" fmla="*/ 23 w 204"/>
                  <a:gd name="T71" fmla="*/ 12 h 174"/>
                  <a:gd name="T72" fmla="*/ 26 w 204"/>
                  <a:gd name="T73" fmla="*/ 14 h 174"/>
                  <a:gd name="T74" fmla="*/ 37 w 204"/>
                  <a:gd name="T75" fmla="*/ 14 h 174"/>
                  <a:gd name="T76" fmla="*/ 34 w 204"/>
                  <a:gd name="T77" fmla="*/ 14 h 174"/>
                  <a:gd name="T78" fmla="*/ 43 w 204"/>
                  <a:gd name="T79" fmla="*/ 9 h 174"/>
                  <a:gd name="T80" fmla="*/ 45 w 204"/>
                  <a:gd name="T81" fmla="*/ 2 h 174"/>
                  <a:gd name="T82" fmla="*/ 51 w 204"/>
                  <a:gd name="T83" fmla="*/ 0 h 174"/>
                  <a:gd name="T84" fmla="*/ 53 w 204"/>
                  <a:gd name="T85" fmla="*/ 3 h 174"/>
                  <a:gd name="T86" fmla="*/ 63 w 204"/>
                  <a:gd name="T87" fmla="*/ 9 h 174"/>
                  <a:gd name="T88" fmla="*/ 67 w 204"/>
                  <a:gd name="T89" fmla="*/ 9 h 174"/>
                  <a:gd name="T90" fmla="*/ 67 w 204"/>
                  <a:gd name="T91" fmla="*/ 9 h 174"/>
                  <a:gd name="T92" fmla="*/ 74 w 204"/>
                  <a:gd name="T93" fmla="*/ 14 h 174"/>
                  <a:gd name="T94" fmla="*/ 78 w 204"/>
                  <a:gd name="T95" fmla="*/ 14 h 174"/>
                  <a:gd name="T96" fmla="*/ 79 w 204"/>
                  <a:gd name="T97" fmla="*/ 14 h 174"/>
                  <a:gd name="T98" fmla="*/ 90 w 204"/>
                  <a:gd name="T99" fmla="*/ 18 h 174"/>
                  <a:gd name="T100" fmla="*/ 87 w 204"/>
                  <a:gd name="T101" fmla="*/ 31 h 174"/>
                  <a:gd name="T102" fmla="*/ 85 w 204"/>
                  <a:gd name="T103" fmla="*/ 32 h 174"/>
                  <a:gd name="T104" fmla="*/ 83 w 204"/>
                  <a:gd name="T105" fmla="*/ 33 h 174"/>
                  <a:gd name="T106" fmla="*/ 77 w 204"/>
                  <a:gd name="T107" fmla="*/ 42 h 174"/>
                  <a:gd name="T108" fmla="*/ 80 w 204"/>
                  <a:gd name="T109" fmla="*/ 41 h 174"/>
                  <a:gd name="T110" fmla="*/ 84 w 204"/>
                  <a:gd name="T111" fmla="*/ 44 h 174"/>
                  <a:gd name="T112" fmla="*/ 83 w 204"/>
                  <a:gd name="T113" fmla="*/ 48 h 174"/>
                  <a:gd name="T114" fmla="*/ 83 w 204"/>
                  <a:gd name="T115" fmla="*/ 52 h 174"/>
                  <a:gd name="T116" fmla="*/ 83 w 204"/>
                  <a:gd name="T117" fmla="*/ 54 h 174"/>
                  <a:gd name="T118" fmla="*/ 83 w 204"/>
                  <a:gd name="T119" fmla="*/ 57 h 174"/>
                  <a:gd name="T120" fmla="*/ 88 w 204"/>
                  <a:gd name="T121" fmla="*/ 60 h 17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04" h="174">
                    <a:moveTo>
                      <a:pt x="200" y="138"/>
                    </a:moveTo>
                    <a:lnTo>
                      <a:pt x="200" y="146"/>
                    </a:lnTo>
                    <a:lnTo>
                      <a:pt x="198" y="146"/>
                    </a:lnTo>
                    <a:lnTo>
                      <a:pt x="181" y="161"/>
                    </a:lnTo>
                    <a:lnTo>
                      <a:pt x="158" y="152"/>
                    </a:lnTo>
                    <a:lnTo>
                      <a:pt x="153" y="152"/>
                    </a:lnTo>
                    <a:lnTo>
                      <a:pt x="152" y="152"/>
                    </a:lnTo>
                    <a:lnTo>
                      <a:pt x="138" y="152"/>
                    </a:lnTo>
                    <a:lnTo>
                      <a:pt x="129" y="161"/>
                    </a:lnTo>
                    <a:lnTo>
                      <a:pt x="130" y="174"/>
                    </a:lnTo>
                    <a:lnTo>
                      <a:pt x="105" y="172"/>
                    </a:lnTo>
                    <a:lnTo>
                      <a:pt x="105" y="169"/>
                    </a:lnTo>
                    <a:lnTo>
                      <a:pt x="101" y="169"/>
                    </a:lnTo>
                    <a:lnTo>
                      <a:pt x="56" y="161"/>
                    </a:lnTo>
                    <a:lnTo>
                      <a:pt x="47" y="152"/>
                    </a:lnTo>
                    <a:lnTo>
                      <a:pt x="54" y="143"/>
                    </a:lnTo>
                    <a:lnTo>
                      <a:pt x="56" y="128"/>
                    </a:lnTo>
                    <a:lnTo>
                      <a:pt x="56" y="111"/>
                    </a:lnTo>
                    <a:lnTo>
                      <a:pt x="65" y="119"/>
                    </a:lnTo>
                    <a:lnTo>
                      <a:pt x="56" y="104"/>
                    </a:lnTo>
                    <a:lnTo>
                      <a:pt x="59" y="99"/>
                    </a:lnTo>
                    <a:lnTo>
                      <a:pt x="50" y="93"/>
                    </a:lnTo>
                    <a:lnTo>
                      <a:pt x="42" y="78"/>
                    </a:lnTo>
                    <a:lnTo>
                      <a:pt x="45" y="76"/>
                    </a:lnTo>
                    <a:lnTo>
                      <a:pt x="36" y="73"/>
                    </a:lnTo>
                    <a:lnTo>
                      <a:pt x="27" y="70"/>
                    </a:lnTo>
                    <a:lnTo>
                      <a:pt x="13" y="63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19" y="46"/>
                    </a:lnTo>
                    <a:lnTo>
                      <a:pt x="33" y="48"/>
                    </a:lnTo>
                    <a:lnTo>
                      <a:pt x="51" y="48"/>
                    </a:lnTo>
                    <a:lnTo>
                      <a:pt x="47" y="28"/>
                    </a:lnTo>
                    <a:lnTo>
                      <a:pt x="53" y="28"/>
                    </a:lnTo>
                    <a:lnTo>
                      <a:pt x="59" y="33"/>
                    </a:lnTo>
                    <a:lnTo>
                      <a:pt x="84" y="31"/>
                    </a:lnTo>
                    <a:lnTo>
                      <a:pt x="78" y="31"/>
                    </a:lnTo>
                    <a:lnTo>
                      <a:pt x="98" y="20"/>
                    </a:lnTo>
                    <a:lnTo>
                      <a:pt x="101" y="5"/>
                    </a:lnTo>
                    <a:lnTo>
                      <a:pt x="116" y="0"/>
                    </a:lnTo>
                    <a:lnTo>
                      <a:pt x="121" y="7"/>
                    </a:lnTo>
                    <a:lnTo>
                      <a:pt x="143" y="20"/>
                    </a:lnTo>
                    <a:lnTo>
                      <a:pt x="152" y="20"/>
                    </a:lnTo>
                    <a:lnTo>
                      <a:pt x="152" y="21"/>
                    </a:lnTo>
                    <a:lnTo>
                      <a:pt x="167" y="31"/>
                    </a:lnTo>
                    <a:lnTo>
                      <a:pt x="177" y="31"/>
                    </a:lnTo>
                    <a:lnTo>
                      <a:pt x="180" y="33"/>
                    </a:lnTo>
                    <a:lnTo>
                      <a:pt x="204" y="41"/>
                    </a:lnTo>
                    <a:lnTo>
                      <a:pt x="198" y="70"/>
                    </a:lnTo>
                    <a:lnTo>
                      <a:pt x="192" y="73"/>
                    </a:lnTo>
                    <a:lnTo>
                      <a:pt x="189" y="75"/>
                    </a:lnTo>
                    <a:lnTo>
                      <a:pt x="175" y="96"/>
                    </a:lnTo>
                    <a:lnTo>
                      <a:pt x="181" y="93"/>
                    </a:lnTo>
                    <a:lnTo>
                      <a:pt x="191" y="101"/>
                    </a:lnTo>
                    <a:lnTo>
                      <a:pt x="189" y="111"/>
                    </a:lnTo>
                    <a:lnTo>
                      <a:pt x="189" y="119"/>
                    </a:lnTo>
                    <a:lnTo>
                      <a:pt x="189" y="124"/>
                    </a:lnTo>
                    <a:lnTo>
                      <a:pt x="189" y="131"/>
                    </a:lnTo>
                    <a:lnTo>
                      <a:pt x="200" y="13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44" name="Freeform 374">
                <a:extLst>
                  <a:ext uri="{FF2B5EF4-FFF2-40B4-BE49-F238E27FC236}">
                    <a16:creationId xmlns:a16="http://schemas.microsoft.com/office/drawing/2014/main" id="{2EA3262E-5363-3580-8681-D20099C2C4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40" y="3259"/>
                <a:ext cx="7" cy="11"/>
              </a:xfrm>
              <a:custGeom>
                <a:avLst/>
                <a:gdLst>
                  <a:gd name="T0" fmla="*/ 5 w 16"/>
                  <a:gd name="T1" fmla="*/ 11 h 27"/>
                  <a:gd name="T2" fmla="*/ 1 w 16"/>
                  <a:gd name="T3" fmla="*/ 9 h 27"/>
                  <a:gd name="T4" fmla="*/ 0 w 16"/>
                  <a:gd name="T5" fmla="*/ 5 h 27"/>
                  <a:gd name="T6" fmla="*/ 5 w 16"/>
                  <a:gd name="T7" fmla="*/ 0 h 27"/>
                  <a:gd name="T8" fmla="*/ 7 w 16"/>
                  <a:gd name="T9" fmla="*/ 5 h 27"/>
                  <a:gd name="T10" fmla="*/ 5 w 16"/>
                  <a:gd name="T11" fmla="*/ 11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" h="27">
                    <a:moveTo>
                      <a:pt x="11" y="27"/>
                    </a:moveTo>
                    <a:lnTo>
                      <a:pt x="3" y="23"/>
                    </a:lnTo>
                    <a:lnTo>
                      <a:pt x="0" y="12"/>
                    </a:lnTo>
                    <a:lnTo>
                      <a:pt x="11" y="0"/>
                    </a:lnTo>
                    <a:lnTo>
                      <a:pt x="16" y="12"/>
                    </a:lnTo>
                    <a:lnTo>
                      <a:pt x="11" y="2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45" name="Freeform 375">
                <a:extLst>
                  <a:ext uri="{FF2B5EF4-FFF2-40B4-BE49-F238E27FC236}">
                    <a16:creationId xmlns:a16="http://schemas.microsoft.com/office/drawing/2014/main" id="{0D687B3D-5817-6ACD-878E-4002208692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2" y="3210"/>
                <a:ext cx="48" cy="22"/>
              </a:xfrm>
              <a:custGeom>
                <a:avLst/>
                <a:gdLst>
                  <a:gd name="T0" fmla="*/ 21 w 107"/>
                  <a:gd name="T1" fmla="*/ 22 h 52"/>
                  <a:gd name="T2" fmla="*/ 10 w 107"/>
                  <a:gd name="T3" fmla="*/ 21 h 52"/>
                  <a:gd name="T4" fmla="*/ 4 w 107"/>
                  <a:gd name="T5" fmla="*/ 16 h 52"/>
                  <a:gd name="T6" fmla="*/ 1 w 107"/>
                  <a:gd name="T7" fmla="*/ 15 h 52"/>
                  <a:gd name="T8" fmla="*/ 0 w 107"/>
                  <a:gd name="T9" fmla="*/ 14 h 52"/>
                  <a:gd name="T10" fmla="*/ 1 w 107"/>
                  <a:gd name="T11" fmla="*/ 13 h 52"/>
                  <a:gd name="T12" fmla="*/ 4 w 107"/>
                  <a:gd name="T13" fmla="*/ 7 h 52"/>
                  <a:gd name="T14" fmla="*/ 4 w 107"/>
                  <a:gd name="T15" fmla="*/ 7 h 52"/>
                  <a:gd name="T16" fmla="*/ 7 w 107"/>
                  <a:gd name="T17" fmla="*/ 4 h 52"/>
                  <a:gd name="T18" fmla="*/ 9 w 107"/>
                  <a:gd name="T19" fmla="*/ 5 h 52"/>
                  <a:gd name="T20" fmla="*/ 18 w 107"/>
                  <a:gd name="T21" fmla="*/ 5 h 52"/>
                  <a:gd name="T22" fmla="*/ 30 w 107"/>
                  <a:gd name="T23" fmla="*/ 0 h 52"/>
                  <a:gd name="T24" fmla="*/ 43 w 107"/>
                  <a:gd name="T25" fmla="*/ 0 h 52"/>
                  <a:gd name="T26" fmla="*/ 48 w 107"/>
                  <a:gd name="T27" fmla="*/ 4 h 52"/>
                  <a:gd name="T28" fmla="*/ 41 w 107"/>
                  <a:gd name="T29" fmla="*/ 11 h 52"/>
                  <a:gd name="T30" fmla="*/ 35 w 107"/>
                  <a:gd name="T31" fmla="*/ 18 h 52"/>
                  <a:gd name="T32" fmla="*/ 31 w 107"/>
                  <a:gd name="T33" fmla="*/ 20 h 52"/>
                  <a:gd name="T34" fmla="*/ 21 w 107"/>
                  <a:gd name="T35" fmla="*/ 22 h 5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07" h="52">
                    <a:moveTo>
                      <a:pt x="47" y="52"/>
                    </a:moveTo>
                    <a:lnTo>
                      <a:pt x="22" y="50"/>
                    </a:lnTo>
                    <a:lnTo>
                      <a:pt x="8" y="37"/>
                    </a:lnTo>
                    <a:lnTo>
                      <a:pt x="2" y="35"/>
                    </a:lnTo>
                    <a:lnTo>
                      <a:pt x="0" y="32"/>
                    </a:lnTo>
                    <a:lnTo>
                      <a:pt x="2" y="30"/>
                    </a:lnTo>
                    <a:lnTo>
                      <a:pt x="10" y="17"/>
                    </a:lnTo>
                    <a:lnTo>
                      <a:pt x="16" y="9"/>
                    </a:lnTo>
                    <a:lnTo>
                      <a:pt x="21" y="12"/>
                    </a:lnTo>
                    <a:lnTo>
                      <a:pt x="41" y="12"/>
                    </a:lnTo>
                    <a:lnTo>
                      <a:pt x="67" y="0"/>
                    </a:lnTo>
                    <a:lnTo>
                      <a:pt x="95" y="0"/>
                    </a:lnTo>
                    <a:lnTo>
                      <a:pt x="107" y="10"/>
                    </a:lnTo>
                    <a:lnTo>
                      <a:pt x="92" y="25"/>
                    </a:lnTo>
                    <a:lnTo>
                      <a:pt x="78" y="43"/>
                    </a:lnTo>
                    <a:lnTo>
                      <a:pt x="70" y="48"/>
                    </a:lnTo>
                    <a:lnTo>
                      <a:pt x="47" y="5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46" name="Freeform 376">
                <a:extLst>
                  <a:ext uri="{FF2B5EF4-FFF2-40B4-BE49-F238E27FC236}">
                    <a16:creationId xmlns:a16="http://schemas.microsoft.com/office/drawing/2014/main" id="{E438C385-9530-B72C-F679-008651CC94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70" y="3269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47" name="Freeform 377">
                <a:extLst>
                  <a:ext uri="{FF2B5EF4-FFF2-40B4-BE49-F238E27FC236}">
                    <a16:creationId xmlns:a16="http://schemas.microsoft.com/office/drawing/2014/main" id="{246EEAAA-16FB-D096-7F04-8D3BF03CB9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46" y="2978"/>
                <a:ext cx="952" cy="291"/>
              </a:xfrm>
              <a:custGeom>
                <a:avLst/>
                <a:gdLst>
                  <a:gd name="T0" fmla="*/ 821 w 2152"/>
                  <a:gd name="T1" fmla="*/ 63 h 666"/>
                  <a:gd name="T2" fmla="*/ 744 w 2152"/>
                  <a:gd name="T3" fmla="*/ 49 h 666"/>
                  <a:gd name="T4" fmla="*/ 671 w 2152"/>
                  <a:gd name="T5" fmla="*/ 41 h 666"/>
                  <a:gd name="T6" fmla="*/ 618 w 2152"/>
                  <a:gd name="T7" fmla="*/ 35 h 666"/>
                  <a:gd name="T8" fmla="*/ 598 w 2152"/>
                  <a:gd name="T9" fmla="*/ 42 h 666"/>
                  <a:gd name="T10" fmla="*/ 541 w 2152"/>
                  <a:gd name="T11" fmla="*/ 38 h 666"/>
                  <a:gd name="T12" fmla="*/ 450 w 2152"/>
                  <a:gd name="T13" fmla="*/ 25 h 666"/>
                  <a:gd name="T14" fmla="*/ 441 w 2152"/>
                  <a:gd name="T15" fmla="*/ 15 h 666"/>
                  <a:gd name="T16" fmla="*/ 393 w 2152"/>
                  <a:gd name="T17" fmla="*/ 7 h 666"/>
                  <a:gd name="T18" fmla="*/ 355 w 2152"/>
                  <a:gd name="T19" fmla="*/ 8 h 666"/>
                  <a:gd name="T20" fmla="*/ 302 w 2152"/>
                  <a:gd name="T21" fmla="*/ 20 h 666"/>
                  <a:gd name="T22" fmla="*/ 285 w 2152"/>
                  <a:gd name="T23" fmla="*/ 37 h 666"/>
                  <a:gd name="T24" fmla="*/ 302 w 2152"/>
                  <a:gd name="T25" fmla="*/ 42 h 666"/>
                  <a:gd name="T26" fmla="*/ 258 w 2152"/>
                  <a:gd name="T27" fmla="*/ 43 h 666"/>
                  <a:gd name="T28" fmla="*/ 277 w 2152"/>
                  <a:gd name="T29" fmla="*/ 60 h 666"/>
                  <a:gd name="T30" fmla="*/ 273 w 2152"/>
                  <a:gd name="T31" fmla="*/ 72 h 666"/>
                  <a:gd name="T32" fmla="*/ 258 w 2152"/>
                  <a:gd name="T33" fmla="*/ 78 h 666"/>
                  <a:gd name="T34" fmla="*/ 216 w 2152"/>
                  <a:gd name="T35" fmla="*/ 34 h 666"/>
                  <a:gd name="T36" fmla="*/ 235 w 2152"/>
                  <a:gd name="T37" fmla="*/ 63 h 666"/>
                  <a:gd name="T38" fmla="*/ 181 w 2152"/>
                  <a:gd name="T39" fmla="*/ 66 h 666"/>
                  <a:gd name="T40" fmla="*/ 150 w 2152"/>
                  <a:gd name="T41" fmla="*/ 61 h 666"/>
                  <a:gd name="T42" fmla="*/ 98 w 2152"/>
                  <a:gd name="T43" fmla="*/ 73 h 666"/>
                  <a:gd name="T44" fmla="*/ 92 w 2152"/>
                  <a:gd name="T45" fmla="*/ 81 h 666"/>
                  <a:gd name="T46" fmla="*/ 66 w 2152"/>
                  <a:gd name="T47" fmla="*/ 100 h 666"/>
                  <a:gd name="T48" fmla="*/ 27 w 2152"/>
                  <a:gd name="T49" fmla="*/ 76 h 666"/>
                  <a:gd name="T50" fmla="*/ 24 w 2152"/>
                  <a:gd name="T51" fmla="*/ 61 h 666"/>
                  <a:gd name="T52" fmla="*/ 7 w 2152"/>
                  <a:gd name="T53" fmla="*/ 58 h 666"/>
                  <a:gd name="T54" fmla="*/ 20 w 2152"/>
                  <a:gd name="T55" fmla="*/ 100 h 666"/>
                  <a:gd name="T56" fmla="*/ 14 w 2152"/>
                  <a:gd name="T57" fmla="*/ 129 h 666"/>
                  <a:gd name="T58" fmla="*/ 29 w 2152"/>
                  <a:gd name="T59" fmla="*/ 168 h 666"/>
                  <a:gd name="T60" fmla="*/ 77 w 2152"/>
                  <a:gd name="T61" fmla="*/ 208 h 666"/>
                  <a:gd name="T62" fmla="*/ 104 w 2152"/>
                  <a:gd name="T63" fmla="*/ 246 h 666"/>
                  <a:gd name="T64" fmla="*/ 104 w 2152"/>
                  <a:gd name="T65" fmla="*/ 265 h 666"/>
                  <a:gd name="T66" fmla="*/ 189 w 2152"/>
                  <a:gd name="T67" fmla="*/ 291 h 666"/>
                  <a:gd name="T68" fmla="*/ 183 w 2152"/>
                  <a:gd name="T69" fmla="*/ 250 h 666"/>
                  <a:gd name="T70" fmla="*/ 177 w 2152"/>
                  <a:gd name="T71" fmla="*/ 203 h 666"/>
                  <a:gd name="T72" fmla="*/ 243 w 2152"/>
                  <a:gd name="T73" fmla="*/ 197 h 666"/>
                  <a:gd name="T74" fmla="*/ 296 w 2152"/>
                  <a:gd name="T75" fmla="*/ 171 h 666"/>
                  <a:gd name="T76" fmla="*/ 350 w 2152"/>
                  <a:gd name="T77" fmla="*/ 184 h 666"/>
                  <a:gd name="T78" fmla="*/ 423 w 2152"/>
                  <a:gd name="T79" fmla="*/ 219 h 666"/>
                  <a:gd name="T80" fmla="*/ 487 w 2152"/>
                  <a:gd name="T81" fmla="*/ 216 h 666"/>
                  <a:gd name="T82" fmla="*/ 549 w 2152"/>
                  <a:gd name="T83" fmla="*/ 216 h 666"/>
                  <a:gd name="T84" fmla="*/ 638 w 2152"/>
                  <a:gd name="T85" fmla="*/ 218 h 666"/>
                  <a:gd name="T86" fmla="*/ 664 w 2152"/>
                  <a:gd name="T87" fmla="*/ 188 h 666"/>
                  <a:gd name="T88" fmla="*/ 747 w 2152"/>
                  <a:gd name="T89" fmla="*/ 228 h 666"/>
                  <a:gd name="T90" fmla="*/ 780 w 2152"/>
                  <a:gd name="T91" fmla="*/ 271 h 666"/>
                  <a:gd name="T92" fmla="*/ 793 w 2152"/>
                  <a:gd name="T93" fmla="*/ 281 h 666"/>
                  <a:gd name="T94" fmla="*/ 812 w 2152"/>
                  <a:gd name="T95" fmla="*/ 226 h 666"/>
                  <a:gd name="T96" fmla="*/ 765 w 2152"/>
                  <a:gd name="T97" fmla="*/ 180 h 666"/>
                  <a:gd name="T98" fmla="*/ 744 w 2152"/>
                  <a:gd name="T99" fmla="*/ 162 h 666"/>
                  <a:gd name="T100" fmla="*/ 774 w 2152"/>
                  <a:gd name="T101" fmla="*/ 137 h 666"/>
                  <a:gd name="T102" fmla="*/ 823 w 2152"/>
                  <a:gd name="T103" fmla="*/ 139 h 666"/>
                  <a:gd name="T104" fmla="*/ 845 w 2152"/>
                  <a:gd name="T105" fmla="*/ 125 h 666"/>
                  <a:gd name="T106" fmla="*/ 860 w 2152"/>
                  <a:gd name="T107" fmla="*/ 114 h 666"/>
                  <a:gd name="T108" fmla="*/ 860 w 2152"/>
                  <a:gd name="T109" fmla="*/ 159 h 666"/>
                  <a:gd name="T110" fmla="*/ 913 w 2152"/>
                  <a:gd name="T111" fmla="*/ 191 h 666"/>
                  <a:gd name="T112" fmla="*/ 913 w 2152"/>
                  <a:gd name="T113" fmla="*/ 166 h 666"/>
                  <a:gd name="T114" fmla="*/ 888 w 2152"/>
                  <a:gd name="T115" fmla="*/ 135 h 666"/>
                  <a:gd name="T116" fmla="*/ 924 w 2152"/>
                  <a:gd name="T117" fmla="*/ 125 h 666"/>
                  <a:gd name="T118" fmla="*/ 945 w 2152"/>
                  <a:gd name="T119" fmla="*/ 108 h 666"/>
                  <a:gd name="T120" fmla="*/ 903 w 2152"/>
                  <a:gd name="T121" fmla="*/ 78 h 66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152" h="666">
                    <a:moveTo>
                      <a:pt x="1989" y="140"/>
                    </a:moveTo>
                    <a:lnTo>
                      <a:pt x="1948" y="132"/>
                    </a:lnTo>
                    <a:lnTo>
                      <a:pt x="1907" y="126"/>
                    </a:lnTo>
                    <a:lnTo>
                      <a:pt x="1872" y="126"/>
                    </a:lnTo>
                    <a:lnTo>
                      <a:pt x="1838" y="121"/>
                    </a:lnTo>
                    <a:lnTo>
                      <a:pt x="1850" y="129"/>
                    </a:lnTo>
                    <a:lnTo>
                      <a:pt x="1870" y="140"/>
                    </a:lnTo>
                    <a:lnTo>
                      <a:pt x="1867" y="144"/>
                    </a:lnTo>
                    <a:lnTo>
                      <a:pt x="1855" y="144"/>
                    </a:lnTo>
                    <a:lnTo>
                      <a:pt x="1836" y="137"/>
                    </a:lnTo>
                    <a:lnTo>
                      <a:pt x="1830" y="137"/>
                    </a:lnTo>
                    <a:lnTo>
                      <a:pt x="1810" y="127"/>
                    </a:lnTo>
                    <a:lnTo>
                      <a:pt x="1793" y="132"/>
                    </a:lnTo>
                    <a:lnTo>
                      <a:pt x="1740" y="129"/>
                    </a:lnTo>
                    <a:lnTo>
                      <a:pt x="1739" y="137"/>
                    </a:lnTo>
                    <a:lnTo>
                      <a:pt x="1722" y="129"/>
                    </a:lnTo>
                    <a:lnTo>
                      <a:pt x="1700" y="126"/>
                    </a:lnTo>
                    <a:lnTo>
                      <a:pt x="1681" y="111"/>
                    </a:lnTo>
                    <a:lnTo>
                      <a:pt x="1649" y="106"/>
                    </a:lnTo>
                    <a:lnTo>
                      <a:pt x="1616" y="107"/>
                    </a:lnTo>
                    <a:lnTo>
                      <a:pt x="1584" y="109"/>
                    </a:lnTo>
                    <a:lnTo>
                      <a:pt x="1575" y="106"/>
                    </a:lnTo>
                    <a:lnTo>
                      <a:pt x="1550" y="99"/>
                    </a:lnTo>
                    <a:lnTo>
                      <a:pt x="1542" y="104"/>
                    </a:lnTo>
                    <a:lnTo>
                      <a:pt x="1544" y="97"/>
                    </a:lnTo>
                    <a:lnTo>
                      <a:pt x="1534" y="96"/>
                    </a:lnTo>
                    <a:lnTo>
                      <a:pt x="1517" y="94"/>
                    </a:lnTo>
                    <a:lnTo>
                      <a:pt x="1527" y="92"/>
                    </a:lnTo>
                    <a:lnTo>
                      <a:pt x="1497" y="86"/>
                    </a:lnTo>
                    <a:lnTo>
                      <a:pt x="1477" y="87"/>
                    </a:lnTo>
                    <a:lnTo>
                      <a:pt x="1473" y="87"/>
                    </a:lnTo>
                    <a:lnTo>
                      <a:pt x="1477" y="84"/>
                    </a:lnTo>
                    <a:lnTo>
                      <a:pt x="1476" y="84"/>
                    </a:lnTo>
                    <a:lnTo>
                      <a:pt x="1431" y="81"/>
                    </a:lnTo>
                    <a:lnTo>
                      <a:pt x="1386" y="77"/>
                    </a:lnTo>
                    <a:lnTo>
                      <a:pt x="1397" y="81"/>
                    </a:lnTo>
                    <a:lnTo>
                      <a:pt x="1377" y="84"/>
                    </a:lnTo>
                    <a:lnTo>
                      <a:pt x="1386" y="86"/>
                    </a:lnTo>
                    <a:lnTo>
                      <a:pt x="1391" y="87"/>
                    </a:lnTo>
                    <a:lnTo>
                      <a:pt x="1397" y="92"/>
                    </a:lnTo>
                    <a:lnTo>
                      <a:pt x="1405" y="99"/>
                    </a:lnTo>
                    <a:lnTo>
                      <a:pt x="1381" y="96"/>
                    </a:lnTo>
                    <a:lnTo>
                      <a:pt x="1386" y="101"/>
                    </a:lnTo>
                    <a:lnTo>
                      <a:pt x="1389" y="104"/>
                    </a:lnTo>
                    <a:lnTo>
                      <a:pt x="1352" y="96"/>
                    </a:lnTo>
                    <a:lnTo>
                      <a:pt x="1340" y="101"/>
                    </a:lnTo>
                    <a:lnTo>
                      <a:pt x="1309" y="94"/>
                    </a:lnTo>
                    <a:lnTo>
                      <a:pt x="1306" y="92"/>
                    </a:lnTo>
                    <a:lnTo>
                      <a:pt x="1312" y="102"/>
                    </a:lnTo>
                    <a:lnTo>
                      <a:pt x="1307" y="111"/>
                    </a:lnTo>
                    <a:lnTo>
                      <a:pt x="1287" y="104"/>
                    </a:lnTo>
                    <a:lnTo>
                      <a:pt x="1261" y="94"/>
                    </a:lnTo>
                    <a:lnTo>
                      <a:pt x="1233" y="84"/>
                    </a:lnTo>
                    <a:lnTo>
                      <a:pt x="1224" y="86"/>
                    </a:lnTo>
                    <a:lnTo>
                      <a:pt x="1247" y="99"/>
                    </a:lnTo>
                    <a:lnTo>
                      <a:pt x="1217" y="84"/>
                    </a:lnTo>
                    <a:lnTo>
                      <a:pt x="1168" y="77"/>
                    </a:lnTo>
                    <a:lnTo>
                      <a:pt x="1120" y="72"/>
                    </a:lnTo>
                    <a:lnTo>
                      <a:pt x="1094" y="66"/>
                    </a:lnTo>
                    <a:lnTo>
                      <a:pt x="1097" y="63"/>
                    </a:lnTo>
                    <a:lnTo>
                      <a:pt x="1078" y="63"/>
                    </a:lnTo>
                    <a:lnTo>
                      <a:pt x="1032" y="64"/>
                    </a:lnTo>
                    <a:lnTo>
                      <a:pt x="1018" y="58"/>
                    </a:lnTo>
                    <a:lnTo>
                      <a:pt x="998" y="59"/>
                    </a:lnTo>
                    <a:lnTo>
                      <a:pt x="998" y="58"/>
                    </a:lnTo>
                    <a:lnTo>
                      <a:pt x="977" y="59"/>
                    </a:lnTo>
                    <a:lnTo>
                      <a:pt x="996" y="63"/>
                    </a:lnTo>
                    <a:lnTo>
                      <a:pt x="973" y="69"/>
                    </a:lnTo>
                    <a:lnTo>
                      <a:pt x="948" y="72"/>
                    </a:lnTo>
                    <a:lnTo>
                      <a:pt x="948" y="68"/>
                    </a:lnTo>
                    <a:lnTo>
                      <a:pt x="974" y="51"/>
                    </a:lnTo>
                    <a:lnTo>
                      <a:pt x="998" y="34"/>
                    </a:lnTo>
                    <a:lnTo>
                      <a:pt x="987" y="31"/>
                    </a:lnTo>
                    <a:lnTo>
                      <a:pt x="976" y="28"/>
                    </a:lnTo>
                    <a:lnTo>
                      <a:pt x="993" y="31"/>
                    </a:lnTo>
                    <a:lnTo>
                      <a:pt x="977" y="21"/>
                    </a:lnTo>
                    <a:lnTo>
                      <a:pt x="974" y="23"/>
                    </a:lnTo>
                    <a:lnTo>
                      <a:pt x="967" y="21"/>
                    </a:lnTo>
                    <a:lnTo>
                      <a:pt x="945" y="16"/>
                    </a:lnTo>
                    <a:lnTo>
                      <a:pt x="903" y="16"/>
                    </a:lnTo>
                    <a:lnTo>
                      <a:pt x="889" y="16"/>
                    </a:lnTo>
                    <a:lnTo>
                      <a:pt x="888" y="9"/>
                    </a:lnTo>
                    <a:lnTo>
                      <a:pt x="871" y="8"/>
                    </a:lnTo>
                    <a:lnTo>
                      <a:pt x="849" y="8"/>
                    </a:lnTo>
                    <a:lnTo>
                      <a:pt x="865" y="3"/>
                    </a:lnTo>
                    <a:lnTo>
                      <a:pt x="834" y="0"/>
                    </a:lnTo>
                    <a:lnTo>
                      <a:pt x="813" y="9"/>
                    </a:lnTo>
                    <a:lnTo>
                      <a:pt x="820" y="16"/>
                    </a:lnTo>
                    <a:lnTo>
                      <a:pt x="834" y="18"/>
                    </a:lnTo>
                    <a:lnTo>
                      <a:pt x="803" y="19"/>
                    </a:lnTo>
                    <a:lnTo>
                      <a:pt x="812" y="21"/>
                    </a:lnTo>
                    <a:lnTo>
                      <a:pt x="792" y="23"/>
                    </a:lnTo>
                    <a:lnTo>
                      <a:pt x="773" y="24"/>
                    </a:lnTo>
                    <a:lnTo>
                      <a:pt x="736" y="24"/>
                    </a:lnTo>
                    <a:lnTo>
                      <a:pt x="752" y="26"/>
                    </a:lnTo>
                    <a:lnTo>
                      <a:pt x="722" y="31"/>
                    </a:lnTo>
                    <a:lnTo>
                      <a:pt x="691" y="36"/>
                    </a:lnTo>
                    <a:lnTo>
                      <a:pt x="682" y="39"/>
                    </a:lnTo>
                    <a:lnTo>
                      <a:pt x="682" y="46"/>
                    </a:lnTo>
                    <a:lnTo>
                      <a:pt x="671" y="46"/>
                    </a:lnTo>
                    <a:lnTo>
                      <a:pt x="690" y="51"/>
                    </a:lnTo>
                    <a:lnTo>
                      <a:pt x="679" y="53"/>
                    </a:lnTo>
                    <a:lnTo>
                      <a:pt x="694" y="58"/>
                    </a:lnTo>
                    <a:lnTo>
                      <a:pt x="659" y="63"/>
                    </a:lnTo>
                    <a:lnTo>
                      <a:pt x="623" y="64"/>
                    </a:lnTo>
                    <a:lnTo>
                      <a:pt x="629" y="72"/>
                    </a:lnTo>
                    <a:lnTo>
                      <a:pt x="645" y="84"/>
                    </a:lnTo>
                    <a:lnTo>
                      <a:pt x="662" y="87"/>
                    </a:lnTo>
                    <a:lnTo>
                      <a:pt x="685" y="96"/>
                    </a:lnTo>
                    <a:lnTo>
                      <a:pt x="699" y="111"/>
                    </a:lnTo>
                    <a:lnTo>
                      <a:pt x="702" y="117"/>
                    </a:lnTo>
                    <a:lnTo>
                      <a:pt x="696" y="117"/>
                    </a:lnTo>
                    <a:lnTo>
                      <a:pt x="685" y="107"/>
                    </a:lnTo>
                    <a:lnTo>
                      <a:pt x="682" y="114"/>
                    </a:lnTo>
                    <a:lnTo>
                      <a:pt x="673" y="102"/>
                    </a:lnTo>
                    <a:lnTo>
                      <a:pt x="682" y="96"/>
                    </a:lnTo>
                    <a:lnTo>
                      <a:pt x="653" y="92"/>
                    </a:lnTo>
                    <a:lnTo>
                      <a:pt x="623" y="84"/>
                    </a:lnTo>
                    <a:lnTo>
                      <a:pt x="600" y="87"/>
                    </a:lnTo>
                    <a:lnTo>
                      <a:pt x="612" y="92"/>
                    </a:lnTo>
                    <a:lnTo>
                      <a:pt x="584" y="91"/>
                    </a:lnTo>
                    <a:lnTo>
                      <a:pt x="592" y="96"/>
                    </a:lnTo>
                    <a:lnTo>
                      <a:pt x="623" y="104"/>
                    </a:lnTo>
                    <a:lnTo>
                      <a:pt x="631" y="107"/>
                    </a:lnTo>
                    <a:lnTo>
                      <a:pt x="584" y="99"/>
                    </a:lnTo>
                    <a:lnTo>
                      <a:pt x="569" y="77"/>
                    </a:lnTo>
                    <a:lnTo>
                      <a:pt x="557" y="76"/>
                    </a:lnTo>
                    <a:lnTo>
                      <a:pt x="569" y="87"/>
                    </a:lnTo>
                    <a:lnTo>
                      <a:pt x="557" y="96"/>
                    </a:lnTo>
                    <a:lnTo>
                      <a:pt x="561" y="102"/>
                    </a:lnTo>
                    <a:lnTo>
                      <a:pt x="581" y="114"/>
                    </a:lnTo>
                    <a:lnTo>
                      <a:pt x="580" y="127"/>
                    </a:lnTo>
                    <a:lnTo>
                      <a:pt x="592" y="139"/>
                    </a:lnTo>
                    <a:lnTo>
                      <a:pt x="626" y="137"/>
                    </a:lnTo>
                    <a:lnTo>
                      <a:pt x="645" y="144"/>
                    </a:lnTo>
                    <a:lnTo>
                      <a:pt x="653" y="155"/>
                    </a:lnTo>
                    <a:lnTo>
                      <a:pt x="659" y="162"/>
                    </a:lnTo>
                    <a:lnTo>
                      <a:pt x="677" y="165"/>
                    </a:lnTo>
                    <a:lnTo>
                      <a:pt x="648" y="162"/>
                    </a:lnTo>
                    <a:lnTo>
                      <a:pt x="637" y="147"/>
                    </a:lnTo>
                    <a:lnTo>
                      <a:pt x="628" y="140"/>
                    </a:lnTo>
                    <a:lnTo>
                      <a:pt x="603" y="145"/>
                    </a:lnTo>
                    <a:lnTo>
                      <a:pt x="617" y="164"/>
                    </a:lnTo>
                    <a:lnTo>
                      <a:pt x="606" y="182"/>
                    </a:lnTo>
                    <a:lnTo>
                      <a:pt x="600" y="185"/>
                    </a:lnTo>
                    <a:lnTo>
                      <a:pt x="592" y="187"/>
                    </a:lnTo>
                    <a:lnTo>
                      <a:pt x="555" y="184"/>
                    </a:lnTo>
                    <a:lnTo>
                      <a:pt x="550" y="179"/>
                    </a:lnTo>
                    <a:lnTo>
                      <a:pt x="575" y="180"/>
                    </a:lnTo>
                    <a:lnTo>
                      <a:pt x="571" y="184"/>
                    </a:lnTo>
                    <a:lnTo>
                      <a:pt x="586" y="180"/>
                    </a:lnTo>
                    <a:lnTo>
                      <a:pt x="584" y="179"/>
                    </a:lnTo>
                    <a:lnTo>
                      <a:pt x="594" y="160"/>
                    </a:lnTo>
                    <a:lnTo>
                      <a:pt x="594" y="150"/>
                    </a:lnTo>
                    <a:lnTo>
                      <a:pt x="572" y="137"/>
                    </a:lnTo>
                    <a:lnTo>
                      <a:pt x="561" y="119"/>
                    </a:lnTo>
                    <a:lnTo>
                      <a:pt x="552" y="104"/>
                    </a:lnTo>
                    <a:lnTo>
                      <a:pt x="537" y="96"/>
                    </a:lnTo>
                    <a:lnTo>
                      <a:pt x="538" y="81"/>
                    </a:lnTo>
                    <a:lnTo>
                      <a:pt x="516" y="74"/>
                    </a:lnTo>
                    <a:lnTo>
                      <a:pt x="489" y="77"/>
                    </a:lnTo>
                    <a:lnTo>
                      <a:pt x="487" y="97"/>
                    </a:lnTo>
                    <a:lnTo>
                      <a:pt x="475" y="106"/>
                    </a:lnTo>
                    <a:lnTo>
                      <a:pt x="479" y="111"/>
                    </a:lnTo>
                    <a:lnTo>
                      <a:pt x="487" y="111"/>
                    </a:lnTo>
                    <a:lnTo>
                      <a:pt x="492" y="122"/>
                    </a:lnTo>
                    <a:lnTo>
                      <a:pt x="496" y="129"/>
                    </a:lnTo>
                    <a:lnTo>
                      <a:pt x="512" y="134"/>
                    </a:lnTo>
                    <a:lnTo>
                      <a:pt x="524" y="142"/>
                    </a:lnTo>
                    <a:lnTo>
                      <a:pt x="532" y="144"/>
                    </a:lnTo>
                    <a:lnTo>
                      <a:pt x="524" y="155"/>
                    </a:lnTo>
                    <a:lnTo>
                      <a:pt x="506" y="144"/>
                    </a:lnTo>
                    <a:lnTo>
                      <a:pt x="473" y="134"/>
                    </a:lnTo>
                    <a:lnTo>
                      <a:pt x="442" y="132"/>
                    </a:lnTo>
                    <a:lnTo>
                      <a:pt x="413" y="126"/>
                    </a:lnTo>
                    <a:lnTo>
                      <a:pt x="407" y="132"/>
                    </a:lnTo>
                    <a:lnTo>
                      <a:pt x="422" y="142"/>
                    </a:lnTo>
                    <a:lnTo>
                      <a:pt x="413" y="147"/>
                    </a:lnTo>
                    <a:lnTo>
                      <a:pt x="410" y="152"/>
                    </a:lnTo>
                    <a:lnTo>
                      <a:pt x="402" y="152"/>
                    </a:lnTo>
                    <a:lnTo>
                      <a:pt x="399" y="142"/>
                    </a:lnTo>
                    <a:lnTo>
                      <a:pt x="380" y="145"/>
                    </a:lnTo>
                    <a:lnTo>
                      <a:pt x="365" y="147"/>
                    </a:lnTo>
                    <a:lnTo>
                      <a:pt x="348" y="152"/>
                    </a:lnTo>
                    <a:lnTo>
                      <a:pt x="326" y="152"/>
                    </a:lnTo>
                    <a:lnTo>
                      <a:pt x="334" y="149"/>
                    </a:lnTo>
                    <a:lnTo>
                      <a:pt x="328" y="144"/>
                    </a:lnTo>
                    <a:lnTo>
                      <a:pt x="338" y="140"/>
                    </a:lnTo>
                    <a:lnTo>
                      <a:pt x="315" y="147"/>
                    </a:lnTo>
                    <a:lnTo>
                      <a:pt x="312" y="150"/>
                    </a:lnTo>
                    <a:lnTo>
                      <a:pt x="284" y="155"/>
                    </a:lnTo>
                    <a:lnTo>
                      <a:pt x="270" y="160"/>
                    </a:lnTo>
                    <a:lnTo>
                      <a:pt x="270" y="164"/>
                    </a:lnTo>
                    <a:lnTo>
                      <a:pt x="260" y="165"/>
                    </a:lnTo>
                    <a:lnTo>
                      <a:pt x="260" y="179"/>
                    </a:lnTo>
                    <a:lnTo>
                      <a:pt x="236" y="179"/>
                    </a:lnTo>
                    <a:lnTo>
                      <a:pt x="222" y="167"/>
                    </a:lnTo>
                    <a:lnTo>
                      <a:pt x="243" y="160"/>
                    </a:lnTo>
                    <a:lnTo>
                      <a:pt x="219" y="149"/>
                    </a:lnTo>
                    <a:lnTo>
                      <a:pt x="191" y="145"/>
                    </a:lnTo>
                    <a:lnTo>
                      <a:pt x="207" y="152"/>
                    </a:lnTo>
                    <a:lnTo>
                      <a:pt x="213" y="174"/>
                    </a:lnTo>
                    <a:lnTo>
                      <a:pt x="219" y="185"/>
                    </a:lnTo>
                    <a:lnTo>
                      <a:pt x="219" y="193"/>
                    </a:lnTo>
                    <a:lnTo>
                      <a:pt x="213" y="193"/>
                    </a:lnTo>
                    <a:lnTo>
                      <a:pt x="207" y="185"/>
                    </a:lnTo>
                    <a:lnTo>
                      <a:pt x="190" y="185"/>
                    </a:lnTo>
                    <a:lnTo>
                      <a:pt x="178" y="193"/>
                    </a:lnTo>
                    <a:lnTo>
                      <a:pt x="164" y="203"/>
                    </a:lnTo>
                    <a:lnTo>
                      <a:pt x="178" y="220"/>
                    </a:lnTo>
                    <a:lnTo>
                      <a:pt x="147" y="215"/>
                    </a:lnTo>
                    <a:lnTo>
                      <a:pt x="127" y="208"/>
                    </a:lnTo>
                    <a:lnTo>
                      <a:pt x="127" y="217"/>
                    </a:lnTo>
                    <a:lnTo>
                      <a:pt x="140" y="223"/>
                    </a:lnTo>
                    <a:lnTo>
                      <a:pt x="150" y="228"/>
                    </a:lnTo>
                    <a:lnTo>
                      <a:pt x="130" y="232"/>
                    </a:lnTo>
                    <a:lnTo>
                      <a:pt x="102" y="217"/>
                    </a:lnTo>
                    <a:lnTo>
                      <a:pt x="94" y="202"/>
                    </a:lnTo>
                    <a:lnTo>
                      <a:pt x="92" y="197"/>
                    </a:lnTo>
                    <a:lnTo>
                      <a:pt x="94" y="197"/>
                    </a:lnTo>
                    <a:lnTo>
                      <a:pt x="75" y="187"/>
                    </a:lnTo>
                    <a:lnTo>
                      <a:pt x="68" y="184"/>
                    </a:lnTo>
                    <a:lnTo>
                      <a:pt x="51" y="174"/>
                    </a:lnTo>
                    <a:lnTo>
                      <a:pt x="62" y="175"/>
                    </a:lnTo>
                    <a:lnTo>
                      <a:pt x="99" y="185"/>
                    </a:lnTo>
                    <a:lnTo>
                      <a:pt x="136" y="192"/>
                    </a:lnTo>
                    <a:lnTo>
                      <a:pt x="171" y="185"/>
                    </a:lnTo>
                    <a:lnTo>
                      <a:pt x="173" y="172"/>
                    </a:lnTo>
                    <a:lnTo>
                      <a:pt x="162" y="160"/>
                    </a:lnTo>
                    <a:lnTo>
                      <a:pt x="122" y="149"/>
                    </a:lnTo>
                    <a:lnTo>
                      <a:pt x="83" y="137"/>
                    </a:lnTo>
                    <a:lnTo>
                      <a:pt x="60" y="137"/>
                    </a:lnTo>
                    <a:lnTo>
                      <a:pt x="54" y="139"/>
                    </a:lnTo>
                    <a:lnTo>
                      <a:pt x="58" y="134"/>
                    </a:lnTo>
                    <a:lnTo>
                      <a:pt x="51" y="134"/>
                    </a:lnTo>
                    <a:lnTo>
                      <a:pt x="38" y="129"/>
                    </a:lnTo>
                    <a:lnTo>
                      <a:pt x="52" y="127"/>
                    </a:lnTo>
                    <a:lnTo>
                      <a:pt x="35" y="124"/>
                    </a:lnTo>
                    <a:lnTo>
                      <a:pt x="29" y="129"/>
                    </a:lnTo>
                    <a:lnTo>
                      <a:pt x="23" y="127"/>
                    </a:lnTo>
                    <a:lnTo>
                      <a:pt x="23" y="132"/>
                    </a:lnTo>
                    <a:lnTo>
                      <a:pt x="15" y="132"/>
                    </a:lnTo>
                    <a:lnTo>
                      <a:pt x="1" y="139"/>
                    </a:lnTo>
                    <a:lnTo>
                      <a:pt x="0" y="144"/>
                    </a:lnTo>
                    <a:lnTo>
                      <a:pt x="1" y="155"/>
                    </a:lnTo>
                    <a:lnTo>
                      <a:pt x="21" y="165"/>
                    </a:lnTo>
                    <a:lnTo>
                      <a:pt x="12" y="179"/>
                    </a:lnTo>
                    <a:lnTo>
                      <a:pt x="29" y="200"/>
                    </a:lnTo>
                    <a:lnTo>
                      <a:pt x="31" y="215"/>
                    </a:lnTo>
                    <a:lnTo>
                      <a:pt x="37" y="220"/>
                    </a:lnTo>
                    <a:lnTo>
                      <a:pt x="45" y="228"/>
                    </a:lnTo>
                    <a:lnTo>
                      <a:pt x="38" y="235"/>
                    </a:lnTo>
                    <a:lnTo>
                      <a:pt x="65" y="250"/>
                    </a:lnTo>
                    <a:lnTo>
                      <a:pt x="52" y="261"/>
                    </a:lnTo>
                    <a:lnTo>
                      <a:pt x="41" y="271"/>
                    </a:lnTo>
                    <a:lnTo>
                      <a:pt x="32" y="283"/>
                    </a:lnTo>
                    <a:lnTo>
                      <a:pt x="21" y="295"/>
                    </a:lnTo>
                    <a:lnTo>
                      <a:pt x="31" y="295"/>
                    </a:lnTo>
                    <a:lnTo>
                      <a:pt x="29" y="295"/>
                    </a:lnTo>
                    <a:lnTo>
                      <a:pt x="32" y="296"/>
                    </a:lnTo>
                    <a:lnTo>
                      <a:pt x="57" y="305"/>
                    </a:lnTo>
                    <a:lnTo>
                      <a:pt x="41" y="303"/>
                    </a:lnTo>
                    <a:lnTo>
                      <a:pt x="29" y="310"/>
                    </a:lnTo>
                    <a:lnTo>
                      <a:pt x="24" y="314"/>
                    </a:lnTo>
                    <a:lnTo>
                      <a:pt x="29" y="333"/>
                    </a:lnTo>
                    <a:lnTo>
                      <a:pt x="23" y="344"/>
                    </a:lnTo>
                    <a:lnTo>
                      <a:pt x="32" y="359"/>
                    </a:lnTo>
                    <a:lnTo>
                      <a:pt x="43" y="381"/>
                    </a:lnTo>
                    <a:lnTo>
                      <a:pt x="66" y="384"/>
                    </a:lnTo>
                    <a:lnTo>
                      <a:pt x="91" y="389"/>
                    </a:lnTo>
                    <a:lnTo>
                      <a:pt x="94" y="411"/>
                    </a:lnTo>
                    <a:lnTo>
                      <a:pt x="116" y="429"/>
                    </a:lnTo>
                    <a:lnTo>
                      <a:pt x="109" y="434"/>
                    </a:lnTo>
                    <a:lnTo>
                      <a:pt x="113" y="452"/>
                    </a:lnTo>
                    <a:lnTo>
                      <a:pt x="127" y="449"/>
                    </a:lnTo>
                    <a:lnTo>
                      <a:pt x="150" y="450"/>
                    </a:lnTo>
                    <a:lnTo>
                      <a:pt x="153" y="457"/>
                    </a:lnTo>
                    <a:lnTo>
                      <a:pt x="173" y="475"/>
                    </a:lnTo>
                    <a:lnTo>
                      <a:pt x="195" y="494"/>
                    </a:lnTo>
                    <a:lnTo>
                      <a:pt x="205" y="490"/>
                    </a:lnTo>
                    <a:lnTo>
                      <a:pt x="229" y="498"/>
                    </a:lnTo>
                    <a:lnTo>
                      <a:pt x="253" y="505"/>
                    </a:lnTo>
                    <a:lnTo>
                      <a:pt x="264" y="535"/>
                    </a:lnTo>
                    <a:lnTo>
                      <a:pt x="250" y="540"/>
                    </a:lnTo>
                    <a:lnTo>
                      <a:pt x="246" y="553"/>
                    </a:lnTo>
                    <a:lnTo>
                      <a:pt x="247" y="555"/>
                    </a:lnTo>
                    <a:lnTo>
                      <a:pt x="236" y="563"/>
                    </a:lnTo>
                    <a:lnTo>
                      <a:pt x="227" y="565"/>
                    </a:lnTo>
                    <a:lnTo>
                      <a:pt x="241" y="576"/>
                    </a:lnTo>
                    <a:lnTo>
                      <a:pt x="236" y="575"/>
                    </a:lnTo>
                    <a:lnTo>
                      <a:pt x="233" y="581"/>
                    </a:lnTo>
                    <a:lnTo>
                      <a:pt x="232" y="578"/>
                    </a:lnTo>
                    <a:lnTo>
                      <a:pt x="230" y="588"/>
                    </a:lnTo>
                    <a:lnTo>
                      <a:pt x="216" y="590"/>
                    </a:lnTo>
                    <a:lnTo>
                      <a:pt x="213" y="593"/>
                    </a:lnTo>
                    <a:lnTo>
                      <a:pt x="236" y="606"/>
                    </a:lnTo>
                    <a:lnTo>
                      <a:pt x="261" y="620"/>
                    </a:lnTo>
                    <a:lnTo>
                      <a:pt x="264" y="620"/>
                    </a:lnTo>
                    <a:lnTo>
                      <a:pt x="281" y="620"/>
                    </a:lnTo>
                    <a:lnTo>
                      <a:pt x="301" y="621"/>
                    </a:lnTo>
                    <a:lnTo>
                      <a:pt x="325" y="631"/>
                    </a:lnTo>
                    <a:lnTo>
                      <a:pt x="349" y="641"/>
                    </a:lnTo>
                    <a:lnTo>
                      <a:pt x="376" y="651"/>
                    </a:lnTo>
                    <a:lnTo>
                      <a:pt x="399" y="661"/>
                    </a:lnTo>
                    <a:lnTo>
                      <a:pt x="427" y="666"/>
                    </a:lnTo>
                    <a:lnTo>
                      <a:pt x="413" y="651"/>
                    </a:lnTo>
                    <a:lnTo>
                      <a:pt x="399" y="634"/>
                    </a:lnTo>
                    <a:lnTo>
                      <a:pt x="396" y="621"/>
                    </a:lnTo>
                    <a:lnTo>
                      <a:pt x="396" y="626"/>
                    </a:lnTo>
                    <a:lnTo>
                      <a:pt x="385" y="611"/>
                    </a:lnTo>
                    <a:lnTo>
                      <a:pt x="380" y="605"/>
                    </a:lnTo>
                    <a:lnTo>
                      <a:pt x="388" y="586"/>
                    </a:lnTo>
                    <a:lnTo>
                      <a:pt x="407" y="578"/>
                    </a:lnTo>
                    <a:lnTo>
                      <a:pt x="413" y="573"/>
                    </a:lnTo>
                    <a:lnTo>
                      <a:pt x="413" y="568"/>
                    </a:lnTo>
                    <a:lnTo>
                      <a:pt x="399" y="548"/>
                    </a:lnTo>
                    <a:lnTo>
                      <a:pt x="380" y="533"/>
                    </a:lnTo>
                    <a:lnTo>
                      <a:pt x="362" y="518"/>
                    </a:lnTo>
                    <a:lnTo>
                      <a:pt x="363" y="495"/>
                    </a:lnTo>
                    <a:lnTo>
                      <a:pt x="366" y="475"/>
                    </a:lnTo>
                    <a:lnTo>
                      <a:pt x="385" y="482"/>
                    </a:lnTo>
                    <a:lnTo>
                      <a:pt x="388" y="475"/>
                    </a:lnTo>
                    <a:lnTo>
                      <a:pt x="400" y="465"/>
                    </a:lnTo>
                    <a:lnTo>
                      <a:pt x="413" y="457"/>
                    </a:lnTo>
                    <a:lnTo>
                      <a:pt x="436" y="457"/>
                    </a:lnTo>
                    <a:lnTo>
                      <a:pt x="458" y="465"/>
                    </a:lnTo>
                    <a:lnTo>
                      <a:pt x="478" y="475"/>
                    </a:lnTo>
                    <a:lnTo>
                      <a:pt x="501" y="475"/>
                    </a:lnTo>
                    <a:lnTo>
                      <a:pt x="533" y="472"/>
                    </a:lnTo>
                    <a:lnTo>
                      <a:pt x="564" y="479"/>
                    </a:lnTo>
                    <a:lnTo>
                      <a:pt x="567" y="472"/>
                    </a:lnTo>
                    <a:lnTo>
                      <a:pt x="549" y="452"/>
                    </a:lnTo>
                    <a:lnTo>
                      <a:pt x="557" y="431"/>
                    </a:lnTo>
                    <a:lnTo>
                      <a:pt x="571" y="431"/>
                    </a:lnTo>
                    <a:lnTo>
                      <a:pt x="552" y="421"/>
                    </a:lnTo>
                    <a:lnTo>
                      <a:pt x="572" y="417"/>
                    </a:lnTo>
                    <a:lnTo>
                      <a:pt x="594" y="416"/>
                    </a:lnTo>
                    <a:lnTo>
                      <a:pt x="612" y="409"/>
                    </a:lnTo>
                    <a:lnTo>
                      <a:pt x="631" y="404"/>
                    </a:lnTo>
                    <a:lnTo>
                      <a:pt x="649" y="397"/>
                    </a:lnTo>
                    <a:lnTo>
                      <a:pt x="668" y="392"/>
                    </a:lnTo>
                    <a:lnTo>
                      <a:pt x="685" y="392"/>
                    </a:lnTo>
                    <a:lnTo>
                      <a:pt x="696" y="404"/>
                    </a:lnTo>
                    <a:lnTo>
                      <a:pt x="725" y="414"/>
                    </a:lnTo>
                    <a:lnTo>
                      <a:pt x="738" y="421"/>
                    </a:lnTo>
                    <a:lnTo>
                      <a:pt x="750" y="422"/>
                    </a:lnTo>
                    <a:lnTo>
                      <a:pt x="769" y="416"/>
                    </a:lnTo>
                    <a:lnTo>
                      <a:pt x="789" y="407"/>
                    </a:lnTo>
                    <a:lnTo>
                      <a:pt x="793" y="411"/>
                    </a:lnTo>
                    <a:lnTo>
                      <a:pt x="792" y="421"/>
                    </a:lnTo>
                    <a:lnTo>
                      <a:pt x="812" y="434"/>
                    </a:lnTo>
                    <a:lnTo>
                      <a:pt x="834" y="449"/>
                    </a:lnTo>
                    <a:lnTo>
                      <a:pt x="857" y="465"/>
                    </a:lnTo>
                    <a:lnTo>
                      <a:pt x="877" y="479"/>
                    </a:lnTo>
                    <a:lnTo>
                      <a:pt x="880" y="475"/>
                    </a:lnTo>
                    <a:lnTo>
                      <a:pt x="894" y="479"/>
                    </a:lnTo>
                    <a:lnTo>
                      <a:pt x="914" y="475"/>
                    </a:lnTo>
                    <a:lnTo>
                      <a:pt x="934" y="489"/>
                    </a:lnTo>
                    <a:lnTo>
                      <a:pt x="956" y="502"/>
                    </a:lnTo>
                    <a:lnTo>
                      <a:pt x="977" y="495"/>
                    </a:lnTo>
                    <a:lnTo>
                      <a:pt x="996" y="517"/>
                    </a:lnTo>
                    <a:lnTo>
                      <a:pt x="1008" y="513"/>
                    </a:lnTo>
                    <a:lnTo>
                      <a:pt x="1018" y="508"/>
                    </a:lnTo>
                    <a:lnTo>
                      <a:pt x="1030" y="502"/>
                    </a:lnTo>
                    <a:lnTo>
                      <a:pt x="1047" y="492"/>
                    </a:lnTo>
                    <a:lnTo>
                      <a:pt x="1063" y="482"/>
                    </a:lnTo>
                    <a:lnTo>
                      <a:pt x="1095" y="487"/>
                    </a:lnTo>
                    <a:lnTo>
                      <a:pt x="1101" y="494"/>
                    </a:lnTo>
                    <a:lnTo>
                      <a:pt x="1126" y="498"/>
                    </a:lnTo>
                    <a:lnTo>
                      <a:pt x="1149" y="502"/>
                    </a:lnTo>
                    <a:lnTo>
                      <a:pt x="1162" y="492"/>
                    </a:lnTo>
                    <a:lnTo>
                      <a:pt x="1146" y="479"/>
                    </a:lnTo>
                    <a:lnTo>
                      <a:pt x="1149" y="457"/>
                    </a:lnTo>
                    <a:lnTo>
                      <a:pt x="1177" y="464"/>
                    </a:lnTo>
                    <a:lnTo>
                      <a:pt x="1205" y="470"/>
                    </a:lnTo>
                    <a:lnTo>
                      <a:pt x="1217" y="480"/>
                    </a:lnTo>
                    <a:lnTo>
                      <a:pt x="1241" y="494"/>
                    </a:lnTo>
                    <a:lnTo>
                      <a:pt x="1268" y="489"/>
                    </a:lnTo>
                    <a:lnTo>
                      <a:pt x="1292" y="494"/>
                    </a:lnTo>
                    <a:lnTo>
                      <a:pt x="1315" y="498"/>
                    </a:lnTo>
                    <a:lnTo>
                      <a:pt x="1323" y="505"/>
                    </a:lnTo>
                    <a:lnTo>
                      <a:pt x="1357" y="513"/>
                    </a:lnTo>
                    <a:lnTo>
                      <a:pt x="1375" y="510"/>
                    </a:lnTo>
                    <a:lnTo>
                      <a:pt x="1394" y="507"/>
                    </a:lnTo>
                    <a:lnTo>
                      <a:pt x="1412" y="492"/>
                    </a:lnTo>
                    <a:lnTo>
                      <a:pt x="1442" y="498"/>
                    </a:lnTo>
                    <a:lnTo>
                      <a:pt x="1457" y="500"/>
                    </a:lnTo>
                    <a:lnTo>
                      <a:pt x="1480" y="505"/>
                    </a:lnTo>
                    <a:lnTo>
                      <a:pt x="1493" y="492"/>
                    </a:lnTo>
                    <a:lnTo>
                      <a:pt x="1487" y="479"/>
                    </a:lnTo>
                    <a:lnTo>
                      <a:pt x="1487" y="454"/>
                    </a:lnTo>
                    <a:lnTo>
                      <a:pt x="1476" y="447"/>
                    </a:lnTo>
                    <a:lnTo>
                      <a:pt x="1466" y="444"/>
                    </a:lnTo>
                    <a:lnTo>
                      <a:pt x="1479" y="434"/>
                    </a:lnTo>
                    <a:lnTo>
                      <a:pt x="1500" y="431"/>
                    </a:lnTo>
                    <a:lnTo>
                      <a:pt x="1519" y="431"/>
                    </a:lnTo>
                    <a:lnTo>
                      <a:pt x="1561" y="444"/>
                    </a:lnTo>
                    <a:lnTo>
                      <a:pt x="1576" y="457"/>
                    </a:lnTo>
                    <a:lnTo>
                      <a:pt x="1593" y="472"/>
                    </a:lnTo>
                    <a:lnTo>
                      <a:pt x="1610" y="485"/>
                    </a:lnTo>
                    <a:lnTo>
                      <a:pt x="1626" y="498"/>
                    </a:lnTo>
                    <a:lnTo>
                      <a:pt x="1644" y="507"/>
                    </a:lnTo>
                    <a:lnTo>
                      <a:pt x="1672" y="513"/>
                    </a:lnTo>
                    <a:lnTo>
                      <a:pt x="1689" y="522"/>
                    </a:lnTo>
                    <a:lnTo>
                      <a:pt x="1709" y="545"/>
                    </a:lnTo>
                    <a:lnTo>
                      <a:pt x="1736" y="540"/>
                    </a:lnTo>
                    <a:lnTo>
                      <a:pt x="1759" y="532"/>
                    </a:lnTo>
                    <a:lnTo>
                      <a:pt x="1770" y="548"/>
                    </a:lnTo>
                    <a:lnTo>
                      <a:pt x="1773" y="573"/>
                    </a:lnTo>
                    <a:lnTo>
                      <a:pt x="1776" y="596"/>
                    </a:lnTo>
                    <a:lnTo>
                      <a:pt x="1754" y="593"/>
                    </a:lnTo>
                    <a:lnTo>
                      <a:pt x="1751" y="605"/>
                    </a:lnTo>
                    <a:lnTo>
                      <a:pt x="1763" y="621"/>
                    </a:lnTo>
                    <a:lnTo>
                      <a:pt x="1773" y="641"/>
                    </a:lnTo>
                    <a:lnTo>
                      <a:pt x="1767" y="644"/>
                    </a:lnTo>
                    <a:lnTo>
                      <a:pt x="1770" y="651"/>
                    </a:lnTo>
                    <a:lnTo>
                      <a:pt x="1774" y="653"/>
                    </a:lnTo>
                    <a:lnTo>
                      <a:pt x="1773" y="646"/>
                    </a:lnTo>
                    <a:lnTo>
                      <a:pt x="1774" y="646"/>
                    </a:lnTo>
                    <a:lnTo>
                      <a:pt x="1784" y="634"/>
                    </a:lnTo>
                    <a:lnTo>
                      <a:pt x="1788" y="633"/>
                    </a:lnTo>
                    <a:lnTo>
                      <a:pt x="1793" y="643"/>
                    </a:lnTo>
                    <a:lnTo>
                      <a:pt x="1807" y="643"/>
                    </a:lnTo>
                    <a:lnTo>
                      <a:pt x="1824" y="634"/>
                    </a:lnTo>
                    <a:lnTo>
                      <a:pt x="1830" y="621"/>
                    </a:lnTo>
                    <a:lnTo>
                      <a:pt x="1836" y="608"/>
                    </a:lnTo>
                    <a:lnTo>
                      <a:pt x="1839" y="588"/>
                    </a:lnTo>
                    <a:lnTo>
                      <a:pt x="1841" y="570"/>
                    </a:lnTo>
                    <a:lnTo>
                      <a:pt x="1844" y="552"/>
                    </a:lnTo>
                    <a:lnTo>
                      <a:pt x="1844" y="532"/>
                    </a:lnTo>
                    <a:lnTo>
                      <a:pt x="1836" y="517"/>
                    </a:lnTo>
                    <a:lnTo>
                      <a:pt x="1828" y="498"/>
                    </a:lnTo>
                    <a:lnTo>
                      <a:pt x="1819" y="487"/>
                    </a:lnTo>
                    <a:lnTo>
                      <a:pt x="1815" y="475"/>
                    </a:lnTo>
                    <a:lnTo>
                      <a:pt x="1810" y="460"/>
                    </a:lnTo>
                    <a:lnTo>
                      <a:pt x="1798" y="447"/>
                    </a:lnTo>
                    <a:lnTo>
                      <a:pt x="1779" y="437"/>
                    </a:lnTo>
                    <a:lnTo>
                      <a:pt x="1790" y="437"/>
                    </a:lnTo>
                    <a:lnTo>
                      <a:pt x="1750" y="416"/>
                    </a:lnTo>
                    <a:lnTo>
                      <a:pt x="1729" y="412"/>
                    </a:lnTo>
                    <a:lnTo>
                      <a:pt x="1736" y="422"/>
                    </a:lnTo>
                    <a:lnTo>
                      <a:pt x="1722" y="429"/>
                    </a:lnTo>
                    <a:lnTo>
                      <a:pt x="1722" y="422"/>
                    </a:lnTo>
                    <a:lnTo>
                      <a:pt x="1712" y="417"/>
                    </a:lnTo>
                    <a:lnTo>
                      <a:pt x="1709" y="422"/>
                    </a:lnTo>
                    <a:lnTo>
                      <a:pt x="1699" y="409"/>
                    </a:lnTo>
                    <a:lnTo>
                      <a:pt x="1671" y="406"/>
                    </a:lnTo>
                    <a:lnTo>
                      <a:pt x="1677" y="387"/>
                    </a:lnTo>
                    <a:lnTo>
                      <a:pt x="1681" y="371"/>
                    </a:lnTo>
                    <a:lnTo>
                      <a:pt x="1686" y="359"/>
                    </a:lnTo>
                    <a:lnTo>
                      <a:pt x="1692" y="348"/>
                    </a:lnTo>
                    <a:lnTo>
                      <a:pt x="1689" y="338"/>
                    </a:lnTo>
                    <a:lnTo>
                      <a:pt x="1694" y="321"/>
                    </a:lnTo>
                    <a:lnTo>
                      <a:pt x="1712" y="318"/>
                    </a:lnTo>
                    <a:lnTo>
                      <a:pt x="1733" y="314"/>
                    </a:lnTo>
                    <a:lnTo>
                      <a:pt x="1739" y="314"/>
                    </a:lnTo>
                    <a:lnTo>
                      <a:pt x="1746" y="318"/>
                    </a:lnTo>
                    <a:lnTo>
                      <a:pt x="1750" y="314"/>
                    </a:lnTo>
                    <a:lnTo>
                      <a:pt x="1787" y="318"/>
                    </a:lnTo>
                    <a:lnTo>
                      <a:pt x="1787" y="314"/>
                    </a:lnTo>
                    <a:lnTo>
                      <a:pt x="1784" y="310"/>
                    </a:lnTo>
                    <a:lnTo>
                      <a:pt x="1811" y="311"/>
                    </a:lnTo>
                    <a:lnTo>
                      <a:pt x="1833" y="318"/>
                    </a:lnTo>
                    <a:lnTo>
                      <a:pt x="1827" y="319"/>
                    </a:lnTo>
                    <a:lnTo>
                      <a:pt x="1833" y="324"/>
                    </a:lnTo>
                    <a:lnTo>
                      <a:pt x="1847" y="324"/>
                    </a:lnTo>
                    <a:lnTo>
                      <a:pt x="1861" y="319"/>
                    </a:lnTo>
                    <a:lnTo>
                      <a:pt x="1881" y="319"/>
                    </a:lnTo>
                    <a:lnTo>
                      <a:pt x="1878" y="314"/>
                    </a:lnTo>
                    <a:lnTo>
                      <a:pt x="1863" y="314"/>
                    </a:lnTo>
                    <a:lnTo>
                      <a:pt x="1858" y="310"/>
                    </a:lnTo>
                    <a:lnTo>
                      <a:pt x="1858" y="291"/>
                    </a:lnTo>
                    <a:lnTo>
                      <a:pt x="1856" y="271"/>
                    </a:lnTo>
                    <a:lnTo>
                      <a:pt x="1886" y="271"/>
                    </a:lnTo>
                    <a:lnTo>
                      <a:pt x="1893" y="268"/>
                    </a:lnTo>
                    <a:lnTo>
                      <a:pt x="1910" y="286"/>
                    </a:lnTo>
                    <a:lnTo>
                      <a:pt x="1914" y="285"/>
                    </a:lnTo>
                    <a:lnTo>
                      <a:pt x="1923" y="291"/>
                    </a:lnTo>
                    <a:lnTo>
                      <a:pt x="1931" y="273"/>
                    </a:lnTo>
                    <a:lnTo>
                      <a:pt x="1941" y="273"/>
                    </a:lnTo>
                    <a:lnTo>
                      <a:pt x="1923" y="258"/>
                    </a:lnTo>
                    <a:lnTo>
                      <a:pt x="1929" y="255"/>
                    </a:lnTo>
                    <a:lnTo>
                      <a:pt x="1954" y="258"/>
                    </a:lnTo>
                    <a:lnTo>
                      <a:pt x="1958" y="261"/>
                    </a:lnTo>
                    <a:lnTo>
                      <a:pt x="1945" y="261"/>
                    </a:lnTo>
                    <a:lnTo>
                      <a:pt x="1955" y="273"/>
                    </a:lnTo>
                    <a:lnTo>
                      <a:pt x="1968" y="286"/>
                    </a:lnTo>
                    <a:lnTo>
                      <a:pt x="1958" y="291"/>
                    </a:lnTo>
                    <a:lnTo>
                      <a:pt x="1955" y="308"/>
                    </a:lnTo>
                    <a:lnTo>
                      <a:pt x="1951" y="323"/>
                    </a:lnTo>
                    <a:lnTo>
                      <a:pt x="1949" y="341"/>
                    </a:lnTo>
                    <a:lnTo>
                      <a:pt x="1935" y="344"/>
                    </a:lnTo>
                    <a:lnTo>
                      <a:pt x="1943" y="351"/>
                    </a:lnTo>
                    <a:lnTo>
                      <a:pt x="1945" y="364"/>
                    </a:lnTo>
                    <a:lnTo>
                      <a:pt x="1958" y="381"/>
                    </a:lnTo>
                    <a:lnTo>
                      <a:pt x="1971" y="397"/>
                    </a:lnTo>
                    <a:lnTo>
                      <a:pt x="1996" y="417"/>
                    </a:lnTo>
                    <a:lnTo>
                      <a:pt x="2019" y="437"/>
                    </a:lnTo>
                    <a:lnTo>
                      <a:pt x="2042" y="457"/>
                    </a:lnTo>
                    <a:lnTo>
                      <a:pt x="2065" y="479"/>
                    </a:lnTo>
                    <a:lnTo>
                      <a:pt x="2073" y="465"/>
                    </a:lnTo>
                    <a:lnTo>
                      <a:pt x="2059" y="439"/>
                    </a:lnTo>
                    <a:lnTo>
                      <a:pt x="2064" y="436"/>
                    </a:lnTo>
                    <a:lnTo>
                      <a:pt x="2076" y="437"/>
                    </a:lnTo>
                    <a:lnTo>
                      <a:pt x="2073" y="434"/>
                    </a:lnTo>
                    <a:lnTo>
                      <a:pt x="2059" y="414"/>
                    </a:lnTo>
                    <a:lnTo>
                      <a:pt x="2078" y="407"/>
                    </a:lnTo>
                    <a:lnTo>
                      <a:pt x="2053" y="386"/>
                    </a:lnTo>
                    <a:lnTo>
                      <a:pt x="2051" y="374"/>
                    </a:lnTo>
                    <a:lnTo>
                      <a:pt x="2053" y="373"/>
                    </a:lnTo>
                    <a:lnTo>
                      <a:pt x="2053" y="376"/>
                    </a:lnTo>
                    <a:lnTo>
                      <a:pt x="2064" y="379"/>
                    </a:lnTo>
                    <a:lnTo>
                      <a:pt x="2051" y="366"/>
                    </a:lnTo>
                    <a:lnTo>
                      <a:pt x="2045" y="366"/>
                    </a:lnTo>
                    <a:lnTo>
                      <a:pt x="2027" y="344"/>
                    </a:lnTo>
                    <a:lnTo>
                      <a:pt x="2019" y="346"/>
                    </a:lnTo>
                    <a:lnTo>
                      <a:pt x="2005" y="341"/>
                    </a:lnTo>
                    <a:lnTo>
                      <a:pt x="1996" y="319"/>
                    </a:lnTo>
                    <a:lnTo>
                      <a:pt x="1986" y="308"/>
                    </a:lnTo>
                    <a:lnTo>
                      <a:pt x="1997" y="303"/>
                    </a:lnTo>
                    <a:lnTo>
                      <a:pt x="2008" y="308"/>
                    </a:lnTo>
                    <a:lnTo>
                      <a:pt x="2005" y="301"/>
                    </a:lnTo>
                    <a:lnTo>
                      <a:pt x="2013" y="295"/>
                    </a:lnTo>
                    <a:lnTo>
                      <a:pt x="2027" y="308"/>
                    </a:lnTo>
                    <a:lnTo>
                      <a:pt x="2028" y="298"/>
                    </a:lnTo>
                    <a:lnTo>
                      <a:pt x="2054" y="291"/>
                    </a:lnTo>
                    <a:lnTo>
                      <a:pt x="2079" y="303"/>
                    </a:lnTo>
                    <a:lnTo>
                      <a:pt x="2079" y="300"/>
                    </a:lnTo>
                    <a:lnTo>
                      <a:pt x="2087" y="285"/>
                    </a:lnTo>
                    <a:lnTo>
                      <a:pt x="2088" y="285"/>
                    </a:lnTo>
                    <a:lnTo>
                      <a:pt x="2088" y="278"/>
                    </a:lnTo>
                    <a:lnTo>
                      <a:pt x="2090" y="276"/>
                    </a:lnTo>
                    <a:lnTo>
                      <a:pt x="2105" y="266"/>
                    </a:lnTo>
                    <a:lnTo>
                      <a:pt x="2119" y="256"/>
                    </a:lnTo>
                    <a:lnTo>
                      <a:pt x="2112" y="253"/>
                    </a:lnTo>
                    <a:lnTo>
                      <a:pt x="2116" y="253"/>
                    </a:lnTo>
                    <a:lnTo>
                      <a:pt x="2150" y="261"/>
                    </a:lnTo>
                    <a:lnTo>
                      <a:pt x="2152" y="256"/>
                    </a:lnTo>
                    <a:lnTo>
                      <a:pt x="2136" y="248"/>
                    </a:lnTo>
                    <a:lnTo>
                      <a:pt x="2119" y="240"/>
                    </a:lnTo>
                    <a:lnTo>
                      <a:pt x="2112" y="237"/>
                    </a:lnTo>
                    <a:lnTo>
                      <a:pt x="2087" y="222"/>
                    </a:lnTo>
                    <a:lnTo>
                      <a:pt x="2085" y="225"/>
                    </a:lnTo>
                    <a:lnTo>
                      <a:pt x="2070" y="217"/>
                    </a:lnTo>
                    <a:lnTo>
                      <a:pt x="2079" y="217"/>
                    </a:lnTo>
                    <a:lnTo>
                      <a:pt x="2096" y="215"/>
                    </a:lnTo>
                    <a:lnTo>
                      <a:pt x="2070" y="197"/>
                    </a:lnTo>
                    <a:lnTo>
                      <a:pt x="2042" y="179"/>
                    </a:lnTo>
                    <a:lnTo>
                      <a:pt x="2016" y="159"/>
                    </a:lnTo>
                    <a:lnTo>
                      <a:pt x="1989" y="14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48" name="Freeform 378">
                <a:extLst>
                  <a:ext uri="{FF2B5EF4-FFF2-40B4-BE49-F238E27FC236}">
                    <a16:creationId xmlns:a16="http://schemas.microsoft.com/office/drawing/2014/main" id="{69E67658-D776-801F-6F5E-D50AE11574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" y="3040"/>
                <a:ext cx="70" cy="36"/>
              </a:xfrm>
              <a:custGeom>
                <a:avLst/>
                <a:gdLst>
                  <a:gd name="T0" fmla="*/ 70 w 158"/>
                  <a:gd name="T1" fmla="*/ 23 h 83"/>
                  <a:gd name="T2" fmla="*/ 68 w 158"/>
                  <a:gd name="T3" fmla="*/ 19 h 83"/>
                  <a:gd name="T4" fmla="*/ 64 w 158"/>
                  <a:gd name="T5" fmla="*/ 15 h 83"/>
                  <a:gd name="T6" fmla="*/ 60 w 158"/>
                  <a:gd name="T7" fmla="*/ 15 h 83"/>
                  <a:gd name="T8" fmla="*/ 60 w 158"/>
                  <a:gd name="T9" fmla="*/ 16 h 83"/>
                  <a:gd name="T10" fmla="*/ 58 w 158"/>
                  <a:gd name="T11" fmla="*/ 15 h 83"/>
                  <a:gd name="T12" fmla="*/ 52 w 158"/>
                  <a:gd name="T13" fmla="*/ 15 h 83"/>
                  <a:gd name="T14" fmla="*/ 48 w 158"/>
                  <a:gd name="T15" fmla="*/ 18 h 83"/>
                  <a:gd name="T16" fmla="*/ 47 w 158"/>
                  <a:gd name="T17" fmla="*/ 20 h 83"/>
                  <a:gd name="T18" fmla="*/ 44 w 158"/>
                  <a:gd name="T19" fmla="*/ 20 h 83"/>
                  <a:gd name="T20" fmla="*/ 47 w 158"/>
                  <a:gd name="T21" fmla="*/ 17 h 83"/>
                  <a:gd name="T22" fmla="*/ 52 w 158"/>
                  <a:gd name="T23" fmla="*/ 13 h 83"/>
                  <a:gd name="T24" fmla="*/ 52 w 158"/>
                  <a:gd name="T25" fmla="*/ 8 h 83"/>
                  <a:gd name="T26" fmla="*/ 46 w 158"/>
                  <a:gd name="T27" fmla="*/ 3 h 83"/>
                  <a:gd name="T28" fmla="*/ 46 w 158"/>
                  <a:gd name="T29" fmla="*/ 4 h 83"/>
                  <a:gd name="T30" fmla="*/ 42 w 158"/>
                  <a:gd name="T31" fmla="*/ 0 h 83"/>
                  <a:gd name="T32" fmla="*/ 31 w 158"/>
                  <a:gd name="T33" fmla="*/ 7 h 83"/>
                  <a:gd name="T34" fmla="*/ 21 w 158"/>
                  <a:gd name="T35" fmla="*/ 14 h 83"/>
                  <a:gd name="T36" fmla="*/ 10 w 158"/>
                  <a:gd name="T37" fmla="*/ 21 h 83"/>
                  <a:gd name="T38" fmla="*/ 0 w 158"/>
                  <a:gd name="T39" fmla="*/ 28 h 83"/>
                  <a:gd name="T40" fmla="*/ 6 w 158"/>
                  <a:gd name="T41" fmla="*/ 24 h 83"/>
                  <a:gd name="T42" fmla="*/ 10 w 158"/>
                  <a:gd name="T43" fmla="*/ 22 h 83"/>
                  <a:gd name="T44" fmla="*/ 13 w 158"/>
                  <a:gd name="T45" fmla="*/ 21 h 83"/>
                  <a:gd name="T46" fmla="*/ 16 w 158"/>
                  <a:gd name="T47" fmla="*/ 20 h 83"/>
                  <a:gd name="T48" fmla="*/ 16 w 158"/>
                  <a:gd name="T49" fmla="*/ 21 h 83"/>
                  <a:gd name="T50" fmla="*/ 17 w 158"/>
                  <a:gd name="T51" fmla="*/ 20 h 83"/>
                  <a:gd name="T52" fmla="*/ 12 w 158"/>
                  <a:gd name="T53" fmla="*/ 24 h 83"/>
                  <a:gd name="T54" fmla="*/ 11 w 158"/>
                  <a:gd name="T55" fmla="*/ 27 h 83"/>
                  <a:gd name="T56" fmla="*/ 23 w 158"/>
                  <a:gd name="T57" fmla="*/ 27 h 83"/>
                  <a:gd name="T58" fmla="*/ 21 w 158"/>
                  <a:gd name="T59" fmla="*/ 32 h 83"/>
                  <a:gd name="T60" fmla="*/ 26 w 158"/>
                  <a:gd name="T61" fmla="*/ 34 h 83"/>
                  <a:gd name="T62" fmla="*/ 30 w 158"/>
                  <a:gd name="T63" fmla="*/ 34 h 83"/>
                  <a:gd name="T64" fmla="*/ 28 w 158"/>
                  <a:gd name="T65" fmla="*/ 36 h 83"/>
                  <a:gd name="T66" fmla="*/ 33 w 158"/>
                  <a:gd name="T67" fmla="*/ 35 h 83"/>
                  <a:gd name="T68" fmla="*/ 36 w 158"/>
                  <a:gd name="T69" fmla="*/ 34 h 83"/>
                  <a:gd name="T70" fmla="*/ 35 w 158"/>
                  <a:gd name="T71" fmla="*/ 33 h 83"/>
                  <a:gd name="T72" fmla="*/ 44 w 158"/>
                  <a:gd name="T73" fmla="*/ 28 h 83"/>
                  <a:gd name="T74" fmla="*/ 47 w 158"/>
                  <a:gd name="T75" fmla="*/ 27 h 83"/>
                  <a:gd name="T76" fmla="*/ 48 w 158"/>
                  <a:gd name="T77" fmla="*/ 25 h 83"/>
                  <a:gd name="T78" fmla="*/ 48 w 158"/>
                  <a:gd name="T79" fmla="*/ 27 h 83"/>
                  <a:gd name="T80" fmla="*/ 54 w 158"/>
                  <a:gd name="T81" fmla="*/ 26 h 83"/>
                  <a:gd name="T82" fmla="*/ 56 w 158"/>
                  <a:gd name="T83" fmla="*/ 25 h 83"/>
                  <a:gd name="T84" fmla="*/ 60 w 158"/>
                  <a:gd name="T85" fmla="*/ 25 h 83"/>
                  <a:gd name="T86" fmla="*/ 70 w 158"/>
                  <a:gd name="T87" fmla="*/ 23 h 8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8" h="83">
                    <a:moveTo>
                      <a:pt x="158" y="52"/>
                    </a:moveTo>
                    <a:lnTo>
                      <a:pt x="153" y="44"/>
                    </a:lnTo>
                    <a:lnTo>
                      <a:pt x="144" y="35"/>
                    </a:lnTo>
                    <a:lnTo>
                      <a:pt x="136" y="34"/>
                    </a:lnTo>
                    <a:lnTo>
                      <a:pt x="136" y="37"/>
                    </a:lnTo>
                    <a:lnTo>
                      <a:pt x="132" y="35"/>
                    </a:lnTo>
                    <a:lnTo>
                      <a:pt x="118" y="35"/>
                    </a:lnTo>
                    <a:lnTo>
                      <a:pt x="109" y="42"/>
                    </a:lnTo>
                    <a:lnTo>
                      <a:pt x="107" y="47"/>
                    </a:lnTo>
                    <a:lnTo>
                      <a:pt x="99" y="47"/>
                    </a:lnTo>
                    <a:lnTo>
                      <a:pt x="105" y="39"/>
                    </a:lnTo>
                    <a:lnTo>
                      <a:pt x="118" y="29"/>
                    </a:lnTo>
                    <a:lnTo>
                      <a:pt x="118" y="19"/>
                    </a:lnTo>
                    <a:lnTo>
                      <a:pt x="104" y="7"/>
                    </a:lnTo>
                    <a:lnTo>
                      <a:pt x="104" y="10"/>
                    </a:lnTo>
                    <a:lnTo>
                      <a:pt x="95" y="0"/>
                    </a:lnTo>
                    <a:lnTo>
                      <a:pt x="71" y="17"/>
                    </a:lnTo>
                    <a:lnTo>
                      <a:pt x="48" y="32"/>
                    </a:lnTo>
                    <a:lnTo>
                      <a:pt x="23" y="49"/>
                    </a:lnTo>
                    <a:lnTo>
                      <a:pt x="0" y="65"/>
                    </a:lnTo>
                    <a:lnTo>
                      <a:pt x="13" y="55"/>
                    </a:lnTo>
                    <a:lnTo>
                      <a:pt x="22" y="50"/>
                    </a:lnTo>
                    <a:lnTo>
                      <a:pt x="30" y="49"/>
                    </a:lnTo>
                    <a:lnTo>
                      <a:pt x="36" y="47"/>
                    </a:lnTo>
                    <a:lnTo>
                      <a:pt x="36" y="49"/>
                    </a:lnTo>
                    <a:lnTo>
                      <a:pt x="39" y="47"/>
                    </a:lnTo>
                    <a:lnTo>
                      <a:pt x="27" y="55"/>
                    </a:lnTo>
                    <a:lnTo>
                      <a:pt x="25" y="62"/>
                    </a:lnTo>
                    <a:lnTo>
                      <a:pt x="53" y="62"/>
                    </a:lnTo>
                    <a:lnTo>
                      <a:pt x="47" y="73"/>
                    </a:lnTo>
                    <a:lnTo>
                      <a:pt x="58" y="78"/>
                    </a:lnTo>
                    <a:lnTo>
                      <a:pt x="67" y="78"/>
                    </a:lnTo>
                    <a:lnTo>
                      <a:pt x="64" y="83"/>
                    </a:lnTo>
                    <a:lnTo>
                      <a:pt x="75" y="80"/>
                    </a:lnTo>
                    <a:lnTo>
                      <a:pt x="81" y="78"/>
                    </a:lnTo>
                    <a:lnTo>
                      <a:pt x="79" y="75"/>
                    </a:lnTo>
                    <a:lnTo>
                      <a:pt x="99" y="65"/>
                    </a:lnTo>
                    <a:lnTo>
                      <a:pt x="105" y="62"/>
                    </a:lnTo>
                    <a:lnTo>
                      <a:pt x="109" y="58"/>
                    </a:lnTo>
                    <a:lnTo>
                      <a:pt x="109" y="62"/>
                    </a:lnTo>
                    <a:lnTo>
                      <a:pt x="121" y="60"/>
                    </a:lnTo>
                    <a:lnTo>
                      <a:pt x="126" y="57"/>
                    </a:lnTo>
                    <a:lnTo>
                      <a:pt x="136" y="57"/>
                    </a:lnTo>
                    <a:lnTo>
                      <a:pt x="158" y="5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49" name="Freeform 379">
                <a:extLst>
                  <a:ext uri="{FF2B5EF4-FFF2-40B4-BE49-F238E27FC236}">
                    <a16:creationId xmlns:a16="http://schemas.microsoft.com/office/drawing/2014/main" id="{DEC4F193-DC5D-CFDF-AFE3-3879D42F6D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35" y="3158"/>
                <a:ext cx="67" cy="74"/>
              </a:xfrm>
              <a:custGeom>
                <a:avLst/>
                <a:gdLst>
                  <a:gd name="T0" fmla="*/ 60 w 148"/>
                  <a:gd name="T1" fmla="*/ 51 h 167"/>
                  <a:gd name="T2" fmla="*/ 51 w 148"/>
                  <a:gd name="T3" fmla="*/ 43 h 167"/>
                  <a:gd name="T4" fmla="*/ 42 w 148"/>
                  <a:gd name="T5" fmla="*/ 35 h 167"/>
                  <a:gd name="T6" fmla="*/ 33 w 148"/>
                  <a:gd name="T7" fmla="*/ 27 h 167"/>
                  <a:gd name="T8" fmla="*/ 22 w 148"/>
                  <a:gd name="T9" fmla="*/ 20 h 167"/>
                  <a:gd name="T10" fmla="*/ 20 w 148"/>
                  <a:gd name="T11" fmla="*/ 17 h 167"/>
                  <a:gd name="T12" fmla="*/ 11 w 148"/>
                  <a:gd name="T13" fmla="*/ 9 h 167"/>
                  <a:gd name="T14" fmla="*/ 2 w 148"/>
                  <a:gd name="T15" fmla="*/ 0 h 167"/>
                  <a:gd name="T16" fmla="*/ 0 w 148"/>
                  <a:gd name="T17" fmla="*/ 1 h 167"/>
                  <a:gd name="T18" fmla="*/ 7 w 148"/>
                  <a:gd name="T19" fmla="*/ 6 h 167"/>
                  <a:gd name="T20" fmla="*/ 7 w 148"/>
                  <a:gd name="T21" fmla="*/ 9 h 167"/>
                  <a:gd name="T22" fmla="*/ 3 w 148"/>
                  <a:gd name="T23" fmla="*/ 9 h 167"/>
                  <a:gd name="T24" fmla="*/ 10 w 148"/>
                  <a:gd name="T25" fmla="*/ 17 h 167"/>
                  <a:gd name="T26" fmla="*/ 18 w 148"/>
                  <a:gd name="T27" fmla="*/ 25 h 167"/>
                  <a:gd name="T28" fmla="*/ 26 w 148"/>
                  <a:gd name="T29" fmla="*/ 31 h 167"/>
                  <a:gd name="T30" fmla="*/ 33 w 148"/>
                  <a:gd name="T31" fmla="*/ 41 h 167"/>
                  <a:gd name="T32" fmla="*/ 38 w 148"/>
                  <a:gd name="T33" fmla="*/ 50 h 167"/>
                  <a:gd name="T34" fmla="*/ 44 w 148"/>
                  <a:gd name="T35" fmla="*/ 57 h 167"/>
                  <a:gd name="T36" fmla="*/ 50 w 148"/>
                  <a:gd name="T37" fmla="*/ 64 h 167"/>
                  <a:gd name="T38" fmla="*/ 57 w 148"/>
                  <a:gd name="T39" fmla="*/ 74 h 167"/>
                  <a:gd name="T40" fmla="*/ 59 w 148"/>
                  <a:gd name="T41" fmla="*/ 74 h 167"/>
                  <a:gd name="T42" fmla="*/ 57 w 148"/>
                  <a:gd name="T43" fmla="*/ 67 h 167"/>
                  <a:gd name="T44" fmla="*/ 65 w 148"/>
                  <a:gd name="T45" fmla="*/ 70 h 167"/>
                  <a:gd name="T46" fmla="*/ 67 w 148"/>
                  <a:gd name="T47" fmla="*/ 74 h 167"/>
                  <a:gd name="T48" fmla="*/ 62 w 148"/>
                  <a:gd name="T49" fmla="*/ 67 h 167"/>
                  <a:gd name="T50" fmla="*/ 48 w 148"/>
                  <a:gd name="T51" fmla="*/ 56 h 167"/>
                  <a:gd name="T52" fmla="*/ 45 w 148"/>
                  <a:gd name="T53" fmla="*/ 45 h 167"/>
                  <a:gd name="T54" fmla="*/ 48 w 148"/>
                  <a:gd name="T55" fmla="*/ 45 h 167"/>
                  <a:gd name="T56" fmla="*/ 56 w 148"/>
                  <a:gd name="T57" fmla="*/ 48 h 167"/>
                  <a:gd name="T58" fmla="*/ 60 w 148"/>
                  <a:gd name="T59" fmla="*/ 51 h 16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48" h="167">
                    <a:moveTo>
                      <a:pt x="133" y="114"/>
                    </a:moveTo>
                    <a:lnTo>
                      <a:pt x="113" y="97"/>
                    </a:lnTo>
                    <a:lnTo>
                      <a:pt x="92" y="79"/>
                    </a:lnTo>
                    <a:lnTo>
                      <a:pt x="72" y="61"/>
                    </a:lnTo>
                    <a:lnTo>
                      <a:pt x="49" y="46"/>
                    </a:lnTo>
                    <a:lnTo>
                      <a:pt x="44" y="38"/>
                    </a:lnTo>
                    <a:lnTo>
                      <a:pt x="24" y="20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15" y="13"/>
                    </a:lnTo>
                    <a:lnTo>
                      <a:pt x="15" y="20"/>
                    </a:lnTo>
                    <a:lnTo>
                      <a:pt x="7" y="20"/>
                    </a:lnTo>
                    <a:lnTo>
                      <a:pt x="23" y="38"/>
                    </a:lnTo>
                    <a:lnTo>
                      <a:pt x="40" y="56"/>
                    </a:lnTo>
                    <a:lnTo>
                      <a:pt x="57" y="71"/>
                    </a:lnTo>
                    <a:lnTo>
                      <a:pt x="72" y="92"/>
                    </a:lnTo>
                    <a:lnTo>
                      <a:pt x="85" y="112"/>
                    </a:lnTo>
                    <a:lnTo>
                      <a:pt x="97" y="129"/>
                    </a:lnTo>
                    <a:lnTo>
                      <a:pt x="111" y="144"/>
                    </a:lnTo>
                    <a:lnTo>
                      <a:pt x="125" y="167"/>
                    </a:lnTo>
                    <a:lnTo>
                      <a:pt x="130" y="167"/>
                    </a:lnTo>
                    <a:lnTo>
                      <a:pt x="126" y="152"/>
                    </a:lnTo>
                    <a:lnTo>
                      <a:pt x="143" y="159"/>
                    </a:lnTo>
                    <a:lnTo>
                      <a:pt x="148" y="167"/>
                    </a:lnTo>
                    <a:lnTo>
                      <a:pt x="136" y="152"/>
                    </a:lnTo>
                    <a:lnTo>
                      <a:pt x="106" y="127"/>
                    </a:lnTo>
                    <a:lnTo>
                      <a:pt x="99" y="102"/>
                    </a:lnTo>
                    <a:lnTo>
                      <a:pt x="105" y="101"/>
                    </a:lnTo>
                    <a:lnTo>
                      <a:pt x="123" y="109"/>
                    </a:lnTo>
                    <a:lnTo>
                      <a:pt x="133" y="11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50" name="Freeform 380">
                <a:extLst>
                  <a:ext uri="{FF2B5EF4-FFF2-40B4-BE49-F238E27FC236}">
                    <a16:creationId xmlns:a16="http://schemas.microsoft.com/office/drawing/2014/main" id="{5105635F-7D2D-41E6-8D8B-AC51295B79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72" y="2981"/>
                <a:ext cx="69" cy="26"/>
              </a:xfrm>
              <a:custGeom>
                <a:avLst/>
                <a:gdLst>
                  <a:gd name="T0" fmla="*/ 69 w 157"/>
                  <a:gd name="T1" fmla="*/ 2 h 58"/>
                  <a:gd name="T2" fmla="*/ 63 w 157"/>
                  <a:gd name="T3" fmla="*/ 6 h 58"/>
                  <a:gd name="T4" fmla="*/ 48 w 157"/>
                  <a:gd name="T5" fmla="*/ 9 h 58"/>
                  <a:gd name="T6" fmla="*/ 33 w 157"/>
                  <a:gd name="T7" fmla="*/ 13 h 58"/>
                  <a:gd name="T8" fmla="*/ 29 w 157"/>
                  <a:gd name="T9" fmla="*/ 13 h 58"/>
                  <a:gd name="T10" fmla="*/ 32 w 157"/>
                  <a:gd name="T11" fmla="*/ 15 h 58"/>
                  <a:gd name="T12" fmla="*/ 30 w 157"/>
                  <a:gd name="T13" fmla="*/ 16 h 58"/>
                  <a:gd name="T14" fmla="*/ 27 w 157"/>
                  <a:gd name="T15" fmla="*/ 16 h 58"/>
                  <a:gd name="T16" fmla="*/ 28 w 157"/>
                  <a:gd name="T17" fmla="*/ 18 h 58"/>
                  <a:gd name="T18" fmla="*/ 22 w 157"/>
                  <a:gd name="T19" fmla="*/ 16 h 58"/>
                  <a:gd name="T20" fmla="*/ 24 w 157"/>
                  <a:gd name="T21" fmla="*/ 20 h 58"/>
                  <a:gd name="T22" fmla="*/ 21 w 157"/>
                  <a:gd name="T23" fmla="*/ 20 h 58"/>
                  <a:gd name="T24" fmla="*/ 22 w 157"/>
                  <a:gd name="T25" fmla="*/ 23 h 58"/>
                  <a:gd name="T26" fmla="*/ 16 w 157"/>
                  <a:gd name="T27" fmla="*/ 22 h 58"/>
                  <a:gd name="T28" fmla="*/ 22 w 157"/>
                  <a:gd name="T29" fmla="*/ 24 h 58"/>
                  <a:gd name="T30" fmla="*/ 18 w 157"/>
                  <a:gd name="T31" fmla="*/ 24 h 58"/>
                  <a:gd name="T32" fmla="*/ 20 w 157"/>
                  <a:gd name="T33" fmla="*/ 26 h 58"/>
                  <a:gd name="T34" fmla="*/ 4 w 157"/>
                  <a:gd name="T35" fmla="*/ 25 h 58"/>
                  <a:gd name="T36" fmla="*/ 7 w 157"/>
                  <a:gd name="T37" fmla="*/ 23 h 58"/>
                  <a:gd name="T38" fmla="*/ 0 w 157"/>
                  <a:gd name="T39" fmla="*/ 23 h 58"/>
                  <a:gd name="T40" fmla="*/ 7 w 157"/>
                  <a:gd name="T41" fmla="*/ 20 h 58"/>
                  <a:gd name="T42" fmla="*/ 9 w 157"/>
                  <a:gd name="T43" fmla="*/ 20 h 58"/>
                  <a:gd name="T44" fmla="*/ 6 w 157"/>
                  <a:gd name="T45" fmla="*/ 18 h 58"/>
                  <a:gd name="T46" fmla="*/ 8 w 157"/>
                  <a:gd name="T47" fmla="*/ 16 h 58"/>
                  <a:gd name="T48" fmla="*/ 12 w 157"/>
                  <a:gd name="T49" fmla="*/ 15 h 58"/>
                  <a:gd name="T50" fmla="*/ 9 w 157"/>
                  <a:gd name="T51" fmla="*/ 15 h 58"/>
                  <a:gd name="T52" fmla="*/ 11 w 157"/>
                  <a:gd name="T53" fmla="*/ 13 h 58"/>
                  <a:gd name="T54" fmla="*/ 6 w 157"/>
                  <a:gd name="T55" fmla="*/ 13 h 58"/>
                  <a:gd name="T56" fmla="*/ 11 w 157"/>
                  <a:gd name="T57" fmla="*/ 12 h 58"/>
                  <a:gd name="T58" fmla="*/ 15 w 157"/>
                  <a:gd name="T59" fmla="*/ 10 h 58"/>
                  <a:gd name="T60" fmla="*/ 27 w 157"/>
                  <a:gd name="T61" fmla="*/ 7 h 58"/>
                  <a:gd name="T62" fmla="*/ 29 w 157"/>
                  <a:gd name="T63" fmla="*/ 6 h 58"/>
                  <a:gd name="T64" fmla="*/ 52 w 157"/>
                  <a:gd name="T65" fmla="*/ 3 h 58"/>
                  <a:gd name="T66" fmla="*/ 63 w 157"/>
                  <a:gd name="T67" fmla="*/ 0 h 58"/>
                  <a:gd name="T68" fmla="*/ 69 w 157"/>
                  <a:gd name="T69" fmla="*/ 2 h 5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7" h="58">
                    <a:moveTo>
                      <a:pt x="157" y="5"/>
                    </a:moveTo>
                    <a:lnTo>
                      <a:pt x="144" y="13"/>
                    </a:lnTo>
                    <a:lnTo>
                      <a:pt x="110" y="21"/>
                    </a:lnTo>
                    <a:lnTo>
                      <a:pt x="75" y="30"/>
                    </a:lnTo>
                    <a:lnTo>
                      <a:pt x="65" y="30"/>
                    </a:lnTo>
                    <a:lnTo>
                      <a:pt x="72" y="33"/>
                    </a:lnTo>
                    <a:lnTo>
                      <a:pt x="68" y="36"/>
                    </a:lnTo>
                    <a:lnTo>
                      <a:pt x="61" y="36"/>
                    </a:lnTo>
                    <a:lnTo>
                      <a:pt x="64" y="40"/>
                    </a:lnTo>
                    <a:lnTo>
                      <a:pt x="50" y="36"/>
                    </a:lnTo>
                    <a:lnTo>
                      <a:pt x="54" y="45"/>
                    </a:lnTo>
                    <a:lnTo>
                      <a:pt x="47" y="45"/>
                    </a:lnTo>
                    <a:lnTo>
                      <a:pt x="51" y="51"/>
                    </a:lnTo>
                    <a:lnTo>
                      <a:pt x="36" y="48"/>
                    </a:lnTo>
                    <a:lnTo>
                      <a:pt x="51" y="53"/>
                    </a:lnTo>
                    <a:lnTo>
                      <a:pt x="42" y="53"/>
                    </a:lnTo>
                    <a:lnTo>
                      <a:pt x="45" y="58"/>
                    </a:lnTo>
                    <a:lnTo>
                      <a:pt x="10" y="55"/>
                    </a:lnTo>
                    <a:lnTo>
                      <a:pt x="16" y="51"/>
                    </a:lnTo>
                    <a:lnTo>
                      <a:pt x="0" y="51"/>
                    </a:lnTo>
                    <a:lnTo>
                      <a:pt x="16" y="45"/>
                    </a:lnTo>
                    <a:lnTo>
                      <a:pt x="20" y="45"/>
                    </a:lnTo>
                    <a:lnTo>
                      <a:pt x="14" y="41"/>
                    </a:lnTo>
                    <a:lnTo>
                      <a:pt x="19" y="36"/>
                    </a:lnTo>
                    <a:lnTo>
                      <a:pt x="27" y="33"/>
                    </a:lnTo>
                    <a:lnTo>
                      <a:pt x="20" y="33"/>
                    </a:lnTo>
                    <a:lnTo>
                      <a:pt x="24" y="30"/>
                    </a:lnTo>
                    <a:lnTo>
                      <a:pt x="14" y="30"/>
                    </a:lnTo>
                    <a:lnTo>
                      <a:pt x="24" y="26"/>
                    </a:lnTo>
                    <a:lnTo>
                      <a:pt x="33" y="23"/>
                    </a:lnTo>
                    <a:lnTo>
                      <a:pt x="61" y="16"/>
                    </a:lnTo>
                    <a:lnTo>
                      <a:pt x="65" y="13"/>
                    </a:lnTo>
                    <a:lnTo>
                      <a:pt x="119" y="6"/>
                    </a:lnTo>
                    <a:lnTo>
                      <a:pt x="143" y="0"/>
                    </a:lnTo>
                    <a:lnTo>
                      <a:pt x="157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51" name="Freeform 381">
                <a:extLst>
                  <a:ext uri="{FF2B5EF4-FFF2-40B4-BE49-F238E27FC236}">
                    <a16:creationId xmlns:a16="http://schemas.microsoft.com/office/drawing/2014/main" id="{008DD4AB-5941-AAB3-44E6-57B6EA85F5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67" y="3007"/>
                <a:ext cx="39" cy="21"/>
              </a:xfrm>
              <a:custGeom>
                <a:avLst/>
                <a:gdLst>
                  <a:gd name="T0" fmla="*/ 39 w 88"/>
                  <a:gd name="T1" fmla="*/ 20 h 46"/>
                  <a:gd name="T2" fmla="*/ 24 w 88"/>
                  <a:gd name="T3" fmla="*/ 14 h 46"/>
                  <a:gd name="T4" fmla="*/ 20 w 88"/>
                  <a:gd name="T5" fmla="*/ 6 h 46"/>
                  <a:gd name="T6" fmla="*/ 20 w 88"/>
                  <a:gd name="T7" fmla="*/ 5 h 46"/>
                  <a:gd name="T8" fmla="*/ 21 w 88"/>
                  <a:gd name="T9" fmla="*/ 3 h 46"/>
                  <a:gd name="T10" fmla="*/ 23 w 88"/>
                  <a:gd name="T11" fmla="*/ 1 h 46"/>
                  <a:gd name="T12" fmla="*/ 8 w 88"/>
                  <a:gd name="T13" fmla="*/ 0 h 46"/>
                  <a:gd name="T14" fmla="*/ 4 w 88"/>
                  <a:gd name="T15" fmla="*/ 3 h 46"/>
                  <a:gd name="T16" fmla="*/ 3 w 88"/>
                  <a:gd name="T17" fmla="*/ 5 h 46"/>
                  <a:gd name="T18" fmla="*/ 6 w 88"/>
                  <a:gd name="T19" fmla="*/ 6 h 46"/>
                  <a:gd name="T20" fmla="*/ 3 w 88"/>
                  <a:gd name="T21" fmla="*/ 9 h 46"/>
                  <a:gd name="T22" fmla="*/ 0 w 88"/>
                  <a:gd name="T23" fmla="*/ 11 h 46"/>
                  <a:gd name="T24" fmla="*/ 4 w 88"/>
                  <a:gd name="T25" fmla="*/ 15 h 46"/>
                  <a:gd name="T26" fmla="*/ 9 w 88"/>
                  <a:gd name="T27" fmla="*/ 14 h 46"/>
                  <a:gd name="T28" fmla="*/ 12 w 88"/>
                  <a:gd name="T29" fmla="*/ 15 h 46"/>
                  <a:gd name="T30" fmla="*/ 14 w 88"/>
                  <a:gd name="T31" fmla="*/ 15 h 46"/>
                  <a:gd name="T32" fmla="*/ 17 w 88"/>
                  <a:gd name="T33" fmla="*/ 17 h 46"/>
                  <a:gd name="T34" fmla="*/ 16 w 88"/>
                  <a:gd name="T35" fmla="*/ 19 h 46"/>
                  <a:gd name="T36" fmla="*/ 23 w 88"/>
                  <a:gd name="T37" fmla="*/ 20 h 46"/>
                  <a:gd name="T38" fmla="*/ 27 w 88"/>
                  <a:gd name="T39" fmla="*/ 21 h 46"/>
                  <a:gd name="T40" fmla="*/ 31 w 88"/>
                  <a:gd name="T41" fmla="*/ 21 h 46"/>
                  <a:gd name="T42" fmla="*/ 37 w 88"/>
                  <a:gd name="T43" fmla="*/ 21 h 46"/>
                  <a:gd name="T44" fmla="*/ 39 w 88"/>
                  <a:gd name="T45" fmla="*/ 20 h 4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8" h="46">
                    <a:moveTo>
                      <a:pt x="88" y="43"/>
                    </a:moveTo>
                    <a:lnTo>
                      <a:pt x="55" y="30"/>
                    </a:lnTo>
                    <a:lnTo>
                      <a:pt x="46" y="13"/>
                    </a:lnTo>
                    <a:lnTo>
                      <a:pt x="46" y="10"/>
                    </a:lnTo>
                    <a:lnTo>
                      <a:pt x="47" y="6"/>
                    </a:lnTo>
                    <a:lnTo>
                      <a:pt x="51" y="2"/>
                    </a:lnTo>
                    <a:lnTo>
                      <a:pt x="18" y="0"/>
                    </a:lnTo>
                    <a:lnTo>
                      <a:pt x="10" y="6"/>
                    </a:lnTo>
                    <a:lnTo>
                      <a:pt x="7" y="11"/>
                    </a:lnTo>
                    <a:lnTo>
                      <a:pt x="13" y="13"/>
                    </a:lnTo>
                    <a:lnTo>
                      <a:pt x="6" y="20"/>
                    </a:lnTo>
                    <a:lnTo>
                      <a:pt x="0" y="23"/>
                    </a:lnTo>
                    <a:lnTo>
                      <a:pt x="9" y="33"/>
                    </a:lnTo>
                    <a:lnTo>
                      <a:pt x="20" y="30"/>
                    </a:lnTo>
                    <a:lnTo>
                      <a:pt x="27" y="33"/>
                    </a:lnTo>
                    <a:lnTo>
                      <a:pt x="32" y="33"/>
                    </a:lnTo>
                    <a:lnTo>
                      <a:pt x="38" y="38"/>
                    </a:lnTo>
                    <a:lnTo>
                      <a:pt x="37" y="41"/>
                    </a:lnTo>
                    <a:lnTo>
                      <a:pt x="51" y="43"/>
                    </a:lnTo>
                    <a:lnTo>
                      <a:pt x="60" y="45"/>
                    </a:lnTo>
                    <a:lnTo>
                      <a:pt x="71" y="45"/>
                    </a:lnTo>
                    <a:lnTo>
                      <a:pt x="83" y="46"/>
                    </a:lnTo>
                    <a:lnTo>
                      <a:pt x="88" y="4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52" name="Freeform 382">
                <a:extLst>
                  <a:ext uri="{FF2B5EF4-FFF2-40B4-BE49-F238E27FC236}">
                    <a16:creationId xmlns:a16="http://schemas.microsoft.com/office/drawing/2014/main" id="{E6EC6415-37B3-8EA8-F259-D10660BAB6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09" y="2988"/>
                <a:ext cx="47" cy="10"/>
              </a:xfrm>
              <a:custGeom>
                <a:avLst/>
                <a:gdLst>
                  <a:gd name="T0" fmla="*/ 47 w 105"/>
                  <a:gd name="T1" fmla="*/ 4 h 23"/>
                  <a:gd name="T2" fmla="*/ 17 w 105"/>
                  <a:gd name="T3" fmla="*/ 0 h 23"/>
                  <a:gd name="T4" fmla="*/ 21 w 105"/>
                  <a:gd name="T5" fmla="*/ 1 h 23"/>
                  <a:gd name="T6" fmla="*/ 17 w 105"/>
                  <a:gd name="T7" fmla="*/ 1 h 23"/>
                  <a:gd name="T8" fmla="*/ 20 w 105"/>
                  <a:gd name="T9" fmla="*/ 3 h 23"/>
                  <a:gd name="T10" fmla="*/ 6 w 105"/>
                  <a:gd name="T11" fmla="*/ 1 h 23"/>
                  <a:gd name="T12" fmla="*/ 0 w 105"/>
                  <a:gd name="T13" fmla="*/ 2 h 23"/>
                  <a:gd name="T14" fmla="*/ 0 w 105"/>
                  <a:gd name="T15" fmla="*/ 2 h 23"/>
                  <a:gd name="T16" fmla="*/ 3 w 105"/>
                  <a:gd name="T17" fmla="*/ 4 h 23"/>
                  <a:gd name="T18" fmla="*/ 4 w 105"/>
                  <a:gd name="T19" fmla="*/ 6 h 23"/>
                  <a:gd name="T20" fmla="*/ 23 w 105"/>
                  <a:gd name="T21" fmla="*/ 10 h 23"/>
                  <a:gd name="T22" fmla="*/ 23 w 105"/>
                  <a:gd name="T23" fmla="*/ 8 h 23"/>
                  <a:gd name="T24" fmla="*/ 38 w 105"/>
                  <a:gd name="T25" fmla="*/ 8 h 23"/>
                  <a:gd name="T26" fmla="*/ 45 w 105"/>
                  <a:gd name="T27" fmla="*/ 8 h 23"/>
                  <a:gd name="T28" fmla="*/ 42 w 105"/>
                  <a:gd name="T29" fmla="*/ 7 h 23"/>
                  <a:gd name="T30" fmla="*/ 47 w 105"/>
                  <a:gd name="T31" fmla="*/ 6 h 23"/>
                  <a:gd name="T32" fmla="*/ 47 w 105"/>
                  <a:gd name="T33" fmla="*/ 4 h 2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05" h="23">
                    <a:moveTo>
                      <a:pt x="105" y="10"/>
                    </a:moveTo>
                    <a:lnTo>
                      <a:pt x="39" y="0"/>
                    </a:lnTo>
                    <a:lnTo>
                      <a:pt x="46" y="3"/>
                    </a:lnTo>
                    <a:lnTo>
                      <a:pt x="37" y="2"/>
                    </a:lnTo>
                    <a:lnTo>
                      <a:pt x="45" y="7"/>
                    </a:lnTo>
                    <a:lnTo>
                      <a:pt x="14" y="2"/>
                    </a:lnTo>
                    <a:lnTo>
                      <a:pt x="0" y="5"/>
                    </a:lnTo>
                    <a:lnTo>
                      <a:pt x="6" y="10"/>
                    </a:lnTo>
                    <a:lnTo>
                      <a:pt x="9" y="13"/>
                    </a:lnTo>
                    <a:lnTo>
                      <a:pt x="51" y="23"/>
                    </a:lnTo>
                    <a:lnTo>
                      <a:pt x="51" y="18"/>
                    </a:lnTo>
                    <a:lnTo>
                      <a:pt x="84" y="18"/>
                    </a:lnTo>
                    <a:lnTo>
                      <a:pt x="101" y="18"/>
                    </a:lnTo>
                    <a:lnTo>
                      <a:pt x="93" y="17"/>
                    </a:lnTo>
                    <a:lnTo>
                      <a:pt x="105" y="13"/>
                    </a:lnTo>
                    <a:lnTo>
                      <a:pt x="105" y="1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53" name="Freeform 383">
                <a:extLst>
                  <a:ext uri="{FF2B5EF4-FFF2-40B4-BE49-F238E27FC236}">
                    <a16:creationId xmlns:a16="http://schemas.microsoft.com/office/drawing/2014/main" id="{1BF187C3-3032-AF33-9DAA-C51C1C7F090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47" y="2961"/>
                <a:ext cx="36" cy="9"/>
              </a:xfrm>
              <a:custGeom>
                <a:avLst/>
                <a:gdLst>
                  <a:gd name="T0" fmla="*/ 31 w 81"/>
                  <a:gd name="T1" fmla="*/ 2 h 21"/>
                  <a:gd name="T2" fmla="*/ 21 w 81"/>
                  <a:gd name="T3" fmla="*/ 1 h 21"/>
                  <a:gd name="T4" fmla="*/ 19 w 81"/>
                  <a:gd name="T5" fmla="*/ 2 h 21"/>
                  <a:gd name="T6" fmla="*/ 15 w 81"/>
                  <a:gd name="T7" fmla="*/ 0 h 21"/>
                  <a:gd name="T8" fmla="*/ 2 w 81"/>
                  <a:gd name="T9" fmla="*/ 2 h 21"/>
                  <a:gd name="T10" fmla="*/ 0 w 81"/>
                  <a:gd name="T11" fmla="*/ 4 h 21"/>
                  <a:gd name="T12" fmla="*/ 5 w 81"/>
                  <a:gd name="T13" fmla="*/ 5 h 21"/>
                  <a:gd name="T14" fmla="*/ 11 w 81"/>
                  <a:gd name="T15" fmla="*/ 9 h 21"/>
                  <a:gd name="T16" fmla="*/ 36 w 81"/>
                  <a:gd name="T17" fmla="*/ 9 h 21"/>
                  <a:gd name="T18" fmla="*/ 34 w 81"/>
                  <a:gd name="T19" fmla="*/ 7 h 21"/>
                  <a:gd name="T20" fmla="*/ 31 w 81"/>
                  <a:gd name="T21" fmla="*/ 2 h 2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81" h="21">
                    <a:moveTo>
                      <a:pt x="70" y="5"/>
                    </a:moveTo>
                    <a:lnTo>
                      <a:pt x="48" y="3"/>
                    </a:lnTo>
                    <a:lnTo>
                      <a:pt x="42" y="5"/>
                    </a:lnTo>
                    <a:lnTo>
                      <a:pt x="34" y="0"/>
                    </a:lnTo>
                    <a:lnTo>
                      <a:pt x="5" y="5"/>
                    </a:lnTo>
                    <a:lnTo>
                      <a:pt x="0" y="10"/>
                    </a:lnTo>
                    <a:lnTo>
                      <a:pt x="11" y="11"/>
                    </a:lnTo>
                    <a:lnTo>
                      <a:pt x="25" y="20"/>
                    </a:lnTo>
                    <a:lnTo>
                      <a:pt x="81" y="21"/>
                    </a:lnTo>
                    <a:lnTo>
                      <a:pt x="76" y="16"/>
                    </a:lnTo>
                    <a:lnTo>
                      <a:pt x="70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54" name="Freeform 384">
                <a:extLst>
                  <a:ext uri="{FF2B5EF4-FFF2-40B4-BE49-F238E27FC236}">
                    <a16:creationId xmlns:a16="http://schemas.microsoft.com/office/drawing/2014/main" id="{C5E13FFC-A796-FB6C-3692-1EF9E0BC71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88" y="2965"/>
                <a:ext cx="27" cy="10"/>
              </a:xfrm>
              <a:custGeom>
                <a:avLst/>
                <a:gdLst>
                  <a:gd name="T0" fmla="*/ 27 w 62"/>
                  <a:gd name="T1" fmla="*/ 6 h 22"/>
                  <a:gd name="T2" fmla="*/ 13 w 62"/>
                  <a:gd name="T3" fmla="*/ 2 h 22"/>
                  <a:gd name="T4" fmla="*/ 9 w 62"/>
                  <a:gd name="T5" fmla="*/ 5 h 22"/>
                  <a:gd name="T6" fmla="*/ 7 w 62"/>
                  <a:gd name="T7" fmla="*/ 1 h 22"/>
                  <a:gd name="T8" fmla="*/ 4 w 62"/>
                  <a:gd name="T9" fmla="*/ 0 h 22"/>
                  <a:gd name="T10" fmla="*/ 6 w 62"/>
                  <a:gd name="T11" fmla="*/ 2 h 22"/>
                  <a:gd name="T12" fmla="*/ 0 w 62"/>
                  <a:gd name="T13" fmla="*/ 2 h 22"/>
                  <a:gd name="T14" fmla="*/ 1 w 62"/>
                  <a:gd name="T15" fmla="*/ 3 h 22"/>
                  <a:gd name="T16" fmla="*/ 4 w 62"/>
                  <a:gd name="T17" fmla="*/ 5 h 22"/>
                  <a:gd name="T18" fmla="*/ 1 w 62"/>
                  <a:gd name="T19" fmla="*/ 6 h 22"/>
                  <a:gd name="T20" fmla="*/ 2 w 62"/>
                  <a:gd name="T21" fmla="*/ 10 h 22"/>
                  <a:gd name="T22" fmla="*/ 27 w 62"/>
                  <a:gd name="T23" fmla="*/ 6 h 22"/>
                  <a:gd name="T24" fmla="*/ 27 w 62"/>
                  <a:gd name="T25" fmla="*/ 6 h 2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2" h="22">
                    <a:moveTo>
                      <a:pt x="61" y="14"/>
                    </a:moveTo>
                    <a:lnTo>
                      <a:pt x="30" y="4"/>
                    </a:lnTo>
                    <a:lnTo>
                      <a:pt x="20" y="10"/>
                    </a:lnTo>
                    <a:lnTo>
                      <a:pt x="16" y="2"/>
                    </a:lnTo>
                    <a:lnTo>
                      <a:pt x="10" y="0"/>
                    </a:lnTo>
                    <a:lnTo>
                      <a:pt x="13" y="4"/>
                    </a:lnTo>
                    <a:lnTo>
                      <a:pt x="0" y="4"/>
                    </a:lnTo>
                    <a:lnTo>
                      <a:pt x="2" y="7"/>
                    </a:lnTo>
                    <a:lnTo>
                      <a:pt x="10" y="12"/>
                    </a:lnTo>
                    <a:lnTo>
                      <a:pt x="2" y="14"/>
                    </a:lnTo>
                    <a:lnTo>
                      <a:pt x="5" y="22"/>
                    </a:lnTo>
                    <a:lnTo>
                      <a:pt x="62" y="14"/>
                    </a:lnTo>
                    <a:lnTo>
                      <a:pt x="61" y="1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55" name="Freeform 385">
                <a:extLst>
                  <a:ext uri="{FF2B5EF4-FFF2-40B4-BE49-F238E27FC236}">
                    <a16:creationId xmlns:a16="http://schemas.microsoft.com/office/drawing/2014/main" id="{FCD6E4EA-29EF-DFA3-7E48-E27BE95400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32" y="2956"/>
                <a:ext cx="28" cy="5"/>
              </a:xfrm>
              <a:custGeom>
                <a:avLst/>
                <a:gdLst>
                  <a:gd name="T0" fmla="*/ 28 w 65"/>
                  <a:gd name="T1" fmla="*/ 3 h 13"/>
                  <a:gd name="T2" fmla="*/ 15 w 65"/>
                  <a:gd name="T3" fmla="*/ 0 h 13"/>
                  <a:gd name="T4" fmla="*/ 1 w 65"/>
                  <a:gd name="T5" fmla="*/ 1 h 13"/>
                  <a:gd name="T6" fmla="*/ 5 w 65"/>
                  <a:gd name="T7" fmla="*/ 3 h 13"/>
                  <a:gd name="T8" fmla="*/ 4 w 65"/>
                  <a:gd name="T9" fmla="*/ 3 h 13"/>
                  <a:gd name="T10" fmla="*/ 0 w 65"/>
                  <a:gd name="T11" fmla="*/ 5 h 13"/>
                  <a:gd name="T12" fmla="*/ 8 w 65"/>
                  <a:gd name="T13" fmla="*/ 5 h 13"/>
                  <a:gd name="T14" fmla="*/ 6 w 65"/>
                  <a:gd name="T15" fmla="*/ 5 h 13"/>
                  <a:gd name="T16" fmla="*/ 28 w 65"/>
                  <a:gd name="T17" fmla="*/ 5 h 13"/>
                  <a:gd name="T18" fmla="*/ 25 w 65"/>
                  <a:gd name="T19" fmla="*/ 3 h 13"/>
                  <a:gd name="T20" fmla="*/ 28 w 65"/>
                  <a:gd name="T21" fmla="*/ 3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5" h="13">
                    <a:moveTo>
                      <a:pt x="65" y="7"/>
                    </a:moveTo>
                    <a:lnTo>
                      <a:pt x="35" y="0"/>
                    </a:lnTo>
                    <a:lnTo>
                      <a:pt x="3" y="3"/>
                    </a:lnTo>
                    <a:lnTo>
                      <a:pt x="12" y="7"/>
                    </a:lnTo>
                    <a:lnTo>
                      <a:pt x="9" y="8"/>
                    </a:lnTo>
                    <a:lnTo>
                      <a:pt x="0" y="12"/>
                    </a:lnTo>
                    <a:lnTo>
                      <a:pt x="18" y="12"/>
                    </a:lnTo>
                    <a:lnTo>
                      <a:pt x="14" y="13"/>
                    </a:lnTo>
                    <a:lnTo>
                      <a:pt x="65" y="12"/>
                    </a:lnTo>
                    <a:lnTo>
                      <a:pt x="59" y="8"/>
                    </a:lnTo>
                    <a:lnTo>
                      <a:pt x="65" y="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56" name="Freeform 386">
                <a:extLst>
                  <a:ext uri="{FF2B5EF4-FFF2-40B4-BE49-F238E27FC236}">
                    <a16:creationId xmlns:a16="http://schemas.microsoft.com/office/drawing/2014/main" id="{70E6646F-820D-EC28-DCEA-712440DB64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60" y="2992"/>
                <a:ext cx="31" cy="5"/>
              </a:xfrm>
              <a:custGeom>
                <a:avLst/>
                <a:gdLst>
                  <a:gd name="T0" fmla="*/ 31 w 68"/>
                  <a:gd name="T1" fmla="*/ 3 h 12"/>
                  <a:gd name="T2" fmla="*/ 7 w 68"/>
                  <a:gd name="T3" fmla="*/ 1 h 12"/>
                  <a:gd name="T4" fmla="*/ 0 w 68"/>
                  <a:gd name="T5" fmla="*/ 0 h 12"/>
                  <a:gd name="T6" fmla="*/ 2 w 68"/>
                  <a:gd name="T7" fmla="*/ 2 h 12"/>
                  <a:gd name="T8" fmla="*/ 28 w 68"/>
                  <a:gd name="T9" fmla="*/ 5 h 12"/>
                  <a:gd name="T10" fmla="*/ 31 w 68"/>
                  <a:gd name="T11" fmla="*/ 3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8" h="12">
                    <a:moveTo>
                      <a:pt x="68" y="7"/>
                    </a:moveTo>
                    <a:lnTo>
                      <a:pt x="16" y="2"/>
                    </a:lnTo>
                    <a:lnTo>
                      <a:pt x="0" y="0"/>
                    </a:lnTo>
                    <a:lnTo>
                      <a:pt x="5" y="5"/>
                    </a:lnTo>
                    <a:lnTo>
                      <a:pt x="62" y="12"/>
                    </a:lnTo>
                    <a:lnTo>
                      <a:pt x="68" y="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57" name="Freeform 387">
                <a:extLst>
                  <a:ext uri="{FF2B5EF4-FFF2-40B4-BE49-F238E27FC236}">
                    <a16:creationId xmlns:a16="http://schemas.microsoft.com/office/drawing/2014/main" id="{57EAB404-6A69-62C3-F1A8-7F16E58EC0E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14" y="3154"/>
                <a:ext cx="15" cy="5"/>
              </a:xfrm>
              <a:custGeom>
                <a:avLst/>
                <a:gdLst>
                  <a:gd name="T0" fmla="*/ 4 w 34"/>
                  <a:gd name="T1" fmla="*/ 0 h 13"/>
                  <a:gd name="T2" fmla="*/ 4 w 34"/>
                  <a:gd name="T3" fmla="*/ 2 h 13"/>
                  <a:gd name="T4" fmla="*/ 0 w 34"/>
                  <a:gd name="T5" fmla="*/ 0 h 13"/>
                  <a:gd name="T6" fmla="*/ 0 w 34"/>
                  <a:gd name="T7" fmla="*/ 2 h 13"/>
                  <a:gd name="T8" fmla="*/ 0 w 34"/>
                  <a:gd name="T9" fmla="*/ 2 h 13"/>
                  <a:gd name="T10" fmla="*/ 1 w 34"/>
                  <a:gd name="T11" fmla="*/ 2 h 13"/>
                  <a:gd name="T12" fmla="*/ 0 w 34"/>
                  <a:gd name="T13" fmla="*/ 2 h 13"/>
                  <a:gd name="T14" fmla="*/ 0 w 34"/>
                  <a:gd name="T15" fmla="*/ 4 h 13"/>
                  <a:gd name="T16" fmla="*/ 4 w 34"/>
                  <a:gd name="T17" fmla="*/ 4 h 13"/>
                  <a:gd name="T18" fmla="*/ 15 w 34"/>
                  <a:gd name="T19" fmla="*/ 5 h 13"/>
                  <a:gd name="T20" fmla="*/ 15 w 34"/>
                  <a:gd name="T21" fmla="*/ 2 h 13"/>
                  <a:gd name="T22" fmla="*/ 9 w 34"/>
                  <a:gd name="T23" fmla="*/ 0 h 13"/>
                  <a:gd name="T24" fmla="*/ 4 w 34"/>
                  <a:gd name="T25" fmla="*/ 0 h 1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13">
                    <a:moveTo>
                      <a:pt x="9" y="0"/>
                    </a:moveTo>
                    <a:lnTo>
                      <a:pt x="9" y="5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8" y="10"/>
                    </a:lnTo>
                    <a:lnTo>
                      <a:pt x="34" y="13"/>
                    </a:lnTo>
                    <a:lnTo>
                      <a:pt x="34" y="5"/>
                    </a:lnTo>
                    <a:lnTo>
                      <a:pt x="20" y="1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58" name="Freeform 388">
                <a:extLst>
                  <a:ext uri="{FF2B5EF4-FFF2-40B4-BE49-F238E27FC236}">
                    <a16:creationId xmlns:a16="http://schemas.microsoft.com/office/drawing/2014/main" id="{24D321F1-AB95-FABA-B37D-46BA025215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8" y="3004"/>
                <a:ext cx="23" cy="3"/>
              </a:xfrm>
              <a:custGeom>
                <a:avLst/>
                <a:gdLst>
                  <a:gd name="T0" fmla="*/ 23 w 52"/>
                  <a:gd name="T1" fmla="*/ 3 h 10"/>
                  <a:gd name="T2" fmla="*/ 0 w 52"/>
                  <a:gd name="T3" fmla="*/ 2 h 10"/>
                  <a:gd name="T4" fmla="*/ 8 w 52"/>
                  <a:gd name="T5" fmla="*/ 0 h 10"/>
                  <a:gd name="T6" fmla="*/ 21 w 52"/>
                  <a:gd name="T7" fmla="*/ 2 h 10"/>
                  <a:gd name="T8" fmla="*/ 23 w 52"/>
                  <a:gd name="T9" fmla="*/ 3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2" h="10">
                    <a:moveTo>
                      <a:pt x="52" y="10"/>
                    </a:moveTo>
                    <a:lnTo>
                      <a:pt x="0" y="8"/>
                    </a:lnTo>
                    <a:lnTo>
                      <a:pt x="17" y="0"/>
                    </a:lnTo>
                    <a:lnTo>
                      <a:pt x="48" y="8"/>
                    </a:lnTo>
                    <a:lnTo>
                      <a:pt x="52" y="1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59" name="Freeform 389">
                <a:extLst>
                  <a:ext uri="{FF2B5EF4-FFF2-40B4-BE49-F238E27FC236}">
                    <a16:creationId xmlns:a16="http://schemas.microsoft.com/office/drawing/2014/main" id="{B491564A-1FF7-A338-8891-114BBE9E55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58" y="3036"/>
                <a:ext cx="11" cy="6"/>
              </a:xfrm>
              <a:custGeom>
                <a:avLst/>
                <a:gdLst>
                  <a:gd name="T0" fmla="*/ 11 w 27"/>
                  <a:gd name="T1" fmla="*/ 3 h 13"/>
                  <a:gd name="T2" fmla="*/ 3 w 27"/>
                  <a:gd name="T3" fmla="*/ 6 h 13"/>
                  <a:gd name="T4" fmla="*/ 0 w 27"/>
                  <a:gd name="T5" fmla="*/ 2 h 13"/>
                  <a:gd name="T6" fmla="*/ 3 w 27"/>
                  <a:gd name="T7" fmla="*/ 0 h 13"/>
                  <a:gd name="T8" fmla="*/ 11 w 27"/>
                  <a:gd name="T9" fmla="*/ 3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7" h="13">
                    <a:moveTo>
                      <a:pt x="27" y="7"/>
                    </a:moveTo>
                    <a:lnTo>
                      <a:pt x="8" y="13"/>
                    </a:lnTo>
                    <a:lnTo>
                      <a:pt x="0" y="5"/>
                    </a:lnTo>
                    <a:lnTo>
                      <a:pt x="7" y="0"/>
                    </a:lnTo>
                    <a:lnTo>
                      <a:pt x="27" y="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60" name="Freeform 390">
                <a:extLst>
                  <a:ext uri="{FF2B5EF4-FFF2-40B4-BE49-F238E27FC236}">
                    <a16:creationId xmlns:a16="http://schemas.microsoft.com/office/drawing/2014/main" id="{17AE63C2-F45C-ED67-B977-D9978ACD42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13" y="3029"/>
                <a:ext cx="14" cy="4"/>
              </a:xfrm>
              <a:custGeom>
                <a:avLst/>
                <a:gdLst>
                  <a:gd name="T0" fmla="*/ 14 w 31"/>
                  <a:gd name="T1" fmla="*/ 4 h 9"/>
                  <a:gd name="T2" fmla="*/ 2 w 31"/>
                  <a:gd name="T3" fmla="*/ 0 h 9"/>
                  <a:gd name="T4" fmla="*/ 0 w 31"/>
                  <a:gd name="T5" fmla="*/ 1 h 9"/>
                  <a:gd name="T6" fmla="*/ 9 w 31"/>
                  <a:gd name="T7" fmla="*/ 4 h 9"/>
                  <a:gd name="T8" fmla="*/ 14 w 31"/>
                  <a:gd name="T9" fmla="*/ 4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1" h="9">
                    <a:moveTo>
                      <a:pt x="31" y="9"/>
                    </a:moveTo>
                    <a:lnTo>
                      <a:pt x="5" y="0"/>
                    </a:lnTo>
                    <a:lnTo>
                      <a:pt x="0" y="2"/>
                    </a:lnTo>
                    <a:lnTo>
                      <a:pt x="20" y="9"/>
                    </a:lnTo>
                    <a:lnTo>
                      <a:pt x="31" y="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61" name="Freeform 391">
                <a:extLst>
                  <a:ext uri="{FF2B5EF4-FFF2-40B4-BE49-F238E27FC236}">
                    <a16:creationId xmlns:a16="http://schemas.microsoft.com/office/drawing/2014/main" id="{46526027-F308-1D5F-AA30-17A61D4B117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21" y="3123"/>
                <a:ext cx="9" cy="5"/>
              </a:xfrm>
              <a:custGeom>
                <a:avLst/>
                <a:gdLst>
                  <a:gd name="T0" fmla="*/ 9 w 19"/>
                  <a:gd name="T1" fmla="*/ 1 h 10"/>
                  <a:gd name="T2" fmla="*/ 0 w 19"/>
                  <a:gd name="T3" fmla="*/ 5 h 10"/>
                  <a:gd name="T4" fmla="*/ 0 w 19"/>
                  <a:gd name="T5" fmla="*/ 1 h 10"/>
                  <a:gd name="T6" fmla="*/ 7 w 19"/>
                  <a:gd name="T7" fmla="*/ 0 h 10"/>
                  <a:gd name="T8" fmla="*/ 9 w 19"/>
                  <a:gd name="T9" fmla="*/ 1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0">
                    <a:moveTo>
                      <a:pt x="19" y="2"/>
                    </a:moveTo>
                    <a:lnTo>
                      <a:pt x="1" y="10"/>
                    </a:lnTo>
                    <a:lnTo>
                      <a:pt x="0" y="2"/>
                    </a:lnTo>
                    <a:lnTo>
                      <a:pt x="15" y="0"/>
                    </a:lnTo>
                    <a:lnTo>
                      <a:pt x="19" y="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62" name="Freeform 392">
                <a:extLst>
                  <a:ext uri="{FF2B5EF4-FFF2-40B4-BE49-F238E27FC236}">
                    <a16:creationId xmlns:a16="http://schemas.microsoft.com/office/drawing/2014/main" id="{3A8FF097-957A-99A1-4F5B-446A24CFFB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37" y="3117"/>
                <a:ext cx="4" cy="6"/>
              </a:xfrm>
              <a:custGeom>
                <a:avLst/>
                <a:gdLst>
                  <a:gd name="T0" fmla="*/ 4 w 10"/>
                  <a:gd name="T1" fmla="*/ 2 h 13"/>
                  <a:gd name="T2" fmla="*/ 2 w 10"/>
                  <a:gd name="T3" fmla="*/ 6 h 13"/>
                  <a:gd name="T4" fmla="*/ 0 w 10"/>
                  <a:gd name="T5" fmla="*/ 2 h 13"/>
                  <a:gd name="T6" fmla="*/ 2 w 10"/>
                  <a:gd name="T7" fmla="*/ 0 h 13"/>
                  <a:gd name="T8" fmla="*/ 4 w 10"/>
                  <a:gd name="T9" fmla="*/ 2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" h="13">
                    <a:moveTo>
                      <a:pt x="10" y="5"/>
                    </a:moveTo>
                    <a:lnTo>
                      <a:pt x="4" y="13"/>
                    </a:lnTo>
                    <a:lnTo>
                      <a:pt x="0" y="5"/>
                    </a:lnTo>
                    <a:lnTo>
                      <a:pt x="4" y="0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63" name="Freeform 393">
                <a:extLst>
                  <a:ext uri="{FF2B5EF4-FFF2-40B4-BE49-F238E27FC236}">
                    <a16:creationId xmlns:a16="http://schemas.microsoft.com/office/drawing/2014/main" id="{73CDBA80-86FC-52C0-2655-200AAC063A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45" y="3032"/>
                <a:ext cx="11" cy="4"/>
              </a:xfrm>
              <a:custGeom>
                <a:avLst/>
                <a:gdLst>
                  <a:gd name="T0" fmla="*/ 11 w 23"/>
                  <a:gd name="T1" fmla="*/ 1 h 6"/>
                  <a:gd name="T2" fmla="*/ 10 w 23"/>
                  <a:gd name="T3" fmla="*/ 4 h 6"/>
                  <a:gd name="T4" fmla="*/ 0 w 23"/>
                  <a:gd name="T5" fmla="*/ 0 h 6"/>
                  <a:gd name="T6" fmla="*/ 10 w 23"/>
                  <a:gd name="T7" fmla="*/ 0 h 6"/>
                  <a:gd name="T8" fmla="*/ 11 w 23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3" h="6">
                    <a:moveTo>
                      <a:pt x="23" y="2"/>
                    </a:moveTo>
                    <a:lnTo>
                      <a:pt x="21" y="6"/>
                    </a:lnTo>
                    <a:lnTo>
                      <a:pt x="0" y="0"/>
                    </a:lnTo>
                    <a:lnTo>
                      <a:pt x="21" y="0"/>
                    </a:lnTo>
                    <a:lnTo>
                      <a:pt x="23" y="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64" name="Freeform 394">
                <a:extLst>
                  <a:ext uri="{FF2B5EF4-FFF2-40B4-BE49-F238E27FC236}">
                    <a16:creationId xmlns:a16="http://schemas.microsoft.com/office/drawing/2014/main" id="{22CEF5C4-FA7E-D087-BB6C-CE58591CA2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65" y="3007"/>
                <a:ext cx="9" cy="1"/>
              </a:xfrm>
              <a:custGeom>
                <a:avLst/>
                <a:gdLst>
                  <a:gd name="T0" fmla="*/ 9 w 20"/>
                  <a:gd name="T1" fmla="*/ 1 h 5"/>
                  <a:gd name="T2" fmla="*/ 0 w 20"/>
                  <a:gd name="T3" fmla="*/ 1 h 5"/>
                  <a:gd name="T4" fmla="*/ 0 w 20"/>
                  <a:gd name="T5" fmla="*/ 0 h 5"/>
                  <a:gd name="T6" fmla="*/ 5 w 20"/>
                  <a:gd name="T7" fmla="*/ 1 h 5"/>
                  <a:gd name="T8" fmla="*/ 9 w 20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" h="5">
                    <a:moveTo>
                      <a:pt x="20" y="5"/>
                    </a:moveTo>
                    <a:lnTo>
                      <a:pt x="0" y="5"/>
                    </a:lnTo>
                    <a:lnTo>
                      <a:pt x="1" y="0"/>
                    </a:lnTo>
                    <a:lnTo>
                      <a:pt x="12" y="4"/>
                    </a:lnTo>
                    <a:lnTo>
                      <a:pt x="20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65" name="Freeform 395">
                <a:extLst>
                  <a:ext uri="{FF2B5EF4-FFF2-40B4-BE49-F238E27FC236}">
                    <a16:creationId xmlns:a16="http://schemas.microsoft.com/office/drawing/2014/main" id="{25B1F16C-AED5-29C5-1D45-FD424F9E10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84" y="3000"/>
                <a:ext cx="11" cy="2"/>
              </a:xfrm>
              <a:custGeom>
                <a:avLst/>
                <a:gdLst>
                  <a:gd name="T0" fmla="*/ 10 w 24"/>
                  <a:gd name="T1" fmla="*/ 0 h 4"/>
                  <a:gd name="T2" fmla="*/ 0 w 24"/>
                  <a:gd name="T3" fmla="*/ 1 h 4"/>
                  <a:gd name="T4" fmla="*/ 11 w 24"/>
                  <a:gd name="T5" fmla="*/ 2 h 4"/>
                  <a:gd name="T6" fmla="*/ 10 w 24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4" h="4">
                    <a:moveTo>
                      <a:pt x="22" y="0"/>
                    </a:moveTo>
                    <a:lnTo>
                      <a:pt x="0" y="2"/>
                    </a:lnTo>
                    <a:lnTo>
                      <a:pt x="24" y="4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66" name="Freeform 396">
                <a:extLst>
                  <a:ext uri="{FF2B5EF4-FFF2-40B4-BE49-F238E27FC236}">
                    <a16:creationId xmlns:a16="http://schemas.microsoft.com/office/drawing/2014/main" id="{30AA2CEC-5024-1E85-363A-E1CF999867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2" y="3002"/>
                <a:ext cx="6" cy="2"/>
              </a:xfrm>
              <a:custGeom>
                <a:avLst/>
                <a:gdLst>
                  <a:gd name="T0" fmla="*/ 6 w 11"/>
                  <a:gd name="T1" fmla="*/ 0 h 5"/>
                  <a:gd name="T2" fmla="*/ 0 w 11"/>
                  <a:gd name="T3" fmla="*/ 0 h 5"/>
                  <a:gd name="T4" fmla="*/ 6 w 11"/>
                  <a:gd name="T5" fmla="*/ 2 h 5"/>
                  <a:gd name="T6" fmla="*/ 6 w 11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1" h="5">
                    <a:moveTo>
                      <a:pt x="11" y="0"/>
                    </a:moveTo>
                    <a:lnTo>
                      <a:pt x="0" y="1"/>
                    </a:lnTo>
                    <a:lnTo>
                      <a:pt x="11" y="5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67" name="Freeform 397">
                <a:extLst>
                  <a:ext uri="{FF2B5EF4-FFF2-40B4-BE49-F238E27FC236}">
                    <a16:creationId xmlns:a16="http://schemas.microsoft.com/office/drawing/2014/main" id="{BC93E398-108C-B1AC-BCA2-25C252C955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08" y="3014"/>
                <a:ext cx="7" cy="2"/>
              </a:xfrm>
              <a:custGeom>
                <a:avLst/>
                <a:gdLst>
                  <a:gd name="T0" fmla="*/ 7 w 14"/>
                  <a:gd name="T1" fmla="*/ 0 h 5"/>
                  <a:gd name="T2" fmla="*/ 1 w 14"/>
                  <a:gd name="T3" fmla="*/ 2 h 5"/>
                  <a:gd name="T4" fmla="*/ 0 w 14"/>
                  <a:gd name="T5" fmla="*/ 0 h 5"/>
                  <a:gd name="T6" fmla="*/ 7 w 14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4" h="5">
                    <a:moveTo>
                      <a:pt x="14" y="0"/>
                    </a:moveTo>
                    <a:lnTo>
                      <a:pt x="1" y="5"/>
                    </a:lnTo>
                    <a:lnTo>
                      <a:pt x="0" y="1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68" name="Freeform 398">
                <a:extLst>
                  <a:ext uri="{FF2B5EF4-FFF2-40B4-BE49-F238E27FC236}">
                    <a16:creationId xmlns:a16="http://schemas.microsoft.com/office/drawing/2014/main" id="{D8C0B512-8CBC-A08B-6A18-0134D4411AB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00" y="2990"/>
                <a:ext cx="8" cy="3"/>
              </a:xfrm>
              <a:custGeom>
                <a:avLst/>
                <a:gdLst>
                  <a:gd name="T0" fmla="*/ 7 w 17"/>
                  <a:gd name="T1" fmla="*/ 1 h 7"/>
                  <a:gd name="T2" fmla="*/ 0 w 17"/>
                  <a:gd name="T3" fmla="*/ 0 h 7"/>
                  <a:gd name="T4" fmla="*/ 8 w 17"/>
                  <a:gd name="T5" fmla="*/ 3 h 7"/>
                  <a:gd name="T6" fmla="*/ 7 w 17"/>
                  <a:gd name="T7" fmla="*/ 1 h 7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7" h="7">
                    <a:moveTo>
                      <a:pt x="14" y="3"/>
                    </a:moveTo>
                    <a:lnTo>
                      <a:pt x="0" y="0"/>
                    </a:lnTo>
                    <a:lnTo>
                      <a:pt x="17" y="7"/>
                    </a:lnTo>
                    <a:lnTo>
                      <a:pt x="14" y="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69" name="Freeform 399">
                <a:extLst>
                  <a:ext uri="{FF2B5EF4-FFF2-40B4-BE49-F238E27FC236}">
                    <a16:creationId xmlns:a16="http://schemas.microsoft.com/office/drawing/2014/main" id="{3A991C1A-8DA2-942C-621E-ADF1596D03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21" y="3120"/>
                <a:ext cx="6" cy="1"/>
              </a:xfrm>
              <a:custGeom>
                <a:avLst/>
                <a:gdLst>
                  <a:gd name="T0" fmla="*/ 6 w 12"/>
                  <a:gd name="T1" fmla="*/ 0 h 1"/>
                  <a:gd name="T2" fmla="*/ 0 w 12"/>
                  <a:gd name="T3" fmla="*/ 0 h 1"/>
                  <a:gd name="T4" fmla="*/ 3 w 12"/>
                  <a:gd name="T5" fmla="*/ 0 h 1"/>
                  <a:gd name="T6" fmla="*/ 6 w 12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2" h="1">
                    <a:moveTo>
                      <a:pt x="12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70" name="Freeform 400">
                <a:extLst>
                  <a:ext uri="{FF2B5EF4-FFF2-40B4-BE49-F238E27FC236}">
                    <a16:creationId xmlns:a16="http://schemas.microsoft.com/office/drawing/2014/main" id="{13720F6D-B774-B1D4-61B6-17F7CFBD10D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67" y="3249"/>
                <a:ext cx="2" cy="1"/>
              </a:xfrm>
              <a:custGeom>
                <a:avLst/>
                <a:gdLst>
                  <a:gd name="T0" fmla="*/ 2 w 3"/>
                  <a:gd name="T1" fmla="*/ 0 h 1"/>
                  <a:gd name="T2" fmla="*/ 1 w 3"/>
                  <a:gd name="T3" fmla="*/ 0 h 1"/>
                  <a:gd name="T4" fmla="*/ 0 w 3"/>
                  <a:gd name="T5" fmla="*/ 0 h 1"/>
                  <a:gd name="T6" fmla="*/ 0 w 3"/>
                  <a:gd name="T7" fmla="*/ 0 h 1"/>
                  <a:gd name="T8" fmla="*/ 1 w 3"/>
                  <a:gd name="T9" fmla="*/ 0 h 1"/>
                  <a:gd name="T10" fmla="*/ 2 w 3"/>
                  <a:gd name="T11" fmla="*/ 0 h 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71" name="Freeform 401">
                <a:extLst>
                  <a:ext uri="{FF2B5EF4-FFF2-40B4-BE49-F238E27FC236}">
                    <a16:creationId xmlns:a16="http://schemas.microsoft.com/office/drawing/2014/main" id="{36D481F2-9920-EF47-3AA3-5F6AB3D40E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94" y="3200"/>
                <a:ext cx="41" cy="14"/>
              </a:xfrm>
              <a:custGeom>
                <a:avLst/>
                <a:gdLst>
                  <a:gd name="T0" fmla="*/ 15 w 93"/>
                  <a:gd name="T1" fmla="*/ 0 h 33"/>
                  <a:gd name="T2" fmla="*/ 15 w 93"/>
                  <a:gd name="T3" fmla="*/ 0 h 33"/>
                  <a:gd name="T4" fmla="*/ 13 w 93"/>
                  <a:gd name="T5" fmla="*/ 2 h 33"/>
                  <a:gd name="T6" fmla="*/ 11 w 93"/>
                  <a:gd name="T7" fmla="*/ 3 h 33"/>
                  <a:gd name="T8" fmla="*/ 11 w 93"/>
                  <a:gd name="T9" fmla="*/ 3 h 33"/>
                  <a:gd name="T10" fmla="*/ 8 w 93"/>
                  <a:gd name="T11" fmla="*/ 6 h 33"/>
                  <a:gd name="T12" fmla="*/ 5 w 93"/>
                  <a:gd name="T13" fmla="*/ 7 h 33"/>
                  <a:gd name="T14" fmla="*/ 2 w 93"/>
                  <a:gd name="T15" fmla="*/ 7 h 33"/>
                  <a:gd name="T16" fmla="*/ 0 w 93"/>
                  <a:gd name="T17" fmla="*/ 6 h 33"/>
                  <a:gd name="T18" fmla="*/ 5 w 93"/>
                  <a:gd name="T19" fmla="*/ 13 h 33"/>
                  <a:gd name="T20" fmla="*/ 7 w 93"/>
                  <a:gd name="T21" fmla="*/ 14 h 33"/>
                  <a:gd name="T22" fmla="*/ 16 w 93"/>
                  <a:gd name="T23" fmla="*/ 14 h 33"/>
                  <a:gd name="T24" fmla="*/ 27 w 93"/>
                  <a:gd name="T25" fmla="*/ 9 h 33"/>
                  <a:gd name="T26" fmla="*/ 40 w 93"/>
                  <a:gd name="T27" fmla="*/ 9 h 33"/>
                  <a:gd name="T28" fmla="*/ 41 w 93"/>
                  <a:gd name="T29" fmla="*/ 3 h 33"/>
                  <a:gd name="T30" fmla="*/ 30 w 93"/>
                  <a:gd name="T31" fmla="*/ 0 h 33"/>
                  <a:gd name="T32" fmla="*/ 24 w 93"/>
                  <a:gd name="T33" fmla="*/ 2 h 33"/>
                  <a:gd name="T34" fmla="*/ 23 w 93"/>
                  <a:gd name="T35" fmla="*/ 0 h 33"/>
                  <a:gd name="T36" fmla="*/ 15 w 93"/>
                  <a:gd name="T37" fmla="*/ 0 h 3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93" h="33">
                    <a:moveTo>
                      <a:pt x="34" y="0"/>
                    </a:moveTo>
                    <a:lnTo>
                      <a:pt x="34" y="1"/>
                    </a:lnTo>
                    <a:lnTo>
                      <a:pt x="29" y="5"/>
                    </a:lnTo>
                    <a:lnTo>
                      <a:pt x="25" y="6"/>
                    </a:lnTo>
                    <a:lnTo>
                      <a:pt x="25" y="8"/>
                    </a:lnTo>
                    <a:lnTo>
                      <a:pt x="19" y="13"/>
                    </a:lnTo>
                    <a:lnTo>
                      <a:pt x="11" y="16"/>
                    </a:lnTo>
                    <a:lnTo>
                      <a:pt x="5" y="16"/>
                    </a:lnTo>
                    <a:lnTo>
                      <a:pt x="0" y="15"/>
                    </a:lnTo>
                    <a:lnTo>
                      <a:pt x="11" y="30"/>
                    </a:lnTo>
                    <a:lnTo>
                      <a:pt x="16" y="33"/>
                    </a:lnTo>
                    <a:lnTo>
                      <a:pt x="36" y="33"/>
                    </a:lnTo>
                    <a:lnTo>
                      <a:pt x="62" y="21"/>
                    </a:lnTo>
                    <a:lnTo>
                      <a:pt x="90" y="21"/>
                    </a:lnTo>
                    <a:lnTo>
                      <a:pt x="93" y="8"/>
                    </a:lnTo>
                    <a:lnTo>
                      <a:pt x="68" y="1"/>
                    </a:lnTo>
                    <a:lnTo>
                      <a:pt x="54" y="5"/>
                    </a:lnTo>
                    <a:lnTo>
                      <a:pt x="53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72" name="Freeform 402">
                <a:extLst>
                  <a:ext uri="{FF2B5EF4-FFF2-40B4-BE49-F238E27FC236}">
                    <a16:creationId xmlns:a16="http://schemas.microsoft.com/office/drawing/2014/main" id="{12FD8A97-C458-17E9-F6CC-F891AE0870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73" y="3223"/>
                <a:ext cx="22" cy="13"/>
              </a:xfrm>
              <a:custGeom>
                <a:avLst/>
                <a:gdLst>
                  <a:gd name="T0" fmla="*/ 4 w 49"/>
                  <a:gd name="T1" fmla="*/ 13 h 28"/>
                  <a:gd name="T2" fmla="*/ 8 w 49"/>
                  <a:gd name="T3" fmla="*/ 13 h 28"/>
                  <a:gd name="T4" fmla="*/ 8 w 49"/>
                  <a:gd name="T5" fmla="*/ 12 h 28"/>
                  <a:gd name="T6" fmla="*/ 9 w 49"/>
                  <a:gd name="T7" fmla="*/ 12 h 28"/>
                  <a:gd name="T8" fmla="*/ 10 w 49"/>
                  <a:gd name="T9" fmla="*/ 12 h 28"/>
                  <a:gd name="T10" fmla="*/ 11 w 49"/>
                  <a:gd name="T11" fmla="*/ 12 h 28"/>
                  <a:gd name="T12" fmla="*/ 12 w 49"/>
                  <a:gd name="T13" fmla="*/ 13 h 28"/>
                  <a:gd name="T14" fmla="*/ 14 w 49"/>
                  <a:gd name="T15" fmla="*/ 13 h 28"/>
                  <a:gd name="T16" fmla="*/ 13 w 49"/>
                  <a:gd name="T17" fmla="*/ 12 h 28"/>
                  <a:gd name="T18" fmla="*/ 13 w 49"/>
                  <a:gd name="T19" fmla="*/ 11 h 28"/>
                  <a:gd name="T20" fmla="*/ 16 w 49"/>
                  <a:gd name="T21" fmla="*/ 10 h 28"/>
                  <a:gd name="T22" fmla="*/ 17 w 49"/>
                  <a:gd name="T23" fmla="*/ 10 h 28"/>
                  <a:gd name="T24" fmla="*/ 17 w 49"/>
                  <a:gd name="T25" fmla="*/ 7 h 28"/>
                  <a:gd name="T26" fmla="*/ 16 w 49"/>
                  <a:gd name="T27" fmla="*/ 7 h 28"/>
                  <a:gd name="T28" fmla="*/ 16 w 49"/>
                  <a:gd name="T29" fmla="*/ 5 h 28"/>
                  <a:gd name="T30" fmla="*/ 18 w 49"/>
                  <a:gd name="T31" fmla="*/ 5 h 28"/>
                  <a:gd name="T32" fmla="*/ 18 w 49"/>
                  <a:gd name="T33" fmla="*/ 4 h 28"/>
                  <a:gd name="T34" fmla="*/ 21 w 49"/>
                  <a:gd name="T35" fmla="*/ 4 h 28"/>
                  <a:gd name="T36" fmla="*/ 21 w 49"/>
                  <a:gd name="T37" fmla="*/ 4 h 28"/>
                  <a:gd name="T38" fmla="*/ 22 w 49"/>
                  <a:gd name="T39" fmla="*/ 4 h 28"/>
                  <a:gd name="T40" fmla="*/ 22 w 49"/>
                  <a:gd name="T41" fmla="*/ 2 h 28"/>
                  <a:gd name="T42" fmla="*/ 20 w 49"/>
                  <a:gd name="T43" fmla="*/ 0 h 28"/>
                  <a:gd name="T44" fmla="*/ 18 w 49"/>
                  <a:gd name="T45" fmla="*/ 0 h 28"/>
                  <a:gd name="T46" fmla="*/ 4 w 49"/>
                  <a:gd name="T47" fmla="*/ 4 h 28"/>
                  <a:gd name="T48" fmla="*/ 1 w 49"/>
                  <a:gd name="T49" fmla="*/ 3 h 28"/>
                  <a:gd name="T50" fmla="*/ 0 w 49"/>
                  <a:gd name="T51" fmla="*/ 6 h 28"/>
                  <a:gd name="T52" fmla="*/ 2 w 49"/>
                  <a:gd name="T53" fmla="*/ 12 h 28"/>
                  <a:gd name="T54" fmla="*/ 4 w 49"/>
                  <a:gd name="T55" fmla="*/ 13 h 28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9" h="28">
                    <a:moveTo>
                      <a:pt x="9" y="28"/>
                    </a:moveTo>
                    <a:lnTo>
                      <a:pt x="17" y="28"/>
                    </a:lnTo>
                    <a:lnTo>
                      <a:pt x="18" y="26"/>
                    </a:lnTo>
                    <a:lnTo>
                      <a:pt x="21" y="26"/>
                    </a:lnTo>
                    <a:lnTo>
                      <a:pt x="23" y="26"/>
                    </a:lnTo>
                    <a:lnTo>
                      <a:pt x="24" y="26"/>
                    </a:lnTo>
                    <a:lnTo>
                      <a:pt x="26" y="28"/>
                    </a:lnTo>
                    <a:lnTo>
                      <a:pt x="31" y="28"/>
                    </a:lnTo>
                    <a:lnTo>
                      <a:pt x="29" y="26"/>
                    </a:lnTo>
                    <a:lnTo>
                      <a:pt x="29" y="23"/>
                    </a:lnTo>
                    <a:lnTo>
                      <a:pt x="35" y="21"/>
                    </a:lnTo>
                    <a:lnTo>
                      <a:pt x="37" y="21"/>
                    </a:lnTo>
                    <a:lnTo>
                      <a:pt x="37" y="16"/>
                    </a:lnTo>
                    <a:lnTo>
                      <a:pt x="35" y="16"/>
                    </a:lnTo>
                    <a:lnTo>
                      <a:pt x="35" y="11"/>
                    </a:lnTo>
                    <a:lnTo>
                      <a:pt x="40" y="11"/>
                    </a:lnTo>
                    <a:lnTo>
                      <a:pt x="40" y="8"/>
                    </a:lnTo>
                    <a:lnTo>
                      <a:pt x="46" y="8"/>
                    </a:lnTo>
                    <a:lnTo>
                      <a:pt x="48" y="8"/>
                    </a:lnTo>
                    <a:lnTo>
                      <a:pt x="49" y="5"/>
                    </a:lnTo>
                    <a:lnTo>
                      <a:pt x="45" y="1"/>
                    </a:lnTo>
                    <a:lnTo>
                      <a:pt x="41" y="0"/>
                    </a:lnTo>
                    <a:lnTo>
                      <a:pt x="10" y="8"/>
                    </a:lnTo>
                    <a:lnTo>
                      <a:pt x="3" y="6"/>
                    </a:lnTo>
                    <a:lnTo>
                      <a:pt x="0" y="13"/>
                    </a:lnTo>
                    <a:lnTo>
                      <a:pt x="4" y="26"/>
                    </a:lnTo>
                    <a:lnTo>
                      <a:pt x="9" y="2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73" name="Freeform 403">
                <a:extLst>
                  <a:ext uri="{FF2B5EF4-FFF2-40B4-BE49-F238E27FC236}">
                    <a16:creationId xmlns:a16="http://schemas.microsoft.com/office/drawing/2014/main" id="{BF047D37-3FF8-16A9-1CF9-D2711FA4C6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51" y="3038"/>
                <a:ext cx="73" cy="111"/>
              </a:xfrm>
              <a:custGeom>
                <a:avLst/>
                <a:gdLst>
                  <a:gd name="T0" fmla="*/ 51 w 167"/>
                  <a:gd name="T1" fmla="*/ 43 h 254"/>
                  <a:gd name="T2" fmla="*/ 43 w 167"/>
                  <a:gd name="T3" fmla="*/ 48 h 254"/>
                  <a:gd name="T4" fmla="*/ 38 w 167"/>
                  <a:gd name="T5" fmla="*/ 52 h 254"/>
                  <a:gd name="T6" fmla="*/ 37 w 167"/>
                  <a:gd name="T7" fmla="*/ 58 h 254"/>
                  <a:gd name="T8" fmla="*/ 45 w 167"/>
                  <a:gd name="T9" fmla="*/ 70 h 254"/>
                  <a:gd name="T10" fmla="*/ 43 w 167"/>
                  <a:gd name="T11" fmla="*/ 77 h 254"/>
                  <a:gd name="T12" fmla="*/ 39 w 167"/>
                  <a:gd name="T13" fmla="*/ 76 h 254"/>
                  <a:gd name="T14" fmla="*/ 45 w 167"/>
                  <a:gd name="T15" fmla="*/ 78 h 254"/>
                  <a:gd name="T16" fmla="*/ 41 w 167"/>
                  <a:gd name="T17" fmla="*/ 80 h 254"/>
                  <a:gd name="T18" fmla="*/ 34 w 167"/>
                  <a:gd name="T19" fmla="*/ 83 h 254"/>
                  <a:gd name="T20" fmla="*/ 35 w 167"/>
                  <a:gd name="T21" fmla="*/ 86 h 254"/>
                  <a:gd name="T22" fmla="*/ 37 w 167"/>
                  <a:gd name="T23" fmla="*/ 91 h 254"/>
                  <a:gd name="T24" fmla="*/ 35 w 167"/>
                  <a:gd name="T25" fmla="*/ 97 h 254"/>
                  <a:gd name="T26" fmla="*/ 22 w 167"/>
                  <a:gd name="T27" fmla="*/ 107 h 254"/>
                  <a:gd name="T28" fmla="*/ 14 w 167"/>
                  <a:gd name="T29" fmla="*/ 111 h 254"/>
                  <a:gd name="T30" fmla="*/ 10 w 167"/>
                  <a:gd name="T31" fmla="*/ 99 h 254"/>
                  <a:gd name="T32" fmla="*/ 5 w 167"/>
                  <a:gd name="T33" fmla="*/ 87 h 254"/>
                  <a:gd name="T34" fmla="*/ 0 w 167"/>
                  <a:gd name="T35" fmla="*/ 81 h 254"/>
                  <a:gd name="T36" fmla="*/ 5 w 167"/>
                  <a:gd name="T37" fmla="*/ 73 h 254"/>
                  <a:gd name="T38" fmla="*/ 6 w 167"/>
                  <a:gd name="T39" fmla="*/ 64 h 254"/>
                  <a:gd name="T40" fmla="*/ 4 w 167"/>
                  <a:gd name="T41" fmla="*/ 58 h 254"/>
                  <a:gd name="T42" fmla="*/ 4 w 167"/>
                  <a:gd name="T43" fmla="*/ 42 h 254"/>
                  <a:gd name="T44" fmla="*/ 14 w 167"/>
                  <a:gd name="T45" fmla="*/ 38 h 254"/>
                  <a:gd name="T46" fmla="*/ 16 w 167"/>
                  <a:gd name="T47" fmla="*/ 25 h 254"/>
                  <a:gd name="T48" fmla="*/ 20 w 167"/>
                  <a:gd name="T49" fmla="*/ 22 h 254"/>
                  <a:gd name="T50" fmla="*/ 26 w 167"/>
                  <a:gd name="T51" fmla="*/ 10 h 254"/>
                  <a:gd name="T52" fmla="*/ 35 w 167"/>
                  <a:gd name="T53" fmla="*/ 4 h 254"/>
                  <a:gd name="T54" fmla="*/ 44 w 167"/>
                  <a:gd name="T55" fmla="*/ 0 h 254"/>
                  <a:gd name="T56" fmla="*/ 63 w 167"/>
                  <a:gd name="T57" fmla="*/ 7 h 254"/>
                  <a:gd name="T58" fmla="*/ 73 w 167"/>
                  <a:gd name="T59" fmla="*/ 25 h 254"/>
                  <a:gd name="T60" fmla="*/ 62 w 167"/>
                  <a:gd name="T61" fmla="*/ 26 h 254"/>
                  <a:gd name="T62" fmla="*/ 60 w 167"/>
                  <a:gd name="T63" fmla="*/ 28 h 254"/>
                  <a:gd name="T64" fmla="*/ 56 w 167"/>
                  <a:gd name="T65" fmla="*/ 33 h 25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67" h="254">
                    <a:moveTo>
                      <a:pt x="132" y="85"/>
                    </a:moveTo>
                    <a:lnTo>
                      <a:pt x="116" y="98"/>
                    </a:lnTo>
                    <a:lnTo>
                      <a:pt x="104" y="106"/>
                    </a:lnTo>
                    <a:lnTo>
                      <a:pt x="98" y="110"/>
                    </a:lnTo>
                    <a:lnTo>
                      <a:pt x="88" y="111"/>
                    </a:lnTo>
                    <a:lnTo>
                      <a:pt x="87" y="119"/>
                    </a:lnTo>
                    <a:lnTo>
                      <a:pt x="84" y="123"/>
                    </a:lnTo>
                    <a:lnTo>
                      <a:pt x="84" y="133"/>
                    </a:lnTo>
                    <a:lnTo>
                      <a:pt x="87" y="154"/>
                    </a:lnTo>
                    <a:lnTo>
                      <a:pt x="104" y="161"/>
                    </a:lnTo>
                    <a:lnTo>
                      <a:pt x="111" y="169"/>
                    </a:lnTo>
                    <a:lnTo>
                      <a:pt x="98" y="177"/>
                    </a:lnTo>
                    <a:lnTo>
                      <a:pt x="90" y="171"/>
                    </a:lnTo>
                    <a:lnTo>
                      <a:pt x="90" y="174"/>
                    </a:lnTo>
                    <a:lnTo>
                      <a:pt x="71" y="176"/>
                    </a:lnTo>
                    <a:lnTo>
                      <a:pt x="104" y="179"/>
                    </a:lnTo>
                    <a:lnTo>
                      <a:pt x="98" y="186"/>
                    </a:lnTo>
                    <a:lnTo>
                      <a:pt x="94" y="184"/>
                    </a:lnTo>
                    <a:lnTo>
                      <a:pt x="84" y="191"/>
                    </a:lnTo>
                    <a:lnTo>
                      <a:pt x="77" y="191"/>
                    </a:lnTo>
                    <a:lnTo>
                      <a:pt x="84" y="196"/>
                    </a:lnTo>
                    <a:lnTo>
                      <a:pt x="80" y="196"/>
                    </a:lnTo>
                    <a:lnTo>
                      <a:pt x="80" y="204"/>
                    </a:lnTo>
                    <a:lnTo>
                      <a:pt x="84" y="209"/>
                    </a:lnTo>
                    <a:lnTo>
                      <a:pt x="80" y="207"/>
                    </a:lnTo>
                    <a:lnTo>
                      <a:pt x="79" y="222"/>
                    </a:lnTo>
                    <a:lnTo>
                      <a:pt x="76" y="237"/>
                    </a:lnTo>
                    <a:lnTo>
                      <a:pt x="51" y="244"/>
                    </a:lnTo>
                    <a:lnTo>
                      <a:pt x="48" y="254"/>
                    </a:lnTo>
                    <a:lnTo>
                      <a:pt x="33" y="254"/>
                    </a:lnTo>
                    <a:lnTo>
                      <a:pt x="26" y="237"/>
                    </a:lnTo>
                    <a:lnTo>
                      <a:pt x="23" y="226"/>
                    </a:lnTo>
                    <a:lnTo>
                      <a:pt x="9" y="204"/>
                    </a:lnTo>
                    <a:lnTo>
                      <a:pt x="11" y="199"/>
                    </a:lnTo>
                    <a:lnTo>
                      <a:pt x="5" y="199"/>
                    </a:lnTo>
                    <a:lnTo>
                      <a:pt x="0" y="186"/>
                    </a:lnTo>
                    <a:lnTo>
                      <a:pt x="2" y="184"/>
                    </a:lnTo>
                    <a:lnTo>
                      <a:pt x="12" y="168"/>
                    </a:lnTo>
                    <a:lnTo>
                      <a:pt x="14" y="151"/>
                    </a:lnTo>
                    <a:lnTo>
                      <a:pt x="14" y="146"/>
                    </a:lnTo>
                    <a:lnTo>
                      <a:pt x="19" y="139"/>
                    </a:lnTo>
                    <a:lnTo>
                      <a:pt x="9" y="133"/>
                    </a:lnTo>
                    <a:lnTo>
                      <a:pt x="9" y="115"/>
                    </a:lnTo>
                    <a:lnTo>
                      <a:pt x="9" y="96"/>
                    </a:lnTo>
                    <a:lnTo>
                      <a:pt x="20" y="88"/>
                    </a:lnTo>
                    <a:lnTo>
                      <a:pt x="33" y="88"/>
                    </a:lnTo>
                    <a:lnTo>
                      <a:pt x="25" y="81"/>
                    </a:lnTo>
                    <a:lnTo>
                      <a:pt x="36" y="58"/>
                    </a:lnTo>
                    <a:lnTo>
                      <a:pt x="33" y="53"/>
                    </a:lnTo>
                    <a:lnTo>
                      <a:pt x="46" y="50"/>
                    </a:lnTo>
                    <a:lnTo>
                      <a:pt x="53" y="40"/>
                    </a:lnTo>
                    <a:lnTo>
                      <a:pt x="60" y="22"/>
                    </a:lnTo>
                    <a:lnTo>
                      <a:pt x="77" y="17"/>
                    </a:lnTo>
                    <a:lnTo>
                      <a:pt x="80" y="10"/>
                    </a:lnTo>
                    <a:lnTo>
                      <a:pt x="102" y="10"/>
                    </a:lnTo>
                    <a:lnTo>
                      <a:pt x="101" y="0"/>
                    </a:lnTo>
                    <a:lnTo>
                      <a:pt x="107" y="0"/>
                    </a:lnTo>
                    <a:lnTo>
                      <a:pt x="145" y="17"/>
                    </a:lnTo>
                    <a:lnTo>
                      <a:pt x="159" y="40"/>
                    </a:lnTo>
                    <a:lnTo>
                      <a:pt x="167" y="58"/>
                    </a:lnTo>
                    <a:lnTo>
                      <a:pt x="149" y="58"/>
                    </a:lnTo>
                    <a:lnTo>
                      <a:pt x="141" y="60"/>
                    </a:lnTo>
                    <a:lnTo>
                      <a:pt x="141" y="63"/>
                    </a:lnTo>
                    <a:lnTo>
                      <a:pt x="138" y="63"/>
                    </a:lnTo>
                    <a:lnTo>
                      <a:pt x="132" y="66"/>
                    </a:lnTo>
                    <a:lnTo>
                      <a:pt x="128" y="76"/>
                    </a:lnTo>
                    <a:lnTo>
                      <a:pt x="132" y="8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74" name="Freeform 404">
                <a:extLst>
                  <a:ext uri="{FF2B5EF4-FFF2-40B4-BE49-F238E27FC236}">
                    <a16:creationId xmlns:a16="http://schemas.microsoft.com/office/drawing/2014/main" id="{C8D84276-E1D6-D99A-3AF8-E862499B0E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22" y="3217"/>
                <a:ext cx="30" cy="15"/>
              </a:xfrm>
              <a:custGeom>
                <a:avLst/>
                <a:gdLst>
                  <a:gd name="T0" fmla="*/ 29 w 70"/>
                  <a:gd name="T1" fmla="*/ 9 h 33"/>
                  <a:gd name="T2" fmla="*/ 27 w 70"/>
                  <a:gd name="T3" fmla="*/ 11 h 33"/>
                  <a:gd name="T4" fmla="*/ 22 w 70"/>
                  <a:gd name="T5" fmla="*/ 11 h 33"/>
                  <a:gd name="T6" fmla="*/ 18 w 70"/>
                  <a:gd name="T7" fmla="*/ 15 h 33"/>
                  <a:gd name="T8" fmla="*/ 15 w 70"/>
                  <a:gd name="T9" fmla="*/ 11 h 33"/>
                  <a:gd name="T10" fmla="*/ 11 w 70"/>
                  <a:gd name="T11" fmla="*/ 14 h 33"/>
                  <a:gd name="T12" fmla="*/ 7 w 70"/>
                  <a:gd name="T13" fmla="*/ 15 h 33"/>
                  <a:gd name="T14" fmla="*/ 2 w 70"/>
                  <a:gd name="T15" fmla="*/ 10 h 33"/>
                  <a:gd name="T16" fmla="*/ 0 w 70"/>
                  <a:gd name="T17" fmla="*/ 12 h 33"/>
                  <a:gd name="T18" fmla="*/ 6 w 70"/>
                  <a:gd name="T19" fmla="*/ 3 h 33"/>
                  <a:gd name="T20" fmla="*/ 7 w 70"/>
                  <a:gd name="T21" fmla="*/ 1 h 33"/>
                  <a:gd name="T22" fmla="*/ 10 w 70"/>
                  <a:gd name="T23" fmla="*/ 1 h 33"/>
                  <a:gd name="T24" fmla="*/ 17 w 70"/>
                  <a:gd name="T25" fmla="*/ 0 h 33"/>
                  <a:gd name="T26" fmla="*/ 23 w 70"/>
                  <a:gd name="T27" fmla="*/ 1 h 33"/>
                  <a:gd name="T28" fmla="*/ 23 w 70"/>
                  <a:gd name="T29" fmla="*/ 4 h 33"/>
                  <a:gd name="T30" fmla="*/ 23 w 70"/>
                  <a:gd name="T31" fmla="*/ 5 h 33"/>
                  <a:gd name="T32" fmla="*/ 23 w 70"/>
                  <a:gd name="T33" fmla="*/ 5 h 33"/>
                  <a:gd name="T34" fmla="*/ 24 w 70"/>
                  <a:gd name="T35" fmla="*/ 5 h 33"/>
                  <a:gd name="T36" fmla="*/ 30 w 70"/>
                  <a:gd name="T37" fmla="*/ 7 h 33"/>
                  <a:gd name="T38" fmla="*/ 30 w 70"/>
                  <a:gd name="T39" fmla="*/ 7 h 33"/>
                  <a:gd name="T40" fmla="*/ 29 w 70"/>
                  <a:gd name="T41" fmla="*/ 9 h 3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70" h="33">
                    <a:moveTo>
                      <a:pt x="67" y="20"/>
                    </a:moveTo>
                    <a:lnTo>
                      <a:pt x="62" y="25"/>
                    </a:lnTo>
                    <a:lnTo>
                      <a:pt x="51" y="25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5" y="31"/>
                    </a:lnTo>
                    <a:lnTo>
                      <a:pt x="16" y="33"/>
                    </a:lnTo>
                    <a:lnTo>
                      <a:pt x="5" y="23"/>
                    </a:lnTo>
                    <a:lnTo>
                      <a:pt x="0" y="26"/>
                    </a:lnTo>
                    <a:lnTo>
                      <a:pt x="14" y="7"/>
                    </a:lnTo>
                    <a:lnTo>
                      <a:pt x="16" y="3"/>
                    </a:lnTo>
                    <a:lnTo>
                      <a:pt x="23" y="2"/>
                    </a:lnTo>
                    <a:lnTo>
                      <a:pt x="39" y="0"/>
                    </a:lnTo>
                    <a:lnTo>
                      <a:pt x="54" y="2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53" y="12"/>
                    </a:lnTo>
                    <a:lnTo>
                      <a:pt x="57" y="12"/>
                    </a:lnTo>
                    <a:lnTo>
                      <a:pt x="70" y="15"/>
                    </a:lnTo>
                    <a:lnTo>
                      <a:pt x="67" y="2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75" name="Freeform 405">
                <a:extLst>
                  <a:ext uri="{FF2B5EF4-FFF2-40B4-BE49-F238E27FC236}">
                    <a16:creationId xmlns:a16="http://schemas.microsoft.com/office/drawing/2014/main" id="{EA03DBB3-0D89-78B7-7F4A-ADEA001419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33" y="3174"/>
                <a:ext cx="130" cy="71"/>
              </a:xfrm>
              <a:custGeom>
                <a:avLst/>
                <a:gdLst>
                  <a:gd name="T0" fmla="*/ 69 w 292"/>
                  <a:gd name="T1" fmla="*/ 0 h 163"/>
                  <a:gd name="T2" fmla="*/ 63 w 292"/>
                  <a:gd name="T3" fmla="*/ 2 h 163"/>
                  <a:gd name="T4" fmla="*/ 54 w 292"/>
                  <a:gd name="T5" fmla="*/ 6 h 163"/>
                  <a:gd name="T6" fmla="*/ 55 w 292"/>
                  <a:gd name="T7" fmla="*/ 9 h 163"/>
                  <a:gd name="T8" fmla="*/ 43 w 292"/>
                  <a:gd name="T9" fmla="*/ 7 h 163"/>
                  <a:gd name="T10" fmla="*/ 30 w 292"/>
                  <a:gd name="T11" fmla="*/ 4 h 163"/>
                  <a:gd name="T12" fmla="*/ 19 w 292"/>
                  <a:gd name="T13" fmla="*/ 4 h 163"/>
                  <a:gd name="T14" fmla="*/ 6 w 292"/>
                  <a:gd name="T15" fmla="*/ 4 h 163"/>
                  <a:gd name="T16" fmla="*/ 10 w 292"/>
                  <a:gd name="T17" fmla="*/ 14 h 163"/>
                  <a:gd name="T18" fmla="*/ 9 w 292"/>
                  <a:gd name="T19" fmla="*/ 18 h 163"/>
                  <a:gd name="T20" fmla="*/ 3 w 292"/>
                  <a:gd name="T21" fmla="*/ 27 h 163"/>
                  <a:gd name="T22" fmla="*/ 1 w 292"/>
                  <a:gd name="T23" fmla="*/ 30 h 163"/>
                  <a:gd name="T24" fmla="*/ 0 w 292"/>
                  <a:gd name="T25" fmla="*/ 35 h 163"/>
                  <a:gd name="T26" fmla="*/ 5 w 292"/>
                  <a:gd name="T27" fmla="*/ 40 h 163"/>
                  <a:gd name="T28" fmla="*/ 6 w 292"/>
                  <a:gd name="T29" fmla="*/ 40 h 163"/>
                  <a:gd name="T30" fmla="*/ 19 w 292"/>
                  <a:gd name="T31" fmla="*/ 41 h 163"/>
                  <a:gd name="T32" fmla="*/ 31 w 292"/>
                  <a:gd name="T33" fmla="*/ 37 h 163"/>
                  <a:gd name="T34" fmla="*/ 38 w 292"/>
                  <a:gd name="T35" fmla="*/ 32 h 163"/>
                  <a:gd name="T36" fmla="*/ 40 w 292"/>
                  <a:gd name="T37" fmla="*/ 33 h 163"/>
                  <a:gd name="T38" fmla="*/ 46 w 292"/>
                  <a:gd name="T39" fmla="*/ 38 h 163"/>
                  <a:gd name="T40" fmla="*/ 52 w 292"/>
                  <a:gd name="T41" fmla="*/ 44 h 163"/>
                  <a:gd name="T42" fmla="*/ 57 w 292"/>
                  <a:gd name="T43" fmla="*/ 49 h 163"/>
                  <a:gd name="T44" fmla="*/ 63 w 292"/>
                  <a:gd name="T45" fmla="*/ 54 h 163"/>
                  <a:gd name="T46" fmla="*/ 69 w 292"/>
                  <a:gd name="T47" fmla="*/ 51 h 163"/>
                  <a:gd name="T48" fmla="*/ 71 w 292"/>
                  <a:gd name="T49" fmla="*/ 51 h 163"/>
                  <a:gd name="T50" fmla="*/ 70 w 292"/>
                  <a:gd name="T51" fmla="*/ 47 h 163"/>
                  <a:gd name="T52" fmla="*/ 72 w 292"/>
                  <a:gd name="T53" fmla="*/ 51 h 163"/>
                  <a:gd name="T54" fmla="*/ 77 w 292"/>
                  <a:gd name="T55" fmla="*/ 51 h 163"/>
                  <a:gd name="T56" fmla="*/ 69 w 292"/>
                  <a:gd name="T57" fmla="*/ 52 h 163"/>
                  <a:gd name="T58" fmla="*/ 72 w 292"/>
                  <a:gd name="T59" fmla="*/ 54 h 163"/>
                  <a:gd name="T60" fmla="*/ 78 w 292"/>
                  <a:gd name="T61" fmla="*/ 56 h 163"/>
                  <a:gd name="T62" fmla="*/ 85 w 292"/>
                  <a:gd name="T63" fmla="*/ 57 h 163"/>
                  <a:gd name="T64" fmla="*/ 78 w 292"/>
                  <a:gd name="T65" fmla="*/ 61 h 163"/>
                  <a:gd name="T66" fmla="*/ 82 w 292"/>
                  <a:gd name="T67" fmla="*/ 64 h 163"/>
                  <a:gd name="T68" fmla="*/ 85 w 292"/>
                  <a:gd name="T69" fmla="*/ 67 h 163"/>
                  <a:gd name="T70" fmla="*/ 87 w 292"/>
                  <a:gd name="T71" fmla="*/ 71 h 163"/>
                  <a:gd name="T72" fmla="*/ 98 w 292"/>
                  <a:gd name="T73" fmla="*/ 67 h 163"/>
                  <a:gd name="T74" fmla="*/ 102 w 292"/>
                  <a:gd name="T75" fmla="*/ 66 h 163"/>
                  <a:gd name="T76" fmla="*/ 107 w 292"/>
                  <a:gd name="T77" fmla="*/ 64 h 163"/>
                  <a:gd name="T78" fmla="*/ 101 w 292"/>
                  <a:gd name="T79" fmla="*/ 63 h 163"/>
                  <a:gd name="T80" fmla="*/ 93 w 292"/>
                  <a:gd name="T81" fmla="*/ 57 h 163"/>
                  <a:gd name="T82" fmla="*/ 96 w 292"/>
                  <a:gd name="T83" fmla="*/ 53 h 163"/>
                  <a:gd name="T84" fmla="*/ 95 w 292"/>
                  <a:gd name="T85" fmla="*/ 56 h 163"/>
                  <a:gd name="T86" fmla="*/ 97 w 292"/>
                  <a:gd name="T87" fmla="*/ 54 h 163"/>
                  <a:gd name="T88" fmla="*/ 107 w 292"/>
                  <a:gd name="T89" fmla="*/ 51 h 163"/>
                  <a:gd name="T90" fmla="*/ 118 w 292"/>
                  <a:gd name="T91" fmla="*/ 46 h 163"/>
                  <a:gd name="T92" fmla="*/ 122 w 292"/>
                  <a:gd name="T93" fmla="*/ 46 h 163"/>
                  <a:gd name="T94" fmla="*/ 125 w 292"/>
                  <a:gd name="T95" fmla="*/ 41 h 163"/>
                  <a:gd name="T96" fmla="*/ 130 w 292"/>
                  <a:gd name="T97" fmla="*/ 38 h 163"/>
                  <a:gd name="T98" fmla="*/ 126 w 292"/>
                  <a:gd name="T99" fmla="*/ 25 h 163"/>
                  <a:gd name="T100" fmla="*/ 114 w 292"/>
                  <a:gd name="T101" fmla="*/ 22 h 163"/>
                  <a:gd name="T102" fmla="*/ 104 w 292"/>
                  <a:gd name="T103" fmla="*/ 19 h 163"/>
                  <a:gd name="T104" fmla="*/ 99 w 292"/>
                  <a:gd name="T105" fmla="*/ 20 h 163"/>
                  <a:gd name="T106" fmla="*/ 90 w 292"/>
                  <a:gd name="T107" fmla="*/ 12 h 163"/>
                  <a:gd name="T108" fmla="*/ 81 w 292"/>
                  <a:gd name="T109" fmla="*/ 4 h 163"/>
                  <a:gd name="T110" fmla="*/ 79 w 292"/>
                  <a:gd name="T111" fmla="*/ 1 h 163"/>
                  <a:gd name="T112" fmla="*/ 69 w 292"/>
                  <a:gd name="T113" fmla="*/ 0 h 16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92" h="163">
                    <a:moveTo>
                      <a:pt x="155" y="0"/>
                    </a:moveTo>
                    <a:lnTo>
                      <a:pt x="141" y="5"/>
                    </a:lnTo>
                    <a:lnTo>
                      <a:pt x="122" y="13"/>
                    </a:lnTo>
                    <a:lnTo>
                      <a:pt x="124" y="20"/>
                    </a:lnTo>
                    <a:lnTo>
                      <a:pt x="96" y="17"/>
                    </a:lnTo>
                    <a:lnTo>
                      <a:pt x="68" y="10"/>
                    </a:lnTo>
                    <a:lnTo>
                      <a:pt x="42" y="10"/>
                    </a:lnTo>
                    <a:lnTo>
                      <a:pt x="14" y="10"/>
                    </a:lnTo>
                    <a:lnTo>
                      <a:pt x="23" y="32"/>
                    </a:lnTo>
                    <a:lnTo>
                      <a:pt x="20" y="42"/>
                    </a:lnTo>
                    <a:lnTo>
                      <a:pt x="6" y="61"/>
                    </a:lnTo>
                    <a:lnTo>
                      <a:pt x="3" y="68"/>
                    </a:lnTo>
                    <a:lnTo>
                      <a:pt x="0" y="81"/>
                    </a:lnTo>
                    <a:lnTo>
                      <a:pt x="12" y="91"/>
                    </a:lnTo>
                    <a:lnTo>
                      <a:pt x="14" y="91"/>
                    </a:lnTo>
                    <a:lnTo>
                      <a:pt x="43" y="95"/>
                    </a:lnTo>
                    <a:lnTo>
                      <a:pt x="69" y="86"/>
                    </a:lnTo>
                    <a:lnTo>
                      <a:pt x="85" y="73"/>
                    </a:lnTo>
                    <a:lnTo>
                      <a:pt x="90" y="76"/>
                    </a:lnTo>
                    <a:lnTo>
                      <a:pt x="103" y="88"/>
                    </a:lnTo>
                    <a:lnTo>
                      <a:pt x="116" y="100"/>
                    </a:lnTo>
                    <a:lnTo>
                      <a:pt x="127" y="113"/>
                    </a:lnTo>
                    <a:lnTo>
                      <a:pt x="141" y="123"/>
                    </a:lnTo>
                    <a:lnTo>
                      <a:pt x="155" y="116"/>
                    </a:lnTo>
                    <a:lnTo>
                      <a:pt x="159" y="118"/>
                    </a:lnTo>
                    <a:lnTo>
                      <a:pt x="158" y="108"/>
                    </a:lnTo>
                    <a:lnTo>
                      <a:pt x="161" y="116"/>
                    </a:lnTo>
                    <a:lnTo>
                      <a:pt x="172" y="118"/>
                    </a:lnTo>
                    <a:lnTo>
                      <a:pt x="155" y="119"/>
                    </a:lnTo>
                    <a:lnTo>
                      <a:pt x="162" y="123"/>
                    </a:lnTo>
                    <a:lnTo>
                      <a:pt x="176" y="128"/>
                    </a:lnTo>
                    <a:lnTo>
                      <a:pt x="192" y="131"/>
                    </a:lnTo>
                    <a:lnTo>
                      <a:pt x="175" y="141"/>
                    </a:lnTo>
                    <a:lnTo>
                      <a:pt x="185" y="146"/>
                    </a:lnTo>
                    <a:lnTo>
                      <a:pt x="192" y="154"/>
                    </a:lnTo>
                    <a:lnTo>
                      <a:pt x="195" y="163"/>
                    </a:lnTo>
                    <a:lnTo>
                      <a:pt x="219" y="154"/>
                    </a:lnTo>
                    <a:lnTo>
                      <a:pt x="229" y="151"/>
                    </a:lnTo>
                    <a:lnTo>
                      <a:pt x="240" y="146"/>
                    </a:lnTo>
                    <a:lnTo>
                      <a:pt x="227" y="144"/>
                    </a:lnTo>
                    <a:lnTo>
                      <a:pt x="210" y="131"/>
                    </a:lnTo>
                    <a:lnTo>
                      <a:pt x="215" y="121"/>
                    </a:lnTo>
                    <a:lnTo>
                      <a:pt x="213" y="128"/>
                    </a:lnTo>
                    <a:lnTo>
                      <a:pt x="218" y="123"/>
                    </a:lnTo>
                    <a:lnTo>
                      <a:pt x="240" y="116"/>
                    </a:lnTo>
                    <a:lnTo>
                      <a:pt x="266" y="106"/>
                    </a:lnTo>
                    <a:lnTo>
                      <a:pt x="274" y="106"/>
                    </a:lnTo>
                    <a:lnTo>
                      <a:pt x="280" y="93"/>
                    </a:lnTo>
                    <a:lnTo>
                      <a:pt x="292" y="88"/>
                    </a:lnTo>
                    <a:lnTo>
                      <a:pt x="283" y="58"/>
                    </a:lnTo>
                    <a:lnTo>
                      <a:pt x="257" y="51"/>
                    </a:lnTo>
                    <a:lnTo>
                      <a:pt x="233" y="43"/>
                    </a:lnTo>
                    <a:lnTo>
                      <a:pt x="223" y="47"/>
                    </a:lnTo>
                    <a:lnTo>
                      <a:pt x="202" y="28"/>
                    </a:lnTo>
                    <a:lnTo>
                      <a:pt x="182" y="10"/>
                    </a:lnTo>
                    <a:lnTo>
                      <a:pt x="178" y="3"/>
                    </a:lnTo>
                    <a:lnTo>
                      <a:pt x="155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76" name="Freeform 406">
                <a:extLst>
                  <a:ext uri="{FF2B5EF4-FFF2-40B4-BE49-F238E27FC236}">
                    <a16:creationId xmlns:a16="http://schemas.microsoft.com/office/drawing/2014/main" id="{94CEFC77-000B-1A94-5A4F-0830C51085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8" y="3018"/>
                <a:ext cx="520" cy="251"/>
              </a:xfrm>
              <a:custGeom>
                <a:avLst/>
                <a:gdLst>
                  <a:gd name="T0" fmla="*/ 400 w 1178"/>
                  <a:gd name="T1" fmla="*/ 42 h 577"/>
                  <a:gd name="T2" fmla="*/ 424 w 1178"/>
                  <a:gd name="T3" fmla="*/ 17 h 577"/>
                  <a:gd name="T4" fmla="*/ 382 w 1178"/>
                  <a:gd name="T5" fmla="*/ 28 h 577"/>
                  <a:gd name="T6" fmla="*/ 364 w 1178"/>
                  <a:gd name="T7" fmla="*/ 16 h 577"/>
                  <a:gd name="T8" fmla="*/ 364 w 1178"/>
                  <a:gd name="T9" fmla="*/ 1 h 577"/>
                  <a:gd name="T10" fmla="*/ 358 w 1178"/>
                  <a:gd name="T11" fmla="*/ 19 h 577"/>
                  <a:gd name="T12" fmla="*/ 331 w 1178"/>
                  <a:gd name="T13" fmla="*/ 38 h 577"/>
                  <a:gd name="T14" fmla="*/ 337 w 1178"/>
                  <a:gd name="T15" fmla="*/ 27 h 577"/>
                  <a:gd name="T16" fmla="*/ 316 w 1178"/>
                  <a:gd name="T17" fmla="*/ 32 h 577"/>
                  <a:gd name="T18" fmla="*/ 275 w 1178"/>
                  <a:gd name="T19" fmla="*/ 27 h 577"/>
                  <a:gd name="T20" fmla="*/ 256 w 1178"/>
                  <a:gd name="T21" fmla="*/ 33 h 577"/>
                  <a:gd name="T22" fmla="*/ 221 w 1178"/>
                  <a:gd name="T23" fmla="*/ 23 h 577"/>
                  <a:gd name="T24" fmla="*/ 174 w 1178"/>
                  <a:gd name="T25" fmla="*/ 18 h 577"/>
                  <a:gd name="T26" fmla="*/ 146 w 1178"/>
                  <a:gd name="T27" fmla="*/ 14 h 577"/>
                  <a:gd name="T28" fmla="*/ 62 w 1178"/>
                  <a:gd name="T29" fmla="*/ 35 h 577"/>
                  <a:gd name="T30" fmla="*/ 12 w 1178"/>
                  <a:gd name="T31" fmla="*/ 94 h 577"/>
                  <a:gd name="T32" fmla="*/ 37 w 1178"/>
                  <a:gd name="T33" fmla="*/ 127 h 577"/>
                  <a:gd name="T34" fmla="*/ 23 w 1178"/>
                  <a:gd name="T35" fmla="*/ 138 h 577"/>
                  <a:gd name="T36" fmla="*/ 31 w 1178"/>
                  <a:gd name="T37" fmla="*/ 149 h 577"/>
                  <a:gd name="T38" fmla="*/ 32 w 1178"/>
                  <a:gd name="T39" fmla="*/ 161 h 577"/>
                  <a:gd name="T40" fmla="*/ 19 w 1178"/>
                  <a:gd name="T41" fmla="*/ 168 h 577"/>
                  <a:gd name="T42" fmla="*/ 30 w 1178"/>
                  <a:gd name="T43" fmla="*/ 172 h 577"/>
                  <a:gd name="T44" fmla="*/ 36 w 1178"/>
                  <a:gd name="T45" fmla="*/ 180 h 577"/>
                  <a:gd name="T46" fmla="*/ 38 w 1178"/>
                  <a:gd name="T47" fmla="*/ 185 h 577"/>
                  <a:gd name="T48" fmla="*/ 137 w 1178"/>
                  <a:gd name="T49" fmla="*/ 187 h 577"/>
                  <a:gd name="T50" fmla="*/ 237 w 1178"/>
                  <a:gd name="T51" fmla="*/ 183 h 577"/>
                  <a:gd name="T52" fmla="*/ 293 w 1178"/>
                  <a:gd name="T53" fmla="*/ 205 h 577"/>
                  <a:gd name="T54" fmla="*/ 293 w 1178"/>
                  <a:gd name="T55" fmla="*/ 248 h 577"/>
                  <a:gd name="T56" fmla="*/ 350 w 1178"/>
                  <a:gd name="T57" fmla="*/ 229 h 577"/>
                  <a:gd name="T58" fmla="*/ 413 w 1178"/>
                  <a:gd name="T59" fmla="*/ 202 h 577"/>
                  <a:gd name="T60" fmla="*/ 438 w 1178"/>
                  <a:gd name="T61" fmla="*/ 214 h 577"/>
                  <a:gd name="T62" fmla="*/ 425 w 1178"/>
                  <a:gd name="T63" fmla="*/ 225 h 577"/>
                  <a:gd name="T64" fmla="*/ 461 w 1178"/>
                  <a:gd name="T65" fmla="*/ 219 h 577"/>
                  <a:gd name="T66" fmla="*/ 437 w 1178"/>
                  <a:gd name="T67" fmla="*/ 204 h 577"/>
                  <a:gd name="T68" fmla="*/ 449 w 1178"/>
                  <a:gd name="T69" fmla="*/ 188 h 577"/>
                  <a:gd name="T70" fmla="*/ 409 w 1178"/>
                  <a:gd name="T71" fmla="*/ 194 h 577"/>
                  <a:gd name="T72" fmla="*/ 494 w 1178"/>
                  <a:gd name="T73" fmla="*/ 169 h 577"/>
                  <a:gd name="T74" fmla="*/ 520 w 1178"/>
                  <a:gd name="T75" fmla="*/ 148 h 577"/>
                  <a:gd name="T76" fmla="*/ 493 w 1178"/>
                  <a:gd name="T77" fmla="*/ 148 h 577"/>
                  <a:gd name="T78" fmla="*/ 498 w 1178"/>
                  <a:gd name="T79" fmla="*/ 136 h 577"/>
                  <a:gd name="T80" fmla="*/ 495 w 1178"/>
                  <a:gd name="T81" fmla="*/ 130 h 577"/>
                  <a:gd name="T82" fmla="*/ 488 w 1178"/>
                  <a:gd name="T83" fmla="*/ 120 h 577"/>
                  <a:gd name="T84" fmla="*/ 487 w 1178"/>
                  <a:gd name="T85" fmla="*/ 110 h 577"/>
                  <a:gd name="T86" fmla="*/ 486 w 1178"/>
                  <a:gd name="T87" fmla="*/ 94 h 577"/>
                  <a:gd name="T88" fmla="*/ 476 w 1178"/>
                  <a:gd name="T89" fmla="*/ 101 h 577"/>
                  <a:gd name="T90" fmla="*/ 454 w 1178"/>
                  <a:gd name="T91" fmla="*/ 110 h 577"/>
                  <a:gd name="T92" fmla="*/ 451 w 1178"/>
                  <a:gd name="T93" fmla="*/ 97 h 577"/>
                  <a:gd name="T94" fmla="*/ 445 w 1178"/>
                  <a:gd name="T95" fmla="*/ 80 h 577"/>
                  <a:gd name="T96" fmla="*/ 409 w 1178"/>
                  <a:gd name="T97" fmla="*/ 81 h 577"/>
                  <a:gd name="T98" fmla="*/ 389 w 1178"/>
                  <a:gd name="T99" fmla="*/ 127 h 577"/>
                  <a:gd name="T100" fmla="*/ 354 w 1178"/>
                  <a:gd name="T101" fmla="*/ 164 h 577"/>
                  <a:gd name="T102" fmla="*/ 344 w 1178"/>
                  <a:gd name="T103" fmla="*/ 141 h 577"/>
                  <a:gd name="T104" fmla="*/ 303 w 1178"/>
                  <a:gd name="T105" fmla="*/ 116 h 577"/>
                  <a:gd name="T106" fmla="*/ 287 w 1178"/>
                  <a:gd name="T107" fmla="*/ 101 h 577"/>
                  <a:gd name="T108" fmla="*/ 326 w 1178"/>
                  <a:gd name="T109" fmla="*/ 71 h 577"/>
                  <a:gd name="T110" fmla="*/ 346 w 1178"/>
                  <a:gd name="T111" fmla="*/ 61 h 577"/>
                  <a:gd name="T112" fmla="*/ 364 w 1178"/>
                  <a:gd name="T113" fmla="*/ 47 h 57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178" h="577">
                    <a:moveTo>
                      <a:pt x="867" y="100"/>
                    </a:moveTo>
                    <a:lnTo>
                      <a:pt x="861" y="95"/>
                    </a:lnTo>
                    <a:lnTo>
                      <a:pt x="879" y="95"/>
                    </a:lnTo>
                    <a:lnTo>
                      <a:pt x="889" y="100"/>
                    </a:lnTo>
                    <a:lnTo>
                      <a:pt x="898" y="98"/>
                    </a:lnTo>
                    <a:lnTo>
                      <a:pt x="890" y="88"/>
                    </a:lnTo>
                    <a:lnTo>
                      <a:pt x="898" y="90"/>
                    </a:lnTo>
                    <a:lnTo>
                      <a:pt x="899" y="91"/>
                    </a:lnTo>
                    <a:lnTo>
                      <a:pt x="907" y="96"/>
                    </a:lnTo>
                    <a:lnTo>
                      <a:pt x="940" y="85"/>
                    </a:lnTo>
                    <a:lnTo>
                      <a:pt x="946" y="76"/>
                    </a:lnTo>
                    <a:lnTo>
                      <a:pt x="944" y="66"/>
                    </a:lnTo>
                    <a:lnTo>
                      <a:pt x="946" y="61"/>
                    </a:lnTo>
                    <a:lnTo>
                      <a:pt x="963" y="55"/>
                    </a:lnTo>
                    <a:lnTo>
                      <a:pt x="954" y="53"/>
                    </a:lnTo>
                    <a:lnTo>
                      <a:pt x="967" y="48"/>
                    </a:lnTo>
                    <a:lnTo>
                      <a:pt x="944" y="41"/>
                    </a:lnTo>
                    <a:lnTo>
                      <a:pt x="960" y="40"/>
                    </a:lnTo>
                    <a:lnTo>
                      <a:pt x="919" y="38"/>
                    </a:lnTo>
                    <a:lnTo>
                      <a:pt x="916" y="48"/>
                    </a:lnTo>
                    <a:lnTo>
                      <a:pt x="916" y="51"/>
                    </a:lnTo>
                    <a:lnTo>
                      <a:pt x="916" y="55"/>
                    </a:lnTo>
                    <a:lnTo>
                      <a:pt x="902" y="55"/>
                    </a:lnTo>
                    <a:lnTo>
                      <a:pt x="873" y="80"/>
                    </a:lnTo>
                    <a:lnTo>
                      <a:pt x="862" y="81"/>
                    </a:lnTo>
                    <a:lnTo>
                      <a:pt x="859" y="66"/>
                    </a:lnTo>
                    <a:lnTo>
                      <a:pt x="865" y="65"/>
                    </a:lnTo>
                    <a:lnTo>
                      <a:pt x="873" y="51"/>
                    </a:lnTo>
                    <a:lnTo>
                      <a:pt x="861" y="46"/>
                    </a:lnTo>
                    <a:lnTo>
                      <a:pt x="836" y="65"/>
                    </a:lnTo>
                    <a:lnTo>
                      <a:pt x="842" y="50"/>
                    </a:lnTo>
                    <a:lnTo>
                      <a:pt x="839" y="45"/>
                    </a:lnTo>
                    <a:lnTo>
                      <a:pt x="851" y="43"/>
                    </a:lnTo>
                    <a:lnTo>
                      <a:pt x="842" y="40"/>
                    </a:lnTo>
                    <a:lnTo>
                      <a:pt x="828" y="40"/>
                    </a:lnTo>
                    <a:lnTo>
                      <a:pt x="825" y="37"/>
                    </a:lnTo>
                    <a:lnTo>
                      <a:pt x="837" y="32"/>
                    </a:lnTo>
                    <a:lnTo>
                      <a:pt x="837" y="30"/>
                    </a:lnTo>
                    <a:lnTo>
                      <a:pt x="844" y="30"/>
                    </a:lnTo>
                    <a:lnTo>
                      <a:pt x="839" y="20"/>
                    </a:lnTo>
                    <a:lnTo>
                      <a:pt x="844" y="10"/>
                    </a:lnTo>
                    <a:lnTo>
                      <a:pt x="836" y="5"/>
                    </a:lnTo>
                    <a:lnTo>
                      <a:pt x="831" y="2"/>
                    </a:lnTo>
                    <a:lnTo>
                      <a:pt x="834" y="0"/>
                    </a:lnTo>
                    <a:lnTo>
                      <a:pt x="825" y="2"/>
                    </a:lnTo>
                    <a:lnTo>
                      <a:pt x="830" y="2"/>
                    </a:lnTo>
                    <a:lnTo>
                      <a:pt x="811" y="7"/>
                    </a:lnTo>
                    <a:lnTo>
                      <a:pt x="814" y="10"/>
                    </a:lnTo>
                    <a:lnTo>
                      <a:pt x="799" y="12"/>
                    </a:lnTo>
                    <a:lnTo>
                      <a:pt x="793" y="23"/>
                    </a:lnTo>
                    <a:lnTo>
                      <a:pt x="796" y="25"/>
                    </a:lnTo>
                    <a:lnTo>
                      <a:pt x="786" y="25"/>
                    </a:lnTo>
                    <a:lnTo>
                      <a:pt x="780" y="35"/>
                    </a:lnTo>
                    <a:lnTo>
                      <a:pt x="811" y="43"/>
                    </a:lnTo>
                    <a:lnTo>
                      <a:pt x="802" y="46"/>
                    </a:lnTo>
                    <a:lnTo>
                      <a:pt x="803" y="45"/>
                    </a:lnTo>
                    <a:lnTo>
                      <a:pt x="796" y="50"/>
                    </a:lnTo>
                    <a:lnTo>
                      <a:pt x="788" y="56"/>
                    </a:lnTo>
                    <a:lnTo>
                      <a:pt x="802" y="51"/>
                    </a:lnTo>
                    <a:lnTo>
                      <a:pt x="796" y="58"/>
                    </a:lnTo>
                    <a:lnTo>
                      <a:pt x="768" y="66"/>
                    </a:lnTo>
                    <a:lnTo>
                      <a:pt x="755" y="80"/>
                    </a:lnTo>
                    <a:lnTo>
                      <a:pt x="749" y="88"/>
                    </a:lnTo>
                    <a:lnTo>
                      <a:pt x="742" y="88"/>
                    </a:lnTo>
                    <a:lnTo>
                      <a:pt x="742" y="91"/>
                    </a:lnTo>
                    <a:lnTo>
                      <a:pt x="738" y="86"/>
                    </a:lnTo>
                    <a:lnTo>
                      <a:pt x="742" y="86"/>
                    </a:lnTo>
                    <a:lnTo>
                      <a:pt x="751" y="85"/>
                    </a:lnTo>
                    <a:lnTo>
                      <a:pt x="746" y="85"/>
                    </a:lnTo>
                    <a:lnTo>
                      <a:pt x="751" y="80"/>
                    </a:lnTo>
                    <a:lnTo>
                      <a:pt x="743" y="81"/>
                    </a:lnTo>
                    <a:lnTo>
                      <a:pt x="763" y="63"/>
                    </a:lnTo>
                    <a:lnTo>
                      <a:pt x="751" y="66"/>
                    </a:lnTo>
                    <a:lnTo>
                      <a:pt x="751" y="65"/>
                    </a:lnTo>
                    <a:lnTo>
                      <a:pt x="737" y="61"/>
                    </a:lnTo>
                    <a:lnTo>
                      <a:pt x="726" y="65"/>
                    </a:lnTo>
                    <a:lnTo>
                      <a:pt x="729" y="70"/>
                    </a:lnTo>
                    <a:lnTo>
                      <a:pt x="737" y="73"/>
                    </a:lnTo>
                    <a:lnTo>
                      <a:pt x="726" y="73"/>
                    </a:lnTo>
                    <a:lnTo>
                      <a:pt x="721" y="66"/>
                    </a:lnTo>
                    <a:lnTo>
                      <a:pt x="715" y="73"/>
                    </a:lnTo>
                    <a:lnTo>
                      <a:pt x="690" y="73"/>
                    </a:lnTo>
                    <a:lnTo>
                      <a:pt x="663" y="71"/>
                    </a:lnTo>
                    <a:lnTo>
                      <a:pt x="655" y="66"/>
                    </a:lnTo>
                    <a:lnTo>
                      <a:pt x="644" y="66"/>
                    </a:lnTo>
                    <a:lnTo>
                      <a:pt x="639" y="58"/>
                    </a:lnTo>
                    <a:lnTo>
                      <a:pt x="635" y="51"/>
                    </a:lnTo>
                    <a:lnTo>
                      <a:pt x="593" y="61"/>
                    </a:lnTo>
                    <a:lnTo>
                      <a:pt x="602" y="66"/>
                    </a:lnTo>
                    <a:lnTo>
                      <a:pt x="622" y="61"/>
                    </a:lnTo>
                    <a:lnTo>
                      <a:pt x="635" y="58"/>
                    </a:lnTo>
                    <a:lnTo>
                      <a:pt x="610" y="66"/>
                    </a:lnTo>
                    <a:lnTo>
                      <a:pt x="598" y="70"/>
                    </a:lnTo>
                    <a:lnTo>
                      <a:pt x="588" y="90"/>
                    </a:lnTo>
                    <a:lnTo>
                      <a:pt x="584" y="85"/>
                    </a:lnTo>
                    <a:lnTo>
                      <a:pt x="579" y="98"/>
                    </a:lnTo>
                    <a:lnTo>
                      <a:pt x="574" y="85"/>
                    </a:lnTo>
                    <a:lnTo>
                      <a:pt x="584" y="85"/>
                    </a:lnTo>
                    <a:lnTo>
                      <a:pt x="581" y="76"/>
                    </a:lnTo>
                    <a:lnTo>
                      <a:pt x="574" y="80"/>
                    </a:lnTo>
                    <a:lnTo>
                      <a:pt x="574" y="73"/>
                    </a:lnTo>
                    <a:lnTo>
                      <a:pt x="565" y="70"/>
                    </a:lnTo>
                    <a:lnTo>
                      <a:pt x="514" y="75"/>
                    </a:lnTo>
                    <a:lnTo>
                      <a:pt x="496" y="70"/>
                    </a:lnTo>
                    <a:lnTo>
                      <a:pt x="516" y="63"/>
                    </a:lnTo>
                    <a:lnTo>
                      <a:pt x="522" y="61"/>
                    </a:lnTo>
                    <a:lnTo>
                      <a:pt x="508" y="51"/>
                    </a:lnTo>
                    <a:lnTo>
                      <a:pt x="500" y="53"/>
                    </a:lnTo>
                    <a:lnTo>
                      <a:pt x="465" y="45"/>
                    </a:lnTo>
                    <a:lnTo>
                      <a:pt x="431" y="35"/>
                    </a:lnTo>
                    <a:lnTo>
                      <a:pt x="414" y="43"/>
                    </a:lnTo>
                    <a:lnTo>
                      <a:pt x="404" y="43"/>
                    </a:lnTo>
                    <a:lnTo>
                      <a:pt x="410" y="38"/>
                    </a:lnTo>
                    <a:lnTo>
                      <a:pt x="414" y="30"/>
                    </a:lnTo>
                    <a:lnTo>
                      <a:pt x="410" y="35"/>
                    </a:lnTo>
                    <a:lnTo>
                      <a:pt x="404" y="38"/>
                    </a:lnTo>
                    <a:lnTo>
                      <a:pt x="395" y="41"/>
                    </a:lnTo>
                    <a:lnTo>
                      <a:pt x="389" y="45"/>
                    </a:lnTo>
                    <a:lnTo>
                      <a:pt x="383" y="33"/>
                    </a:lnTo>
                    <a:lnTo>
                      <a:pt x="376" y="25"/>
                    </a:lnTo>
                    <a:lnTo>
                      <a:pt x="379" y="30"/>
                    </a:lnTo>
                    <a:lnTo>
                      <a:pt x="350" y="38"/>
                    </a:lnTo>
                    <a:lnTo>
                      <a:pt x="352" y="35"/>
                    </a:lnTo>
                    <a:lnTo>
                      <a:pt x="321" y="41"/>
                    </a:lnTo>
                    <a:lnTo>
                      <a:pt x="352" y="30"/>
                    </a:lnTo>
                    <a:lnTo>
                      <a:pt x="330" y="33"/>
                    </a:lnTo>
                    <a:lnTo>
                      <a:pt x="296" y="41"/>
                    </a:lnTo>
                    <a:lnTo>
                      <a:pt x="262" y="51"/>
                    </a:lnTo>
                    <a:lnTo>
                      <a:pt x="257" y="56"/>
                    </a:lnTo>
                    <a:lnTo>
                      <a:pt x="246" y="53"/>
                    </a:lnTo>
                    <a:lnTo>
                      <a:pt x="245" y="56"/>
                    </a:lnTo>
                    <a:lnTo>
                      <a:pt x="219" y="48"/>
                    </a:lnTo>
                    <a:lnTo>
                      <a:pt x="191" y="40"/>
                    </a:lnTo>
                    <a:lnTo>
                      <a:pt x="168" y="61"/>
                    </a:lnTo>
                    <a:lnTo>
                      <a:pt x="141" y="81"/>
                    </a:lnTo>
                    <a:lnTo>
                      <a:pt x="116" y="103"/>
                    </a:lnTo>
                    <a:lnTo>
                      <a:pt x="93" y="123"/>
                    </a:lnTo>
                    <a:lnTo>
                      <a:pt x="70" y="144"/>
                    </a:lnTo>
                    <a:lnTo>
                      <a:pt x="47" y="166"/>
                    </a:lnTo>
                    <a:lnTo>
                      <a:pt x="24" y="187"/>
                    </a:lnTo>
                    <a:lnTo>
                      <a:pt x="0" y="209"/>
                    </a:lnTo>
                    <a:lnTo>
                      <a:pt x="30" y="209"/>
                    </a:lnTo>
                    <a:lnTo>
                      <a:pt x="22" y="212"/>
                    </a:lnTo>
                    <a:lnTo>
                      <a:pt x="27" y="216"/>
                    </a:lnTo>
                    <a:lnTo>
                      <a:pt x="27" y="235"/>
                    </a:lnTo>
                    <a:lnTo>
                      <a:pt x="39" y="230"/>
                    </a:lnTo>
                    <a:lnTo>
                      <a:pt x="50" y="224"/>
                    </a:lnTo>
                    <a:lnTo>
                      <a:pt x="70" y="219"/>
                    </a:lnTo>
                    <a:lnTo>
                      <a:pt x="76" y="239"/>
                    </a:lnTo>
                    <a:lnTo>
                      <a:pt x="72" y="257"/>
                    </a:lnTo>
                    <a:lnTo>
                      <a:pt x="70" y="275"/>
                    </a:lnTo>
                    <a:lnTo>
                      <a:pt x="76" y="284"/>
                    </a:lnTo>
                    <a:lnTo>
                      <a:pt x="84" y="293"/>
                    </a:lnTo>
                    <a:lnTo>
                      <a:pt x="67" y="310"/>
                    </a:lnTo>
                    <a:lnTo>
                      <a:pt x="81" y="298"/>
                    </a:lnTo>
                    <a:lnTo>
                      <a:pt x="81" y="300"/>
                    </a:lnTo>
                    <a:lnTo>
                      <a:pt x="67" y="308"/>
                    </a:lnTo>
                    <a:lnTo>
                      <a:pt x="70" y="310"/>
                    </a:lnTo>
                    <a:lnTo>
                      <a:pt x="62" y="317"/>
                    </a:lnTo>
                    <a:lnTo>
                      <a:pt x="56" y="317"/>
                    </a:lnTo>
                    <a:lnTo>
                      <a:pt x="58" y="323"/>
                    </a:lnTo>
                    <a:lnTo>
                      <a:pt x="53" y="318"/>
                    </a:lnTo>
                    <a:lnTo>
                      <a:pt x="53" y="327"/>
                    </a:lnTo>
                    <a:lnTo>
                      <a:pt x="61" y="325"/>
                    </a:lnTo>
                    <a:lnTo>
                      <a:pt x="56" y="325"/>
                    </a:lnTo>
                    <a:lnTo>
                      <a:pt x="56" y="332"/>
                    </a:lnTo>
                    <a:lnTo>
                      <a:pt x="53" y="328"/>
                    </a:lnTo>
                    <a:lnTo>
                      <a:pt x="53" y="342"/>
                    </a:lnTo>
                    <a:lnTo>
                      <a:pt x="75" y="328"/>
                    </a:lnTo>
                    <a:lnTo>
                      <a:pt x="67" y="340"/>
                    </a:lnTo>
                    <a:lnTo>
                      <a:pt x="70" y="342"/>
                    </a:lnTo>
                    <a:lnTo>
                      <a:pt x="62" y="340"/>
                    </a:lnTo>
                    <a:lnTo>
                      <a:pt x="61" y="353"/>
                    </a:lnTo>
                    <a:lnTo>
                      <a:pt x="64" y="351"/>
                    </a:lnTo>
                    <a:lnTo>
                      <a:pt x="53" y="365"/>
                    </a:lnTo>
                    <a:lnTo>
                      <a:pt x="58" y="360"/>
                    </a:lnTo>
                    <a:lnTo>
                      <a:pt x="58" y="365"/>
                    </a:lnTo>
                    <a:lnTo>
                      <a:pt x="81" y="353"/>
                    </a:lnTo>
                    <a:lnTo>
                      <a:pt x="73" y="363"/>
                    </a:lnTo>
                    <a:lnTo>
                      <a:pt x="73" y="370"/>
                    </a:lnTo>
                    <a:lnTo>
                      <a:pt x="70" y="363"/>
                    </a:lnTo>
                    <a:lnTo>
                      <a:pt x="51" y="373"/>
                    </a:lnTo>
                    <a:lnTo>
                      <a:pt x="53" y="378"/>
                    </a:lnTo>
                    <a:lnTo>
                      <a:pt x="56" y="373"/>
                    </a:lnTo>
                    <a:lnTo>
                      <a:pt x="67" y="376"/>
                    </a:lnTo>
                    <a:lnTo>
                      <a:pt x="50" y="380"/>
                    </a:lnTo>
                    <a:lnTo>
                      <a:pt x="45" y="383"/>
                    </a:lnTo>
                    <a:lnTo>
                      <a:pt x="53" y="383"/>
                    </a:lnTo>
                    <a:lnTo>
                      <a:pt x="42" y="386"/>
                    </a:lnTo>
                    <a:lnTo>
                      <a:pt x="56" y="391"/>
                    </a:lnTo>
                    <a:lnTo>
                      <a:pt x="61" y="388"/>
                    </a:lnTo>
                    <a:lnTo>
                      <a:pt x="64" y="391"/>
                    </a:lnTo>
                    <a:lnTo>
                      <a:pt x="58" y="391"/>
                    </a:lnTo>
                    <a:lnTo>
                      <a:pt x="65" y="393"/>
                    </a:lnTo>
                    <a:lnTo>
                      <a:pt x="59" y="396"/>
                    </a:lnTo>
                    <a:lnTo>
                      <a:pt x="73" y="391"/>
                    </a:lnTo>
                    <a:lnTo>
                      <a:pt x="76" y="388"/>
                    </a:lnTo>
                    <a:lnTo>
                      <a:pt x="67" y="395"/>
                    </a:lnTo>
                    <a:lnTo>
                      <a:pt x="62" y="396"/>
                    </a:lnTo>
                    <a:lnTo>
                      <a:pt x="59" y="400"/>
                    </a:lnTo>
                    <a:lnTo>
                      <a:pt x="70" y="396"/>
                    </a:lnTo>
                    <a:lnTo>
                      <a:pt x="70" y="400"/>
                    </a:lnTo>
                    <a:lnTo>
                      <a:pt x="82" y="393"/>
                    </a:lnTo>
                    <a:lnTo>
                      <a:pt x="76" y="403"/>
                    </a:lnTo>
                    <a:lnTo>
                      <a:pt x="87" y="400"/>
                    </a:lnTo>
                    <a:lnTo>
                      <a:pt x="73" y="406"/>
                    </a:lnTo>
                    <a:lnTo>
                      <a:pt x="81" y="413"/>
                    </a:lnTo>
                    <a:lnTo>
                      <a:pt x="89" y="405"/>
                    </a:lnTo>
                    <a:lnTo>
                      <a:pt x="82" y="414"/>
                    </a:lnTo>
                    <a:lnTo>
                      <a:pt x="86" y="414"/>
                    </a:lnTo>
                    <a:lnTo>
                      <a:pt x="79" y="414"/>
                    </a:lnTo>
                    <a:lnTo>
                      <a:pt x="87" y="418"/>
                    </a:lnTo>
                    <a:lnTo>
                      <a:pt x="93" y="414"/>
                    </a:lnTo>
                    <a:lnTo>
                      <a:pt x="89" y="423"/>
                    </a:lnTo>
                    <a:lnTo>
                      <a:pt x="93" y="423"/>
                    </a:lnTo>
                    <a:lnTo>
                      <a:pt x="86" y="426"/>
                    </a:lnTo>
                    <a:lnTo>
                      <a:pt x="90" y="429"/>
                    </a:lnTo>
                    <a:lnTo>
                      <a:pt x="118" y="429"/>
                    </a:lnTo>
                    <a:lnTo>
                      <a:pt x="146" y="429"/>
                    </a:lnTo>
                    <a:lnTo>
                      <a:pt x="174" y="429"/>
                    </a:lnTo>
                    <a:lnTo>
                      <a:pt x="202" y="429"/>
                    </a:lnTo>
                    <a:lnTo>
                      <a:pt x="228" y="429"/>
                    </a:lnTo>
                    <a:lnTo>
                      <a:pt x="256" y="429"/>
                    </a:lnTo>
                    <a:lnTo>
                      <a:pt x="282" y="429"/>
                    </a:lnTo>
                    <a:lnTo>
                      <a:pt x="310" y="429"/>
                    </a:lnTo>
                    <a:lnTo>
                      <a:pt x="338" y="429"/>
                    </a:lnTo>
                    <a:lnTo>
                      <a:pt x="366" y="429"/>
                    </a:lnTo>
                    <a:lnTo>
                      <a:pt x="393" y="429"/>
                    </a:lnTo>
                    <a:lnTo>
                      <a:pt x="420" y="429"/>
                    </a:lnTo>
                    <a:lnTo>
                      <a:pt x="448" y="429"/>
                    </a:lnTo>
                    <a:lnTo>
                      <a:pt x="474" y="429"/>
                    </a:lnTo>
                    <a:lnTo>
                      <a:pt x="502" y="429"/>
                    </a:lnTo>
                    <a:lnTo>
                      <a:pt x="528" y="429"/>
                    </a:lnTo>
                    <a:lnTo>
                      <a:pt x="536" y="421"/>
                    </a:lnTo>
                    <a:lnTo>
                      <a:pt x="534" y="433"/>
                    </a:lnTo>
                    <a:lnTo>
                      <a:pt x="553" y="436"/>
                    </a:lnTo>
                    <a:lnTo>
                      <a:pt x="576" y="446"/>
                    </a:lnTo>
                    <a:lnTo>
                      <a:pt x="588" y="444"/>
                    </a:lnTo>
                    <a:lnTo>
                      <a:pt x="602" y="448"/>
                    </a:lnTo>
                    <a:lnTo>
                      <a:pt x="625" y="444"/>
                    </a:lnTo>
                    <a:lnTo>
                      <a:pt x="636" y="453"/>
                    </a:lnTo>
                    <a:lnTo>
                      <a:pt x="650" y="461"/>
                    </a:lnTo>
                    <a:lnTo>
                      <a:pt x="664" y="471"/>
                    </a:lnTo>
                    <a:lnTo>
                      <a:pt x="678" y="479"/>
                    </a:lnTo>
                    <a:lnTo>
                      <a:pt x="680" y="487"/>
                    </a:lnTo>
                    <a:lnTo>
                      <a:pt x="687" y="487"/>
                    </a:lnTo>
                    <a:lnTo>
                      <a:pt x="684" y="492"/>
                    </a:lnTo>
                    <a:lnTo>
                      <a:pt x="698" y="502"/>
                    </a:lnTo>
                    <a:lnTo>
                      <a:pt x="694" y="521"/>
                    </a:lnTo>
                    <a:lnTo>
                      <a:pt x="690" y="539"/>
                    </a:lnTo>
                    <a:lnTo>
                      <a:pt x="681" y="549"/>
                    </a:lnTo>
                    <a:lnTo>
                      <a:pt x="663" y="569"/>
                    </a:lnTo>
                    <a:lnTo>
                      <a:pt x="667" y="577"/>
                    </a:lnTo>
                    <a:lnTo>
                      <a:pt x="684" y="572"/>
                    </a:lnTo>
                    <a:lnTo>
                      <a:pt x="701" y="564"/>
                    </a:lnTo>
                    <a:lnTo>
                      <a:pt x="718" y="559"/>
                    </a:lnTo>
                    <a:lnTo>
                      <a:pt x="737" y="554"/>
                    </a:lnTo>
                    <a:lnTo>
                      <a:pt x="737" y="540"/>
                    </a:lnTo>
                    <a:lnTo>
                      <a:pt x="759" y="539"/>
                    </a:lnTo>
                    <a:lnTo>
                      <a:pt x="779" y="537"/>
                    </a:lnTo>
                    <a:lnTo>
                      <a:pt x="794" y="526"/>
                    </a:lnTo>
                    <a:lnTo>
                      <a:pt x="811" y="512"/>
                    </a:lnTo>
                    <a:lnTo>
                      <a:pt x="842" y="511"/>
                    </a:lnTo>
                    <a:lnTo>
                      <a:pt x="875" y="509"/>
                    </a:lnTo>
                    <a:lnTo>
                      <a:pt x="885" y="502"/>
                    </a:lnTo>
                    <a:lnTo>
                      <a:pt x="899" y="489"/>
                    </a:lnTo>
                    <a:lnTo>
                      <a:pt x="913" y="474"/>
                    </a:lnTo>
                    <a:lnTo>
                      <a:pt x="927" y="459"/>
                    </a:lnTo>
                    <a:lnTo>
                      <a:pt x="930" y="464"/>
                    </a:lnTo>
                    <a:lnTo>
                      <a:pt x="936" y="464"/>
                    </a:lnTo>
                    <a:lnTo>
                      <a:pt x="949" y="468"/>
                    </a:lnTo>
                    <a:lnTo>
                      <a:pt x="940" y="492"/>
                    </a:lnTo>
                    <a:lnTo>
                      <a:pt x="946" y="504"/>
                    </a:lnTo>
                    <a:lnTo>
                      <a:pt x="950" y="507"/>
                    </a:lnTo>
                    <a:lnTo>
                      <a:pt x="964" y="502"/>
                    </a:lnTo>
                    <a:lnTo>
                      <a:pt x="988" y="497"/>
                    </a:lnTo>
                    <a:lnTo>
                      <a:pt x="991" y="487"/>
                    </a:lnTo>
                    <a:lnTo>
                      <a:pt x="992" y="491"/>
                    </a:lnTo>
                    <a:lnTo>
                      <a:pt x="997" y="491"/>
                    </a:lnTo>
                    <a:lnTo>
                      <a:pt x="984" y="501"/>
                    </a:lnTo>
                    <a:lnTo>
                      <a:pt x="1009" y="501"/>
                    </a:lnTo>
                    <a:lnTo>
                      <a:pt x="994" y="507"/>
                    </a:lnTo>
                    <a:lnTo>
                      <a:pt x="992" y="502"/>
                    </a:lnTo>
                    <a:lnTo>
                      <a:pt x="967" y="516"/>
                    </a:lnTo>
                    <a:lnTo>
                      <a:pt x="972" y="512"/>
                    </a:lnTo>
                    <a:lnTo>
                      <a:pt x="957" y="521"/>
                    </a:lnTo>
                    <a:lnTo>
                      <a:pt x="963" y="517"/>
                    </a:lnTo>
                    <a:lnTo>
                      <a:pt x="954" y="527"/>
                    </a:lnTo>
                    <a:lnTo>
                      <a:pt x="958" y="539"/>
                    </a:lnTo>
                    <a:lnTo>
                      <a:pt x="969" y="535"/>
                    </a:lnTo>
                    <a:lnTo>
                      <a:pt x="992" y="516"/>
                    </a:lnTo>
                    <a:lnTo>
                      <a:pt x="995" y="519"/>
                    </a:lnTo>
                    <a:lnTo>
                      <a:pt x="1001" y="516"/>
                    </a:lnTo>
                    <a:lnTo>
                      <a:pt x="1001" y="517"/>
                    </a:lnTo>
                    <a:lnTo>
                      <a:pt x="1025" y="511"/>
                    </a:lnTo>
                    <a:lnTo>
                      <a:pt x="1045" y="504"/>
                    </a:lnTo>
                    <a:lnTo>
                      <a:pt x="1039" y="501"/>
                    </a:lnTo>
                    <a:lnTo>
                      <a:pt x="1043" y="499"/>
                    </a:lnTo>
                    <a:lnTo>
                      <a:pt x="1034" y="491"/>
                    </a:lnTo>
                    <a:lnTo>
                      <a:pt x="1028" y="496"/>
                    </a:lnTo>
                    <a:lnTo>
                      <a:pt x="1015" y="492"/>
                    </a:lnTo>
                    <a:lnTo>
                      <a:pt x="1005" y="489"/>
                    </a:lnTo>
                    <a:lnTo>
                      <a:pt x="995" y="484"/>
                    </a:lnTo>
                    <a:lnTo>
                      <a:pt x="997" y="469"/>
                    </a:lnTo>
                    <a:lnTo>
                      <a:pt x="991" y="468"/>
                    </a:lnTo>
                    <a:lnTo>
                      <a:pt x="1001" y="456"/>
                    </a:lnTo>
                    <a:lnTo>
                      <a:pt x="988" y="456"/>
                    </a:lnTo>
                    <a:lnTo>
                      <a:pt x="988" y="451"/>
                    </a:lnTo>
                    <a:lnTo>
                      <a:pt x="972" y="448"/>
                    </a:lnTo>
                    <a:lnTo>
                      <a:pt x="977" y="448"/>
                    </a:lnTo>
                    <a:lnTo>
                      <a:pt x="992" y="448"/>
                    </a:lnTo>
                    <a:lnTo>
                      <a:pt x="1014" y="439"/>
                    </a:lnTo>
                    <a:lnTo>
                      <a:pt x="1014" y="433"/>
                    </a:lnTo>
                    <a:lnTo>
                      <a:pt x="1018" y="433"/>
                    </a:lnTo>
                    <a:lnTo>
                      <a:pt x="1017" y="429"/>
                    </a:lnTo>
                    <a:lnTo>
                      <a:pt x="997" y="424"/>
                    </a:lnTo>
                    <a:lnTo>
                      <a:pt x="977" y="429"/>
                    </a:lnTo>
                    <a:lnTo>
                      <a:pt x="954" y="436"/>
                    </a:lnTo>
                    <a:lnTo>
                      <a:pt x="936" y="448"/>
                    </a:lnTo>
                    <a:lnTo>
                      <a:pt x="918" y="458"/>
                    </a:lnTo>
                    <a:lnTo>
                      <a:pt x="893" y="471"/>
                    </a:lnTo>
                    <a:lnTo>
                      <a:pt x="909" y="459"/>
                    </a:lnTo>
                    <a:lnTo>
                      <a:pt x="926" y="446"/>
                    </a:lnTo>
                    <a:lnTo>
                      <a:pt x="907" y="439"/>
                    </a:lnTo>
                    <a:lnTo>
                      <a:pt x="923" y="446"/>
                    </a:lnTo>
                    <a:lnTo>
                      <a:pt x="947" y="429"/>
                    </a:lnTo>
                    <a:lnTo>
                      <a:pt x="971" y="423"/>
                    </a:lnTo>
                    <a:lnTo>
                      <a:pt x="988" y="406"/>
                    </a:lnTo>
                    <a:lnTo>
                      <a:pt x="1025" y="405"/>
                    </a:lnTo>
                    <a:lnTo>
                      <a:pt x="1059" y="405"/>
                    </a:lnTo>
                    <a:lnTo>
                      <a:pt x="1088" y="403"/>
                    </a:lnTo>
                    <a:lnTo>
                      <a:pt x="1118" y="388"/>
                    </a:lnTo>
                    <a:lnTo>
                      <a:pt x="1145" y="381"/>
                    </a:lnTo>
                    <a:lnTo>
                      <a:pt x="1176" y="365"/>
                    </a:lnTo>
                    <a:lnTo>
                      <a:pt x="1167" y="360"/>
                    </a:lnTo>
                    <a:lnTo>
                      <a:pt x="1176" y="358"/>
                    </a:lnTo>
                    <a:lnTo>
                      <a:pt x="1164" y="358"/>
                    </a:lnTo>
                    <a:lnTo>
                      <a:pt x="1173" y="355"/>
                    </a:lnTo>
                    <a:lnTo>
                      <a:pt x="1173" y="353"/>
                    </a:lnTo>
                    <a:lnTo>
                      <a:pt x="1176" y="348"/>
                    </a:lnTo>
                    <a:lnTo>
                      <a:pt x="1178" y="340"/>
                    </a:lnTo>
                    <a:lnTo>
                      <a:pt x="1167" y="337"/>
                    </a:lnTo>
                    <a:lnTo>
                      <a:pt x="1169" y="335"/>
                    </a:lnTo>
                    <a:lnTo>
                      <a:pt x="1159" y="338"/>
                    </a:lnTo>
                    <a:lnTo>
                      <a:pt x="1159" y="325"/>
                    </a:lnTo>
                    <a:lnTo>
                      <a:pt x="1145" y="328"/>
                    </a:lnTo>
                    <a:lnTo>
                      <a:pt x="1155" y="328"/>
                    </a:lnTo>
                    <a:lnTo>
                      <a:pt x="1128" y="337"/>
                    </a:lnTo>
                    <a:lnTo>
                      <a:pt x="1108" y="342"/>
                    </a:lnTo>
                    <a:lnTo>
                      <a:pt x="1116" y="340"/>
                    </a:lnTo>
                    <a:lnTo>
                      <a:pt x="1108" y="335"/>
                    </a:lnTo>
                    <a:lnTo>
                      <a:pt x="1118" y="335"/>
                    </a:lnTo>
                    <a:lnTo>
                      <a:pt x="1145" y="325"/>
                    </a:lnTo>
                    <a:lnTo>
                      <a:pt x="1127" y="328"/>
                    </a:lnTo>
                    <a:lnTo>
                      <a:pt x="1162" y="318"/>
                    </a:lnTo>
                    <a:lnTo>
                      <a:pt x="1141" y="310"/>
                    </a:lnTo>
                    <a:lnTo>
                      <a:pt x="1136" y="310"/>
                    </a:lnTo>
                    <a:lnTo>
                      <a:pt x="1141" y="307"/>
                    </a:lnTo>
                    <a:lnTo>
                      <a:pt x="1128" y="313"/>
                    </a:lnTo>
                    <a:lnTo>
                      <a:pt x="1135" y="308"/>
                    </a:lnTo>
                    <a:lnTo>
                      <a:pt x="1133" y="307"/>
                    </a:lnTo>
                    <a:lnTo>
                      <a:pt x="1125" y="308"/>
                    </a:lnTo>
                    <a:lnTo>
                      <a:pt x="1127" y="305"/>
                    </a:lnTo>
                    <a:lnTo>
                      <a:pt x="1118" y="308"/>
                    </a:lnTo>
                    <a:lnTo>
                      <a:pt x="1122" y="305"/>
                    </a:lnTo>
                    <a:lnTo>
                      <a:pt x="1125" y="302"/>
                    </a:lnTo>
                    <a:lnTo>
                      <a:pt x="1125" y="295"/>
                    </a:lnTo>
                    <a:lnTo>
                      <a:pt x="1122" y="298"/>
                    </a:lnTo>
                    <a:lnTo>
                      <a:pt x="1122" y="297"/>
                    </a:lnTo>
                    <a:lnTo>
                      <a:pt x="1116" y="288"/>
                    </a:lnTo>
                    <a:lnTo>
                      <a:pt x="1107" y="285"/>
                    </a:lnTo>
                    <a:lnTo>
                      <a:pt x="1113" y="285"/>
                    </a:lnTo>
                    <a:lnTo>
                      <a:pt x="1108" y="282"/>
                    </a:lnTo>
                    <a:lnTo>
                      <a:pt x="1113" y="280"/>
                    </a:lnTo>
                    <a:lnTo>
                      <a:pt x="1107" y="279"/>
                    </a:lnTo>
                    <a:lnTo>
                      <a:pt x="1111" y="279"/>
                    </a:lnTo>
                    <a:lnTo>
                      <a:pt x="1105" y="275"/>
                    </a:lnTo>
                    <a:lnTo>
                      <a:pt x="1108" y="275"/>
                    </a:lnTo>
                    <a:lnTo>
                      <a:pt x="1111" y="277"/>
                    </a:lnTo>
                    <a:lnTo>
                      <a:pt x="1122" y="270"/>
                    </a:lnTo>
                    <a:lnTo>
                      <a:pt x="1118" y="265"/>
                    </a:lnTo>
                    <a:lnTo>
                      <a:pt x="1113" y="262"/>
                    </a:lnTo>
                    <a:lnTo>
                      <a:pt x="1119" y="257"/>
                    </a:lnTo>
                    <a:lnTo>
                      <a:pt x="1113" y="252"/>
                    </a:lnTo>
                    <a:lnTo>
                      <a:pt x="1111" y="249"/>
                    </a:lnTo>
                    <a:lnTo>
                      <a:pt x="1104" y="252"/>
                    </a:lnTo>
                    <a:lnTo>
                      <a:pt x="1116" y="247"/>
                    </a:lnTo>
                    <a:lnTo>
                      <a:pt x="1116" y="242"/>
                    </a:lnTo>
                    <a:lnTo>
                      <a:pt x="1102" y="247"/>
                    </a:lnTo>
                    <a:lnTo>
                      <a:pt x="1116" y="237"/>
                    </a:lnTo>
                    <a:lnTo>
                      <a:pt x="1111" y="234"/>
                    </a:lnTo>
                    <a:lnTo>
                      <a:pt x="1104" y="232"/>
                    </a:lnTo>
                    <a:lnTo>
                      <a:pt x="1111" y="227"/>
                    </a:lnTo>
                    <a:lnTo>
                      <a:pt x="1107" y="224"/>
                    </a:lnTo>
                    <a:lnTo>
                      <a:pt x="1102" y="216"/>
                    </a:lnTo>
                    <a:lnTo>
                      <a:pt x="1102" y="212"/>
                    </a:lnTo>
                    <a:lnTo>
                      <a:pt x="1097" y="214"/>
                    </a:lnTo>
                    <a:lnTo>
                      <a:pt x="1102" y="209"/>
                    </a:lnTo>
                    <a:lnTo>
                      <a:pt x="1093" y="214"/>
                    </a:lnTo>
                    <a:lnTo>
                      <a:pt x="1093" y="219"/>
                    </a:lnTo>
                    <a:lnTo>
                      <a:pt x="1085" y="219"/>
                    </a:lnTo>
                    <a:lnTo>
                      <a:pt x="1088" y="224"/>
                    </a:lnTo>
                    <a:lnTo>
                      <a:pt x="1083" y="227"/>
                    </a:lnTo>
                    <a:lnTo>
                      <a:pt x="1079" y="232"/>
                    </a:lnTo>
                    <a:lnTo>
                      <a:pt x="1070" y="239"/>
                    </a:lnTo>
                    <a:lnTo>
                      <a:pt x="1066" y="244"/>
                    </a:lnTo>
                    <a:lnTo>
                      <a:pt x="1062" y="237"/>
                    </a:lnTo>
                    <a:lnTo>
                      <a:pt x="1048" y="245"/>
                    </a:lnTo>
                    <a:lnTo>
                      <a:pt x="1037" y="254"/>
                    </a:lnTo>
                    <a:lnTo>
                      <a:pt x="1039" y="247"/>
                    </a:lnTo>
                    <a:lnTo>
                      <a:pt x="1032" y="249"/>
                    </a:lnTo>
                    <a:lnTo>
                      <a:pt x="1037" y="242"/>
                    </a:lnTo>
                    <a:lnTo>
                      <a:pt x="1028" y="252"/>
                    </a:lnTo>
                    <a:lnTo>
                      <a:pt x="1011" y="257"/>
                    </a:lnTo>
                    <a:lnTo>
                      <a:pt x="1032" y="245"/>
                    </a:lnTo>
                    <a:lnTo>
                      <a:pt x="1029" y="234"/>
                    </a:lnTo>
                    <a:lnTo>
                      <a:pt x="1011" y="239"/>
                    </a:lnTo>
                    <a:lnTo>
                      <a:pt x="1008" y="237"/>
                    </a:lnTo>
                    <a:lnTo>
                      <a:pt x="1014" y="234"/>
                    </a:lnTo>
                    <a:lnTo>
                      <a:pt x="1020" y="235"/>
                    </a:lnTo>
                    <a:lnTo>
                      <a:pt x="1025" y="225"/>
                    </a:lnTo>
                    <a:lnTo>
                      <a:pt x="1022" y="224"/>
                    </a:lnTo>
                    <a:lnTo>
                      <a:pt x="1025" y="216"/>
                    </a:lnTo>
                    <a:lnTo>
                      <a:pt x="1009" y="212"/>
                    </a:lnTo>
                    <a:lnTo>
                      <a:pt x="1029" y="211"/>
                    </a:lnTo>
                    <a:lnTo>
                      <a:pt x="1032" y="201"/>
                    </a:lnTo>
                    <a:lnTo>
                      <a:pt x="1037" y="197"/>
                    </a:lnTo>
                    <a:lnTo>
                      <a:pt x="1029" y="197"/>
                    </a:lnTo>
                    <a:lnTo>
                      <a:pt x="1011" y="189"/>
                    </a:lnTo>
                    <a:lnTo>
                      <a:pt x="1014" y="182"/>
                    </a:lnTo>
                    <a:lnTo>
                      <a:pt x="1009" y="184"/>
                    </a:lnTo>
                    <a:lnTo>
                      <a:pt x="1005" y="177"/>
                    </a:lnTo>
                    <a:lnTo>
                      <a:pt x="1006" y="174"/>
                    </a:lnTo>
                    <a:lnTo>
                      <a:pt x="991" y="167"/>
                    </a:lnTo>
                    <a:lnTo>
                      <a:pt x="977" y="174"/>
                    </a:lnTo>
                    <a:lnTo>
                      <a:pt x="960" y="174"/>
                    </a:lnTo>
                    <a:lnTo>
                      <a:pt x="964" y="172"/>
                    </a:lnTo>
                    <a:lnTo>
                      <a:pt x="936" y="167"/>
                    </a:lnTo>
                    <a:lnTo>
                      <a:pt x="926" y="182"/>
                    </a:lnTo>
                    <a:lnTo>
                      <a:pt x="927" y="187"/>
                    </a:lnTo>
                    <a:lnTo>
                      <a:pt x="916" y="201"/>
                    </a:lnTo>
                    <a:lnTo>
                      <a:pt x="921" y="201"/>
                    </a:lnTo>
                    <a:lnTo>
                      <a:pt x="916" y="214"/>
                    </a:lnTo>
                    <a:lnTo>
                      <a:pt x="910" y="221"/>
                    </a:lnTo>
                    <a:lnTo>
                      <a:pt x="907" y="222"/>
                    </a:lnTo>
                    <a:lnTo>
                      <a:pt x="884" y="239"/>
                    </a:lnTo>
                    <a:lnTo>
                      <a:pt x="899" y="260"/>
                    </a:lnTo>
                    <a:lnTo>
                      <a:pt x="890" y="275"/>
                    </a:lnTo>
                    <a:lnTo>
                      <a:pt x="882" y="293"/>
                    </a:lnTo>
                    <a:lnTo>
                      <a:pt x="861" y="302"/>
                    </a:lnTo>
                    <a:lnTo>
                      <a:pt x="839" y="313"/>
                    </a:lnTo>
                    <a:lnTo>
                      <a:pt x="828" y="317"/>
                    </a:lnTo>
                    <a:lnTo>
                      <a:pt x="830" y="332"/>
                    </a:lnTo>
                    <a:lnTo>
                      <a:pt x="824" y="358"/>
                    </a:lnTo>
                    <a:lnTo>
                      <a:pt x="816" y="370"/>
                    </a:lnTo>
                    <a:lnTo>
                      <a:pt x="810" y="378"/>
                    </a:lnTo>
                    <a:lnTo>
                      <a:pt x="805" y="383"/>
                    </a:lnTo>
                    <a:lnTo>
                      <a:pt x="802" y="376"/>
                    </a:lnTo>
                    <a:lnTo>
                      <a:pt x="791" y="388"/>
                    </a:lnTo>
                    <a:lnTo>
                      <a:pt x="794" y="393"/>
                    </a:lnTo>
                    <a:lnTo>
                      <a:pt x="783" y="383"/>
                    </a:lnTo>
                    <a:lnTo>
                      <a:pt x="771" y="388"/>
                    </a:lnTo>
                    <a:lnTo>
                      <a:pt x="783" y="378"/>
                    </a:lnTo>
                    <a:lnTo>
                      <a:pt x="771" y="365"/>
                    </a:lnTo>
                    <a:lnTo>
                      <a:pt x="774" y="358"/>
                    </a:lnTo>
                    <a:lnTo>
                      <a:pt x="774" y="345"/>
                    </a:lnTo>
                    <a:lnTo>
                      <a:pt x="780" y="325"/>
                    </a:lnTo>
                    <a:lnTo>
                      <a:pt x="788" y="308"/>
                    </a:lnTo>
                    <a:lnTo>
                      <a:pt x="768" y="307"/>
                    </a:lnTo>
                    <a:lnTo>
                      <a:pt x="749" y="305"/>
                    </a:lnTo>
                    <a:lnTo>
                      <a:pt x="743" y="308"/>
                    </a:lnTo>
                    <a:lnTo>
                      <a:pt x="751" y="303"/>
                    </a:lnTo>
                    <a:lnTo>
                      <a:pt x="737" y="297"/>
                    </a:lnTo>
                    <a:lnTo>
                      <a:pt x="723" y="290"/>
                    </a:lnTo>
                    <a:lnTo>
                      <a:pt x="704" y="274"/>
                    </a:lnTo>
                    <a:lnTo>
                      <a:pt x="686" y="267"/>
                    </a:lnTo>
                    <a:lnTo>
                      <a:pt x="660" y="274"/>
                    </a:lnTo>
                    <a:lnTo>
                      <a:pt x="661" y="270"/>
                    </a:lnTo>
                    <a:lnTo>
                      <a:pt x="656" y="274"/>
                    </a:lnTo>
                    <a:lnTo>
                      <a:pt x="669" y="249"/>
                    </a:lnTo>
                    <a:lnTo>
                      <a:pt x="667" y="239"/>
                    </a:lnTo>
                    <a:lnTo>
                      <a:pt x="653" y="242"/>
                    </a:lnTo>
                    <a:lnTo>
                      <a:pt x="647" y="249"/>
                    </a:lnTo>
                    <a:lnTo>
                      <a:pt x="653" y="239"/>
                    </a:lnTo>
                    <a:lnTo>
                      <a:pt x="650" y="232"/>
                    </a:lnTo>
                    <a:lnTo>
                      <a:pt x="673" y="204"/>
                    </a:lnTo>
                    <a:lnTo>
                      <a:pt x="704" y="182"/>
                    </a:lnTo>
                    <a:lnTo>
                      <a:pt x="706" y="177"/>
                    </a:lnTo>
                    <a:lnTo>
                      <a:pt x="721" y="172"/>
                    </a:lnTo>
                    <a:lnTo>
                      <a:pt x="717" y="171"/>
                    </a:lnTo>
                    <a:lnTo>
                      <a:pt x="725" y="172"/>
                    </a:lnTo>
                    <a:lnTo>
                      <a:pt x="729" y="167"/>
                    </a:lnTo>
                    <a:lnTo>
                      <a:pt x="738" y="166"/>
                    </a:lnTo>
                    <a:lnTo>
                      <a:pt x="738" y="163"/>
                    </a:lnTo>
                    <a:lnTo>
                      <a:pt x="763" y="158"/>
                    </a:lnTo>
                    <a:lnTo>
                      <a:pt x="765" y="151"/>
                    </a:lnTo>
                    <a:lnTo>
                      <a:pt x="748" y="148"/>
                    </a:lnTo>
                    <a:lnTo>
                      <a:pt x="751" y="146"/>
                    </a:lnTo>
                    <a:lnTo>
                      <a:pt x="734" y="144"/>
                    </a:lnTo>
                    <a:lnTo>
                      <a:pt x="735" y="138"/>
                    </a:lnTo>
                    <a:lnTo>
                      <a:pt x="755" y="141"/>
                    </a:lnTo>
                    <a:lnTo>
                      <a:pt x="777" y="146"/>
                    </a:lnTo>
                    <a:lnTo>
                      <a:pt x="783" y="141"/>
                    </a:lnTo>
                    <a:lnTo>
                      <a:pt x="788" y="138"/>
                    </a:lnTo>
                    <a:lnTo>
                      <a:pt x="796" y="141"/>
                    </a:lnTo>
                    <a:lnTo>
                      <a:pt x="796" y="136"/>
                    </a:lnTo>
                    <a:lnTo>
                      <a:pt x="803" y="139"/>
                    </a:lnTo>
                    <a:lnTo>
                      <a:pt x="836" y="123"/>
                    </a:lnTo>
                    <a:lnTo>
                      <a:pt x="839" y="118"/>
                    </a:lnTo>
                    <a:lnTo>
                      <a:pt x="811" y="113"/>
                    </a:lnTo>
                    <a:lnTo>
                      <a:pt x="794" y="104"/>
                    </a:lnTo>
                    <a:lnTo>
                      <a:pt x="825" y="109"/>
                    </a:lnTo>
                    <a:lnTo>
                      <a:pt x="836" y="116"/>
                    </a:lnTo>
                    <a:lnTo>
                      <a:pt x="867" y="10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77" name="Freeform 407">
                <a:extLst>
                  <a:ext uri="{FF2B5EF4-FFF2-40B4-BE49-F238E27FC236}">
                    <a16:creationId xmlns:a16="http://schemas.microsoft.com/office/drawing/2014/main" id="{C70DB74B-B249-83E7-4877-FDCBDB2C2B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69" y="3004"/>
                <a:ext cx="142" cy="92"/>
              </a:xfrm>
              <a:custGeom>
                <a:avLst/>
                <a:gdLst>
                  <a:gd name="T0" fmla="*/ 104 w 322"/>
                  <a:gd name="T1" fmla="*/ 21 h 209"/>
                  <a:gd name="T2" fmla="*/ 98 w 322"/>
                  <a:gd name="T3" fmla="*/ 17 h 209"/>
                  <a:gd name="T4" fmla="*/ 92 w 322"/>
                  <a:gd name="T5" fmla="*/ 16 h 209"/>
                  <a:gd name="T6" fmla="*/ 82 w 322"/>
                  <a:gd name="T7" fmla="*/ 20 h 209"/>
                  <a:gd name="T8" fmla="*/ 84 w 322"/>
                  <a:gd name="T9" fmla="*/ 14 h 209"/>
                  <a:gd name="T10" fmla="*/ 90 w 322"/>
                  <a:gd name="T11" fmla="*/ 12 h 209"/>
                  <a:gd name="T12" fmla="*/ 68 w 322"/>
                  <a:gd name="T13" fmla="*/ 12 h 209"/>
                  <a:gd name="T14" fmla="*/ 65 w 322"/>
                  <a:gd name="T15" fmla="*/ 12 h 209"/>
                  <a:gd name="T16" fmla="*/ 61 w 322"/>
                  <a:gd name="T17" fmla="*/ 12 h 209"/>
                  <a:gd name="T18" fmla="*/ 55 w 322"/>
                  <a:gd name="T19" fmla="*/ 11 h 209"/>
                  <a:gd name="T20" fmla="*/ 47 w 322"/>
                  <a:gd name="T21" fmla="*/ 3 h 209"/>
                  <a:gd name="T22" fmla="*/ 37 w 322"/>
                  <a:gd name="T23" fmla="*/ 6 h 209"/>
                  <a:gd name="T24" fmla="*/ 35 w 322"/>
                  <a:gd name="T25" fmla="*/ 11 h 209"/>
                  <a:gd name="T26" fmla="*/ 31 w 322"/>
                  <a:gd name="T27" fmla="*/ 18 h 209"/>
                  <a:gd name="T28" fmla="*/ 24 w 322"/>
                  <a:gd name="T29" fmla="*/ 14 h 209"/>
                  <a:gd name="T30" fmla="*/ 12 w 322"/>
                  <a:gd name="T31" fmla="*/ 7 h 209"/>
                  <a:gd name="T32" fmla="*/ 2 w 322"/>
                  <a:gd name="T33" fmla="*/ 25 h 209"/>
                  <a:gd name="T34" fmla="*/ 16 w 322"/>
                  <a:gd name="T35" fmla="*/ 28 h 209"/>
                  <a:gd name="T36" fmla="*/ 38 w 322"/>
                  <a:gd name="T37" fmla="*/ 27 h 209"/>
                  <a:gd name="T38" fmla="*/ 59 w 322"/>
                  <a:gd name="T39" fmla="*/ 26 h 209"/>
                  <a:gd name="T40" fmla="*/ 64 w 322"/>
                  <a:gd name="T41" fmla="*/ 31 h 209"/>
                  <a:gd name="T42" fmla="*/ 62 w 322"/>
                  <a:gd name="T43" fmla="*/ 38 h 209"/>
                  <a:gd name="T44" fmla="*/ 77 w 322"/>
                  <a:gd name="T45" fmla="*/ 38 h 209"/>
                  <a:gd name="T46" fmla="*/ 72 w 322"/>
                  <a:gd name="T47" fmla="*/ 53 h 209"/>
                  <a:gd name="T48" fmla="*/ 90 w 322"/>
                  <a:gd name="T49" fmla="*/ 58 h 209"/>
                  <a:gd name="T50" fmla="*/ 69 w 322"/>
                  <a:gd name="T51" fmla="*/ 55 h 209"/>
                  <a:gd name="T52" fmla="*/ 49 w 322"/>
                  <a:gd name="T53" fmla="*/ 67 h 209"/>
                  <a:gd name="T54" fmla="*/ 30 w 322"/>
                  <a:gd name="T55" fmla="*/ 71 h 209"/>
                  <a:gd name="T56" fmla="*/ 51 w 322"/>
                  <a:gd name="T57" fmla="*/ 71 h 209"/>
                  <a:gd name="T58" fmla="*/ 59 w 322"/>
                  <a:gd name="T59" fmla="*/ 71 h 209"/>
                  <a:gd name="T60" fmla="*/ 64 w 322"/>
                  <a:gd name="T61" fmla="*/ 77 h 209"/>
                  <a:gd name="T62" fmla="*/ 75 w 322"/>
                  <a:gd name="T63" fmla="*/ 86 h 209"/>
                  <a:gd name="T64" fmla="*/ 88 w 322"/>
                  <a:gd name="T65" fmla="*/ 83 h 209"/>
                  <a:gd name="T66" fmla="*/ 94 w 322"/>
                  <a:gd name="T67" fmla="*/ 83 h 209"/>
                  <a:gd name="T68" fmla="*/ 103 w 322"/>
                  <a:gd name="T69" fmla="*/ 86 h 209"/>
                  <a:gd name="T70" fmla="*/ 108 w 322"/>
                  <a:gd name="T71" fmla="*/ 80 h 209"/>
                  <a:gd name="T72" fmla="*/ 108 w 322"/>
                  <a:gd name="T73" fmla="*/ 73 h 209"/>
                  <a:gd name="T74" fmla="*/ 105 w 322"/>
                  <a:gd name="T75" fmla="*/ 69 h 209"/>
                  <a:gd name="T76" fmla="*/ 101 w 322"/>
                  <a:gd name="T77" fmla="*/ 66 h 209"/>
                  <a:gd name="T78" fmla="*/ 98 w 322"/>
                  <a:gd name="T79" fmla="*/ 61 h 209"/>
                  <a:gd name="T80" fmla="*/ 104 w 322"/>
                  <a:gd name="T81" fmla="*/ 59 h 209"/>
                  <a:gd name="T82" fmla="*/ 108 w 322"/>
                  <a:gd name="T83" fmla="*/ 55 h 209"/>
                  <a:gd name="T84" fmla="*/ 122 w 322"/>
                  <a:gd name="T85" fmla="*/ 56 h 209"/>
                  <a:gd name="T86" fmla="*/ 113 w 322"/>
                  <a:gd name="T87" fmla="*/ 63 h 209"/>
                  <a:gd name="T88" fmla="*/ 120 w 322"/>
                  <a:gd name="T89" fmla="*/ 66 h 209"/>
                  <a:gd name="T90" fmla="*/ 126 w 322"/>
                  <a:gd name="T91" fmla="*/ 59 h 209"/>
                  <a:gd name="T92" fmla="*/ 131 w 322"/>
                  <a:gd name="T93" fmla="*/ 59 h 209"/>
                  <a:gd name="T94" fmla="*/ 139 w 322"/>
                  <a:gd name="T95" fmla="*/ 55 h 209"/>
                  <a:gd name="T96" fmla="*/ 137 w 322"/>
                  <a:gd name="T97" fmla="*/ 51 h 209"/>
                  <a:gd name="T98" fmla="*/ 129 w 322"/>
                  <a:gd name="T99" fmla="*/ 54 h 209"/>
                  <a:gd name="T100" fmla="*/ 123 w 322"/>
                  <a:gd name="T101" fmla="*/ 51 h 209"/>
                  <a:gd name="T102" fmla="*/ 123 w 322"/>
                  <a:gd name="T103" fmla="*/ 49 h 209"/>
                  <a:gd name="T104" fmla="*/ 123 w 322"/>
                  <a:gd name="T105" fmla="*/ 45 h 209"/>
                  <a:gd name="T106" fmla="*/ 118 w 322"/>
                  <a:gd name="T107" fmla="*/ 44 h 209"/>
                  <a:gd name="T108" fmla="*/ 115 w 322"/>
                  <a:gd name="T109" fmla="*/ 42 h 209"/>
                  <a:gd name="T110" fmla="*/ 106 w 322"/>
                  <a:gd name="T111" fmla="*/ 39 h 209"/>
                  <a:gd name="T112" fmla="*/ 110 w 322"/>
                  <a:gd name="T113" fmla="*/ 37 h 209"/>
                  <a:gd name="T114" fmla="*/ 107 w 322"/>
                  <a:gd name="T115" fmla="*/ 34 h 209"/>
                  <a:gd name="T116" fmla="*/ 111 w 322"/>
                  <a:gd name="T117" fmla="*/ 31 h 209"/>
                  <a:gd name="T118" fmla="*/ 108 w 322"/>
                  <a:gd name="T119" fmla="*/ 30 h 209"/>
                  <a:gd name="T120" fmla="*/ 118 w 322"/>
                  <a:gd name="T121" fmla="*/ 24 h 209"/>
                  <a:gd name="T122" fmla="*/ 102 w 322"/>
                  <a:gd name="T123" fmla="*/ 24 h 20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322" h="209">
                    <a:moveTo>
                      <a:pt x="223" y="55"/>
                    </a:moveTo>
                    <a:lnTo>
                      <a:pt x="222" y="57"/>
                    </a:lnTo>
                    <a:lnTo>
                      <a:pt x="242" y="48"/>
                    </a:lnTo>
                    <a:lnTo>
                      <a:pt x="236" y="47"/>
                    </a:lnTo>
                    <a:lnTo>
                      <a:pt x="217" y="52"/>
                    </a:lnTo>
                    <a:lnTo>
                      <a:pt x="226" y="47"/>
                    </a:lnTo>
                    <a:lnTo>
                      <a:pt x="237" y="43"/>
                    </a:lnTo>
                    <a:lnTo>
                      <a:pt x="223" y="38"/>
                    </a:lnTo>
                    <a:lnTo>
                      <a:pt x="209" y="47"/>
                    </a:lnTo>
                    <a:lnTo>
                      <a:pt x="209" y="42"/>
                    </a:lnTo>
                    <a:lnTo>
                      <a:pt x="203" y="47"/>
                    </a:lnTo>
                    <a:lnTo>
                      <a:pt x="209" y="37"/>
                    </a:lnTo>
                    <a:lnTo>
                      <a:pt x="203" y="42"/>
                    </a:lnTo>
                    <a:lnTo>
                      <a:pt x="208" y="35"/>
                    </a:lnTo>
                    <a:lnTo>
                      <a:pt x="205" y="37"/>
                    </a:lnTo>
                    <a:lnTo>
                      <a:pt x="186" y="45"/>
                    </a:lnTo>
                    <a:lnTo>
                      <a:pt x="195" y="38"/>
                    </a:lnTo>
                    <a:lnTo>
                      <a:pt x="189" y="37"/>
                    </a:lnTo>
                    <a:lnTo>
                      <a:pt x="209" y="32"/>
                    </a:lnTo>
                    <a:lnTo>
                      <a:pt x="191" y="32"/>
                    </a:lnTo>
                    <a:lnTo>
                      <a:pt x="185" y="35"/>
                    </a:lnTo>
                    <a:lnTo>
                      <a:pt x="194" y="28"/>
                    </a:lnTo>
                    <a:lnTo>
                      <a:pt x="180" y="33"/>
                    </a:lnTo>
                    <a:lnTo>
                      <a:pt x="203" y="27"/>
                    </a:lnTo>
                    <a:lnTo>
                      <a:pt x="194" y="22"/>
                    </a:lnTo>
                    <a:lnTo>
                      <a:pt x="163" y="22"/>
                    </a:lnTo>
                    <a:lnTo>
                      <a:pt x="172" y="28"/>
                    </a:lnTo>
                    <a:lnTo>
                      <a:pt x="154" y="27"/>
                    </a:lnTo>
                    <a:lnTo>
                      <a:pt x="158" y="33"/>
                    </a:lnTo>
                    <a:lnTo>
                      <a:pt x="149" y="32"/>
                    </a:lnTo>
                    <a:lnTo>
                      <a:pt x="147" y="28"/>
                    </a:lnTo>
                    <a:lnTo>
                      <a:pt x="149" y="23"/>
                    </a:lnTo>
                    <a:lnTo>
                      <a:pt x="144" y="25"/>
                    </a:lnTo>
                    <a:lnTo>
                      <a:pt x="137" y="25"/>
                    </a:lnTo>
                    <a:lnTo>
                      <a:pt x="138" y="28"/>
                    </a:lnTo>
                    <a:lnTo>
                      <a:pt x="130" y="28"/>
                    </a:lnTo>
                    <a:lnTo>
                      <a:pt x="126" y="32"/>
                    </a:lnTo>
                    <a:lnTo>
                      <a:pt x="129" y="23"/>
                    </a:lnTo>
                    <a:lnTo>
                      <a:pt x="124" y="25"/>
                    </a:lnTo>
                    <a:lnTo>
                      <a:pt x="143" y="18"/>
                    </a:lnTo>
                    <a:lnTo>
                      <a:pt x="138" y="2"/>
                    </a:lnTo>
                    <a:lnTo>
                      <a:pt x="106" y="5"/>
                    </a:lnTo>
                    <a:lnTo>
                      <a:pt x="106" y="7"/>
                    </a:lnTo>
                    <a:lnTo>
                      <a:pt x="96" y="9"/>
                    </a:lnTo>
                    <a:lnTo>
                      <a:pt x="87" y="10"/>
                    </a:lnTo>
                    <a:lnTo>
                      <a:pt x="101" y="13"/>
                    </a:lnTo>
                    <a:lnTo>
                      <a:pt x="84" y="13"/>
                    </a:lnTo>
                    <a:lnTo>
                      <a:pt x="96" y="18"/>
                    </a:lnTo>
                    <a:lnTo>
                      <a:pt x="76" y="15"/>
                    </a:lnTo>
                    <a:lnTo>
                      <a:pt x="75" y="25"/>
                    </a:lnTo>
                    <a:lnTo>
                      <a:pt x="79" y="25"/>
                    </a:lnTo>
                    <a:lnTo>
                      <a:pt x="82" y="32"/>
                    </a:lnTo>
                    <a:lnTo>
                      <a:pt x="65" y="28"/>
                    </a:lnTo>
                    <a:lnTo>
                      <a:pt x="62" y="32"/>
                    </a:lnTo>
                    <a:lnTo>
                      <a:pt x="70" y="40"/>
                    </a:lnTo>
                    <a:lnTo>
                      <a:pt x="59" y="47"/>
                    </a:lnTo>
                    <a:lnTo>
                      <a:pt x="41" y="47"/>
                    </a:lnTo>
                    <a:lnTo>
                      <a:pt x="64" y="40"/>
                    </a:lnTo>
                    <a:lnTo>
                      <a:pt x="55" y="32"/>
                    </a:lnTo>
                    <a:lnTo>
                      <a:pt x="75" y="10"/>
                    </a:lnTo>
                    <a:lnTo>
                      <a:pt x="96" y="0"/>
                    </a:lnTo>
                    <a:lnTo>
                      <a:pt x="53" y="5"/>
                    </a:lnTo>
                    <a:lnTo>
                      <a:pt x="28" y="17"/>
                    </a:lnTo>
                    <a:lnTo>
                      <a:pt x="0" y="40"/>
                    </a:lnTo>
                    <a:lnTo>
                      <a:pt x="28" y="47"/>
                    </a:lnTo>
                    <a:lnTo>
                      <a:pt x="4" y="48"/>
                    </a:lnTo>
                    <a:lnTo>
                      <a:pt x="5" y="57"/>
                    </a:lnTo>
                    <a:lnTo>
                      <a:pt x="22" y="60"/>
                    </a:lnTo>
                    <a:lnTo>
                      <a:pt x="24" y="58"/>
                    </a:lnTo>
                    <a:lnTo>
                      <a:pt x="28" y="57"/>
                    </a:lnTo>
                    <a:lnTo>
                      <a:pt x="36" y="63"/>
                    </a:lnTo>
                    <a:lnTo>
                      <a:pt x="86" y="65"/>
                    </a:lnTo>
                    <a:lnTo>
                      <a:pt x="73" y="60"/>
                    </a:lnTo>
                    <a:lnTo>
                      <a:pt x="96" y="68"/>
                    </a:lnTo>
                    <a:lnTo>
                      <a:pt x="87" y="62"/>
                    </a:lnTo>
                    <a:lnTo>
                      <a:pt x="126" y="65"/>
                    </a:lnTo>
                    <a:lnTo>
                      <a:pt x="123" y="58"/>
                    </a:lnTo>
                    <a:lnTo>
                      <a:pt x="133" y="55"/>
                    </a:lnTo>
                    <a:lnTo>
                      <a:pt x="133" y="58"/>
                    </a:lnTo>
                    <a:lnTo>
                      <a:pt x="140" y="60"/>
                    </a:lnTo>
                    <a:lnTo>
                      <a:pt x="138" y="68"/>
                    </a:lnTo>
                    <a:lnTo>
                      <a:pt x="147" y="68"/>
                    </a:lnTo>
                    <a:lnTo>
                      <a:pt x="144" y="70"/>
                    </a:lnTo>
                    <a:lnTo>
                      <a:pt x="149" y="70"/>
                    </a:lnTo>
                    <a:lnTo>
                      <a:pt x="154" y="80"/>
                    </a:lnTo>
                    <a:lnTo>
                      <a:pt x="140" y="85"/>
                    </a:lnTo>
                    <a:lnTo>
                      <a:pt x="140" y="86"/>
                    </a:lnTo>
                    <a:lnTo>
                      <a:pt x="157" y="81"/>
                    </a:lnTo>
                    <a:lnTo>
                      <a:pt x="163" y="83"/>
                    </a:lnTo>
                    <a:lnTo>
                      <a:pt x="169" y="90"/>
                    </a:lnTo>
                    <a:lnTo>
                      <a:pt x="174" y="86"/>
                    </a:lnTo>
                    <a:lnTo>
                      <a:pt x="172" y="93"/>
                    </a:lnTo>
                    <a:lnTo>
                      <a:pt x="180" y="96"/>
                    </a:lnTo>
                    <a:lnTo>
                      <a:pt x="177" y="115"/>
                    </a:lnTo>
                    <a:lnTo>
                      <a:pt x="163" y="121"/>
                    </a:lnTo>
                    <a:lnTo>
                      <a:pt x="185" y="123"/>
                    </a:lnTo>
                    <a:lnTo>
                      <a:pt x="194" y="116"/>
                    </a:lnTo>
                    <a:lnTo>
                      <a:pt x="209" y="126"/>
                    </a:lnTo>
                    <a:lnTo>
                      <a:pt x="203" y="131"/>
                    </a:lnTo>
                    <a:lnTo>
                      <a:pt x="186" y="131"/>
                    </a:lnTo>
                    <a:lnTo>
                      <a:pt x="180" y="134"/>
                    </a:lnTo>
                    <a:lnTo>
                      <a:pt x="185" y="125"/>
                    </a:lnTo>
                    <a:lnTo>
                      <a:pt x="157" y="125"/>
                    </a:lnTo>
                    <a:lnTo>
                      <a:pt x="138" y="133"/>
                    </a:lnTo>
                    <a:lnTo>
                      <a:pt x="140" y="143"/>
                    </a:lnTo>
                    <a:lnTo>
                      <a:pt x="110" y="149"/>
                    </a:lnTo>
                    <a:lnTo>
                      <a:pt x="112" y="153"/>
                    </a:lnTo>
                    <a:lnTo>
                      <a:pt x="109" y="156"/>
                    </a:lnTo>
                    <a:lnTo>
                      <a:pt x="109" y="148"/>
                    </a:lnTo>
                    <a:lnTo>
                      <a:pt x="87" y="146"/>
                    </a:lnTo>
                    <a:lnTo>
                      <a:pt x="69" y="161"/>
                    </a:lnTo>
                    <a:lnTo>
                      <a:pt x="86" y="166"/>
                    </a:lnTo>
                    <a:lnTo>
                      <a:pt x="103" y="163"/>
                    </a:lnTo>
                    <a:lnTo>
                      <a:pt x="106" y="161"/>
                    </a:lnTo>
                    <a:lnTo>
                      <a:pt x="116" y="161"/>
                    </a:lnTo>
                    <a:lnTo>
                      <a:pt x="121" y="154"/>
                    </a:lnTo>
                    <a:lnTo>
                      <a:pt x="126" y="158"/>
                    </a:lnTo>
                    <a:lnTo>
                      <a:pt x="124" y="163"/>
                    </a:lnTo>
                    <a:lnTo>
                      <a:pt x="133" y="161"/>
                    </a:lnTo>
                    <a:lnTo>
                      <a:pt x="140" y="161"/>
                    </a:lnTo>
                    <a:lnTo>
                      <a:pt x="137" y="166"/>
                    </a:lnTo>
                    <a:lnTo>
                      <a:pt x="144" y="173"/>
                    </a:lnTo>
                    <a:lnTo>
                      <a:pt x="144" y="176"/>
                    </a:lnTo>
                    <a:lnTo>
                      <a:pt x="154" y="178"/>
                    </a:lnTo>
                    <a:lnTo>
                      <a:pt x="146" y="181"/>
                    </a:lnTo>
                    <a:lnTo>
                      <a:pt x="154" y="188"/>
                    </a:lnTo>
                    <a:lnTo>
                      <a:pt x="169" y="196"/>
                    </a:lnTo>
                    <a:lnTo>
                      <a:pt x="191" y="202"/>
                    </a:lnTo>
                    <a:lnTo>
                      <a:pt x="214" y="209"/>
                    </a:lnTo>
                    <a:lnTo>
                      <a:pt x="212" y="202"/>
                    </a:lnTo>
                    <a:lnTo>
                      <a:pt x="200" y="188"/>
                    </a:lnTo>
                    <a:lnTo>
                      <a:pt x="189" y="176"/>
                    </a:lnTo>
                    <a:lnTo>
                      <a:pt x="203" y="181"/>
                    </a:lnTo>
                    <a:lnTo>
                      <a:pt x="205" y="176"/>
                    </a:lnTo>
                    <a:lnTo>
                      <a:pt x="214" y="188"/>
                    </a:lnTo>
                    <a:lnTo>
                      <a:pt x="217" y="184"/>
                    </a:lnTo>
                    <a:lnTo>
                      <a:pt x="222" y="189"/>
                    </a:lnTo>
                    <a:lnTo>
                      <a:pt x="231" y="193"/>
                    </a:lnTo>
                    <a:lnTo>
                      <a:pt x="234" y="196"/>
                    </a:lnTo>
                    <a:lnTo>
                      <a:pt x="236" y="189"/>
                    </a:lnTo>
                    <a:lnTo>
                      <a:pt x="240" y="189"/>
                    </a:lnTo>
                    <a:lnTo>
                      <a:pt x="242" y="176"/>
                    </a:lnTo>
                    <a:lnTo>
                      <a:pt x="246" y="181"/>
                    </a:lnTo>
                    <a:lnTo>
                      <a:pt x="246" y="176"/>
                    </a:lnTo>
                    <a:lnTo>
                      <a:pt x="250" y="169"/>
                    </a:lnTo>
                    <a:lnTo>
                      <a:pt x="245" y="168"/>
                    </a:lnTo>
                    <a:lnTo>
                      <a:pt x="245" y="166"/>
                    </a:lnTo>
                    <a:lnTo>
                      <a:pt x="246" y="161"/>
                    </a:lnTo>
                    <a:lnTo>
                      <a:pt x="243" y="158"/>
                    </a:lnTo>
                    <a:lnTo>
                      <a:pt x="240" y="158"/>
                    </a:lnTo>
                    <a:lnTo>
                      <a:pt x="237" y="156"/>
                    </a:lnTo>
                    <a:lnTo>
                      <a:pt x="233" y="151"/>
                    </a:lnTo>
                    <a:lnTo>
                      <a:pt x="231" y="153"/>
                    </a:lnTo>
                    <a:lnTo>
                      <a:pt x="234" y="149"/>
                    </a:lnTo>
                    <a:lnTo>
                      <a:pt x="229" y="151"/>
                    </a:lnTo>
                    <a:lnTo>
                      <a:pt x="229" y="146"/>
                    </a:lnTo>
                    <a:lnTo>
                      <a:pt x="229" y="139"/>
                    </a:lnTo>
                    <a:lnTo>
                      <a:pt x="222" y="139"/>
                    </a:lnTo>
                    <a:lnTo>
                      <a:pt x="223" y="138"/>
                    </a:lnTo>
                    <a:lnTo>
                      <a:pt x="223" y="134"/>
                    </a:lnTo>
                    <a:lnTo>
                      <a:pt x="220" y="130"/>
                    </a:lnTo>
                    <a:lnTo>
                      <a:pt x="229" y="138"/>
                    </a:lnTo>
                    <a:lnTo>
                      <a:pt x="236" y="133"/>
                    </a:lnTo>
                    <a:lnTo>
                      <a:pt x="234" y="126"/>
                    </a:lnTo>
                    <a:lnTo>
                      <a:pt x="240" y="126"/>
                    </a:lnTo>
                    <a:lnTo>
                      <a:pt x="240" y="125"/>
                    </a:lnTo>
                    <a:lnTo>
                      <a:pt x="246" y="126"/>
                    </a:lnTo>
                    <a:lnTo>
                      <a:pt x="257" y="131"/>
                    </a:lnTo>
                    <a:lnTo>
                      <a:pt x="260" y="128"/>
                    </a:lnTo>
                    <a:lnTo>
                      <a:pt x="251" y="134"/>
                    </a:lnTo>
                    <a:lnTo>
                      <a:pt x="277" y="128"/>
                    </a:lnTo>
                    <a:lnTo>
                      <a:pt x="265" y="134"/>
                    </a:lnTo>
                    <a:lnTo>
                      <a:pt x="256" y="139"/>
                    </a:lnTo>
                    <a:lnTo>
                      <a:pt x="260" y="139"/>
                    </a:lnTo>
                    <a:lnTo>
                      <a:pt x="257" y="144"/>
                    </a:lnTo>
                    <a:lnTo>
                      <a:pt x="265" y="144"/>
                    </a:lnTo>
                    <a:lnTo>
                      <a:pt x="263" y="151"/>
                    </a:lnTo>
                    <a:lnTo>
                      <a:pt x="267" y="148"/>
                    </a:lnTo>
                    <a:lnTo>
                      <a:pt x="271" y="151"/>
                    </a:lnTo>
                    <a:lnTo>
                      <a:pt x="277" y="151"/>
                    </a:lnTo>
                    <a:lnTo>
                      <a:pt x="277" y="143"/>
                    </a:lnTo>
                    <a:lnTo>
                      <a:pt x="279" y="143"/>
                    </a:lnTo>
                    <a:lnTo>
                      <a:pt x="285" y="134"/>
                    </a:lnTo>
                    <a:lnTo>
                      <a:pt x="290" y="139"/>
                    </a:lnTo>
                    <a:lnTo>
                      <a:pt x="293" y="138"/>
                    </a:lnTo>
                    <a:lnTo>
                      <a:pt x="301" y="134"/>
                    </a:lnTo>
                    <a:lnTo>
                      <a:pt x="296" y="134"/>
                    </a:lnTo>
                    <a:lnTo>
                      <a:pt x="305" y="133"/>
                    </a:lnTo>
                    <a:lnTo>
                      <a:pt x="297" y="130"/>
                    </a:lnTo>
                    <a:lnTo>
                      <a:pt x="307" y="126"/>
                    </a:lnTo>
                    <a:lnTo>
                      <a:pt x="315" y="126"/>
                    </a:lnTo>
                    <a:lnTo>
                      <a:pt x="316" y="125"/>
                    </a:lnTo>
                    <a:lnTo>
                      <a:pt x="315" y="123"/>
                    </a:lnTo>
                    <a:lnTo>
                      <a:pt x="322" y="123"/>
                    </a:lnTo>
                    <a:lnTo>
                      <a:pt x="310" y="116"/>
                    </a:lnTo>
                    <a:lnTo>
                      <a:pt x="308" y="120"/>
                    </a:lnTo>
                    <a:lnTo>
                      <a:pt x="302" y="120"/>
                    </a:lnTo>
                    <a:lnTo>
                      <a:pt x="302" y="116"/>
                    </a:lnTo>
                    <a:lnTo>
                      <a:pt x="293" y="123"/>
                    </a:lnTo>
                    <a:lnTo>
                      <a:pt x="293" y="120"/>
                    </a:lnTo>
                    <a:lnTo>
                      <a:pt x="301" y="111"/>
                    </a:lnTo>
                    <a:lnTo>
                      <a:pt x="296" y="115"/>
                    </a:lnTo>
                    <a:lnTo>
                      <a:pt x="280" y="115"/>
                    </a:lnTo>
                    <a:lnTo>
                      <a:pt x="291" y="111"/>
                    </a:lnTo>
                    <a:lnTo>
                      <a:pt x="279" y="113"/>
                    </a:lnTo>
                    <a:lnTo>
                      <a:pt x="287" y="111"/>
                    </a:lnTo>
                    <a:lnTo>
                      <a:pt x="280" y="111"/>
                    </a:lnTo>
                    <a:lnTo>
                      <a:pt x="291" y="110"/>
                    </a:lnTo>
                    <a:lnTo>
                      <a:pt x="291" y="108"/>
                    </a:lnTo>
                    <a:lnTo>
                      <a:pt x="285" y="105"/>
                    </a:lnTo>
                    <a:lnTo>
                      <a:pt x="280" y="103"/>
                    </a:lnTo>
                    <a:lnTo>
                      <a:pt x="285" y="98"/>
                    </a:lnTo>
                    <a:lnTo>
                      <a:pt x="277" y="105"/>
                    </a:lnTo>
                    <a:lnTo>
                      <a:pt x="274" y="100"/>
                    </a:lnTo>
                    <a:lnTo>
                      <a:pt x="268" y="101"/>
                    </a:lnTo>
                    <a:lnTo>
                      <a:pt x="273" y="98"/>
                    </a:lnTo>
                    <a:lnTo>
                      <a:pt x="263" y="101"/>
                    </a:lnTo>
                    <a:lnTo>
                      <a:pt x="268" y="96"/>
                    </a:lnTo>
                    <a:lnTo>
                      <a:pt x="260" y="96"/>
                    </a:lnTo>
                    <a:lnTo>
                      <a:pt x="256" y="96"/>
                    </a:lnTo>
                    <a:lnTo>
                      <a:pt x="250" y="93"/>
                    </a:lnTo>
                    <a:lnTo>
                      <a:pt x="260" y="93"/>
                    </a:lnTo>
                    <a:lnTo>
                      <a:pt x="240" y="88"/>
                    </a:lnTo>
                    <a:lnTo>
                      <a:pt x="250" y="86"/>
                    </a:lnTo>
                    <a:lnTo>
                      <a:pt x="240" y="85"/>
                    </a:lnTo>
                    <a:lnTo>
                      <a:pt x="256" y="86"/>
                    </a:lnTo>
                    <a:lnTo>
                      <a:pt x="250" y="83"/>
                    </a:lnTo>
                    <a:lnTo>
                      <a:pt x="259" y="81"/>
                    </a:lnTo>
                    <a:lnTo>
                      <a:pt x="243" y="80"/>
                    </a:lnTo>
                    <a:lnTo>
                      <a:pt x="250" y="78"/>
                    </a:lnTo>
                    <a:lnTo>
                      <a:pt x="243" y="78"/>
                    </a:lnTo>
                    <a:lnTo>
                      <a:pt x="254" y="78"/>
                    </a:lnTo>
                    <a:lnTo>
                      <a:pt x="245" y="75"/>
                    </a:lnTo>
                    <a:lnTo>
                      <a:pt x="274" y="78"/>
                    </a:lnTo>
                    <a:lnTo>
                      <a:pt x="251" y="71"/>
                    </a:lnTo>
                    <a:lnTo>
                      <a:pt x="237" y="71"/>
                    </a:lnTo>
                    <a:lnTo>
                      <a:pt x="274" y="70"/>
                    </a:lnTo>
                    <a:lnTo>
                      <a:pt x="265" y="58"/>
                    </a:lnTo>
                    <a:lnTo>
                      <a:pt x="245" y="68"/>
                    </a:lnTo>
                    <a:lnTo>
                      <a:pt x="236" y="70"/>
                    </a:lnTo>
                    <a:lnTo>
                      <a:pt x="257" y="60"/>
                    </a:lnTo>
                    <a:lnTo>
                      <a:pt x="237" y="65"/>
                    </a:lnTo>
                    <a:lnTo>
                      <a:pt x="267" y="55"/>
                    </a:lnTo>
                    <a:lnTo>
                      <a:pt x="250" y="52"/>
                    </a:lnTo>
                    <a:lnTo>
                      <a:pt x="242" y="55"/>
                    </a:lnTo>
                    <a:lnTo>
                      <a:pt x="250" y="50"/>
                    </a:lnTo>
                    <a:lnTo>
                      <a:pt x="231" y="55"/>
                    </a:lnTo>
                    <a:lnTo>
                      <a:pt x="219" y="63"/>
                    </a:lnTo>
                    <a:lnTo>
                      <a:pt x="223" y="5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78" name="Freeform 408">
                <a:extLst>
                  <a:ext uri="{FF2B5EF4-FFF2-40B4-BE49-F238E27FC236}">
                    <a16:creationId xmlns:a16="http://schemas.microsoft.com/office/drawing/2014/main" id="{4CC132F7-5A15-D54B-CBB2-5F2733280A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1" y="2947"/>
                <a:ext cx="174" cy="39"/>
              </a:xfrm>
              <a:custGeom>
                <a:avLst/>
                <a:gdLst>
                  <a:gd name="T0" fmla="*/ 44 w 392"/>
                  <a:gd name="T1" fmla="*/ 28 h 89"/>
                  <a:gd name="T2" fmla="*/ 32 w 392"/>
                  <a:gd name="T3" fmla="*/ 32 h 89"/>
                  <a:gd name="T4" fmla="*/ 26 w 392"/>
                  <a:gd name="T5" fmla="*/ 29 h 89"/>
                  <a:gd name="T6" fmla="*/ 31 w 392"/>
                  <a:gd name="T7" fmla="*/ 27 h 89"/>
                  <a:gd name="T8" fmla="*/ 21 w 392"/>
                  <a:gd name="T9" fmla="*/ 25 h 89"/>
                  <a:gd name="T10" fmla="*/ 47 w 392"/>
                  <a:gd name="T11" fmla="*/ 23 h 89"/>
                  <a:gd name="T12" fmla="*/ 36 w 392"/>
                  <a:gd name="T13" fmla="*/ 15 h 89"/>
                  <a:gd name="T14" fmla="*/ 51 w 392"/>
                  <a:gd name="T15" fmla="*/ 14 h 89"/>
                  <a:gd name="T16" fmla="*/ 59 w 392"/>
                  <a:gd name="T17" fmla="*/ 17 h 89"/>
                  <a:gd name="T18" fmla="*/ 55 w 392"/>
                  <a:gd name="T19" fmla="*/ 14 h 89"/>
                  <a:gd name="T20" fmla="*/ 79 w 392"/>
                  <a:gd name="T21" fmla="*/ 11 h 89"/>
                  <a:gd name="T22" fmla="*/ 93 w 392"/>
                  <a:gd name="T23" fmla="*/ 8 h 89"/>
                  <a:gd name="T24" fmla="*/ 66 w 392"/>
                  <a:gd name="T25" fmla="*/ 11 h 89"/>
                  <a:gd name="T26" fmla="*/ 40 w 392"/>
                  <a:gd name="T27" fmla="*/ 12 h 89"/>
                  <a:gd name="T28" fmla="*/ 63 w 392"/>
                  <a:gd name="T29" fmla="*/ 10 h 89"/>
                  <a:gd name="T30" fmla="*/ 35 w 392"/>
                  <a:gd name="T31" fmla="*/ 12 h 89"/>
                  <a:gd name="T32" fmla="*/ 28 w 392"/>
                  <a:gd name="T33" fmla="*/ 11 h 89"/>
                  <a:gd name="T34" fmla="*/ 52 w 392"/>
                  <a:gd name="T35" fmla="*/ 8 h 89"/>
                  <a:gd name="T36" fmla="*/ 26 w 392"/>
                  <a:gd name="T37" fmla="*/ 9 h 89"/>
                  <a:gd name="T38" fmla="*/ 43 w 392"/>
                  <a:gd name="T39" fmla="*/ 8 h 89"/>
                  <a:gd name="T40" fmla="*/ 22 w 392"/>
                  <a:gd name="T41" fmla="*/ 7 h 89"/>
                  <a:gd name="T42" fmla="*/ 50 w 392"/>
                  <a:gd name="T43" fmla="*/ 4 h 89"/>
                  <a:gd name="T44" fmla="*/ 83 w 392"/>
                  <a:gd name="T45" fmla="*/ 6 h 89"/>
                  <a:gd name="T46" fmla="*/ 79 w 392"/>
                  <a:gd name="T47" fmla="*/ 0 h 89"/>
                  <a:gd name="T48" fmla="*/ 106 w 392"/>
                  <a:gd name="T49" fmla="*/ 2 h 89"/>
                  <a:gd name="T50" fmla="*/ 100 w 392"/>
                  <a:gd name="T51" fmla="*/ 0 h 89"/>
                  <a:gd name="T52" fmla="*/ 137 w 392"/>
                  <a:gd name="T53" fmla="*/ 1 h 89"/>
                  <a:gd name="T54" fmla="*/ 174 w 392"/>
                  <a:gd name="T55" fmla="*/ 3 h 89"/>
                  <a:gd name="T56" fmla="*/ 149 w 392"/>
                  <a:gd name="T57" fmla="*/ 7 h 89"/>
                  <a:gd name="T58" fmla="*/ 124 w 392"/>
                  <a:gd name="T59" fmla="*/ 10 h 89"/>
                  <a:gd name="T60" fmla="*/ 154 w 392"/>
                  <a:gd name="T61" fmla="*/ 7 h 89"/>
                  <a:gd name="T62" fmla="*/ 127 w 392"/>
                  <a:gd name="T63" fmla="*/ 12 h 89"/>
                  <a:gd name="T64" fmla="*/ 100 w 392"/>
                  <a:gd name="T65" fmla="*/ 17 h 89"/>
                  <a:gd name="T66" fmla="*/ 75 w 392"/>
                  <a:gd name="T67" fmla="*/ 20 h 89"/>
                  <a:gd name="T68" fmla="*/ 89 w 392"/>
                  <a:gd name="T69" fmla="*/ 22 h 89"/>
                  <a:gd name="T70" fmla="*/ 70 w 392"/>
                  <a:gd name="T71" fmla="*/ 23 h 89"/>
                  <a:gd name="T72" fmla="*/ 86 w 392"/>
                  <a:gd name="T73" fmla="*/ 25 h 89"/>
                  <a:gd name="T74" fmla="*/ 63 w 392"/>
                  <a:gd name="T75" fmla="*/ 30 h 89"/>
                  <a:gd name="T76" fmla="*/ 62 w 392"/>
                  <a:gd name="T77" fmla="*/ 32 h 89"/>
                  <a:gd name="T78" fmla="*/ 44 w 392"/>
                  <a:gd name="T79" fmla="*/ 33 h 89"/>
                  <a:gd name="T80" fmla="*/ 58 w 392"/>
                  <a:gd name="T81" fmla="*/ 38 h 89"/>
                  <a:gd name="T82" fmla="*/ 40 w 392"/>
                  <a:gd name="T83" fmla="*/ 39 h 89"/>
                  <a:gd name="T84" fmla="*/ 20 w 392"/>
                  <a:gd name="T85" fmla="*/ 38 h 89"/>
                  <a:gd name="T86" fmla="*/ 0 w 392"/>
                  <a:gd name="T87" fmla="*/ 38 h 89"/>
                  <a:gd name="T88" fmla="*/ 13 w 392"/>
                  <a:gd name="T89" fmla="*/ 34 h 89"/>
                  <a:gd name="T90" fmla="*/ 11 w 392"/>
                  <a:gd name="T91" fmla="*/ 31 h 89"/>
                  <a:gd name="T92" fmla="*/ 32 w 392"/>
                  <a:gd name="T93" fmla="*/ 33 h 89"/>
                  <a:gd name="T94" fmla="*/ 44 w 392"/>
                  <a:gd name="T95" fmla="*/ 28 h 8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92" h="89">
                    <a:moveTo>
                      <a:pt x="98" y="64"/>
                    </a:moveTo>
                    <a:lnTo>
                      <a:pt x="73" y="73"/>
                    </a:lnTo>
                    <a:lnTo>
                      <a:pt x="58" y="66"/>
                    </a:lnTo>
                    <a:lnTo>
                      <a:pt x="70" y="61"/>
                    </a:lnTo>
                    <a:lnTo>
                      <a:pt x="47" y="58"/>
                    </a:lnTo>
                    <a:lnTo>
                      <a:pt x="107" y="53"/>
                    </a:lnTo>
                    <a:lnTo>
                      <a:pt x="81" y="34"/>
                    </a:lnTo>
                    <a:lnTo>
                      <a:pt x="116" y="33"/>
                    </a:lnTo>
                    <a:lnTo>
                      <a:pt x="132" y="39"/>
                    </a:lnTo>
                    <a:lnTo>
                      <a:pt x="124" y="33"/>
                    </a:lnTo>
                    <a:lnTo>
                      <a:pt x="178" y="24"/>
                    </a:lnTo>
                    <a:lnTo>
                      <a:pt x="209" y="18"/>
                    </a:lnTo>
                    <a:lnTo>
                      <a:pt x="149" y="24"/>
                    </a:lnTo>
                    <a:lnTo>
                      <a:pt x="90" y="28"/>
                    </a:lnTo>
                    <a:lnTo>
                      <a:pt x="141" y="23"/>
                    </a:lnTo>
                    <a:lnTo>
                      <a:pt x="79" y="28"/>
                    </a:lnTo>
                    <a:lnTo>
                      <a:pt x="62" y="24"/>
                    </a:lnTo>
                    <a:lnTo>
                      <a:pt x="118" y="19"/>
                    </a:lnTo>
                    <a:lnTo>
                      <a:pt x="59" y="21"/>
                    </a:lnTo>
                    <a:lnTo>
                      <a:pt x="96" y="18"/>
                    </a:lnTo>
                    <a:lnTo>
                      <a:pt x="50" y="16"/>
                    </a:lnTo>
                    <a:lnTo>
                      <a:pt x="112" y="10"/>
                    </a:lnTo>
                    <a:lnTo>
                      <a:pt x="188" y="13"/>
                    </a:lnTo>
                    <a:lnTo>
                      <a:pt x="178" y="1"/>
                    </a:lnTo>
                    <a:lnTo>
                      <a:pt x="239" y="5"/>
                    </a:lnTo>
                    <a:lnTo>
                      <a:pt x="225" y="0"/>
                    </a:lnTo>
                    <a:lnTo>
                      <a:pt x="308" y="3"/>
                    </a:lnTo>
                    <a:lnTo>
                      <a:pt x="392" y="6"/>
                    </a:lnTo>
                    <a:lnTo>
                      <a:pt x="336" y="16"/>
                    </a:lnTo>
                    <a:lnTo>
                      <a:pt x="280" y="23"/>
                    </a:lnTo>
                    <a:lnTo>
                      <a:pt x="347" y="16"/>
                    </a:lnTo>
                    <a:lnTo>
                      <a:pt x="285" y="28"/>
                    </a:lnTo>
                    <a:lnTo>
                      <a:pt x="225" y="39"/>
                    </a:lnTo>
                    <a:lnTo>
                      <a:pt x="169" y="46"/>
                    </a:lnTo>
                    <a:lnTo>
                      <a:pt x="201" y="51"/>
                    </a:lnTo>
                    <a:lnTo>
                      <a:pt x="158" y="53"/>
                    </a:lnTo>
                    <a:lnTo>
                      <a:pt x="194" y="56"/>
                    </a:lnTo>
                    <a:lnTo>
                      <a:pt x="143" y="68"/>
                    </a:lnTo>
                    <a:lnTo>
                      <a:pt x="140" y="74"/>
                    </a:lnTo>
                    <a:lnTo>
                      <a:pt x="99" y="76"/>
                    </a:lnTo>
                    <a:lnTo>
                      <a:pt x="130" y="87"/>
                    </a:lnTo>
                    <a:lnTo>
                      <a:pt x="90" y="89"/>
                    </a:lnTo>
                    <a:lnTo>
                      <a:pt x="45" y="87"/>
                    </a:lnTo>
                    <a:lnTo>
                      <a:pt x="0" y="87"/>
                    </a:lnTo>
                    <a:lnTo>
                      <a:pt x="30" y="78"/>
                    </a:lnTo>
                    <a:lnTo>
                      <a:pt x="25" y="71"/>
                    </a:lnTo>
                    <a:lnTo>
                      <a:pt x="73" y="76"/>
                    </a:lnTo>
                    <a:lnTo>
                      <a:pt x="98" y="6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79" name="Freeform 409">
                <a:extLst>
                  <a:ext uri="{FF2B5EF4-FFF2-40B4-BE49-F238E27FC236}">
                    <a16:creationId xmlns:a16="http://schemas.microsoft.com/office/drawing/2014/main" id="{08B117BF-BEF9-C77B-4AE3-019D3EEEA6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2" y="3007"/>
                <a:ext cx="95" cy="36"/>
              </a:xfrm>
              <a:custGeom>
                <a:avLst/>
                <a:gdLst>
                  <a:gd name="T0" fmla="*/ 63 w 217"/>
                  <a:gd name="T1" fmla="*/ 33 h 81"/>
                  <a:gd name="T2" fmla="*/ 59 w 217"/>
                  <a:gd name="T3" fmla="*/ 30 h 81"/>
                  <a:gd name="T4" fmla="*/ 56 w 217"/>
                  <a:gd name="T5" fmla="*/ 29 h 81"/>
                  <a:gd name="T6" fmla="*/ 47 w 217"/>
                  <a:gd name="T7" fmla="*/ 33 h 81"/>
                  <a:gd name="T8" fmla="*/ 31 w 217"/>
                  <a:gd name="T9" fmla="*/ 35 h 81"/>
                  <a:gd name="T10" fmla="*/ 14 w 217"/>
                  <a:gd name="T11" fmla="*/ 36 h 81"/>
                  <a:gd name="T12" fmla="*/ 14 w 217"/>
                  <a:gd name="T13" fmla="*/ 33 h 81"/>
                  <a:gd name="T14" fmla="*/ 0 w 217"/>
                  <a:gd name="T15" fmla="*/ 28 h 81"/>
                  <a:gd name="T16" fmla="*/ 3 w 217"/>
                  <a:gd name="T17" fmla="*/ 24 h 81"/>
                  <a:gd name="T18" fmla="*/ 20 w 217"/>
                  <a:gd name="T19" fmla="*/ 24 h 81"/>
                  <a:gd name="T20" fmla="*/ 37 w 217"/>
                  <a:gd name="T21" fmla="*/ 23 h 81"/>
                  <a:gd name="T22" fmla="*/ 21 w 217"/>
                  <a:gd name="T23" fmla="*/ 20 h 81"/>
                  <a:gd name="T24" fmla="*/ 5 w 217"/>
                  <a:gd name="T25" fmla="*/ 20 h 81"/>
                  <a:gd name="T26" fmla="*/ 3 w 217"/>
                  <a:gd name="T27" fmla="*/ 18 h 81"/>
                  <a:gd name="T28" fmla="*/ 25 w 217"/>
                  <a:gd name="T29" fmla="*/ 13 h 81"/>
                  <a:gd name="T30" fmla="*/ 8 w 217"/>
                  <a:gd name="T31" fmla="*/ 13 h 81"/>
                  <a:gd name="T32" fmla="*/ 12 w 217"/>
                  <a:gd name="T33" fmla="*/ 12 h 81"/>
                  <a:gd name="T34" fmla="*/ 6 w 217"/>
                  <a:gd name="T35" fmla="*/ 12 h 81"/>
                  <a:gd name="T36" fmla="*/ 16 w 217"/>
                  <a:gd name="T37" fmla="*/ 7 h 81"/>
                  <a:gd name="T38" fmla="*/ 15 w 217"/>
                  <a:gd name="T39" fmla="*/ 7 h 81"/>
                  <a:gd name="T40" fmla="*/ 30 w 217"/>
                  <a:gd name="T41" fmla="*/ 3 h 81"/>
                  <a:gd name="T42" fmla="*/ 45 w 217"/>
                  <a:gd name="T43" fmla="*/ 0 h 81"/>
                  <a:gd name="T44" fmla="*/ 46 w 217"/>
                  <a:gd name="T45" fmla="*/ 1 h 81"/>
                  <a:gd name="T46" fmla="*/ 39 w 217"/>
                  <a:gd name="T47" fmla="*/ 6 h 81"/>
                  <a:gd name="T48" fmla="*/ 45 w 217"/>
                  <a:gd name="T49" fmla="*/ 4 h 81"/>
                  <a:gd name="T50" fmla="*/ 50 w 217"/>
                  <a:gd name="T51" fmla="*/ 3 h 81"/>
                  <a:gd name="T52" fmla="*/ 56 w 217"/>
                  <a:gd name="T53" fmla="*/ 6 h 81"/>
                  <a:gd name="T54" fmla="*/ 52 w 217"/>
                  <a:gd name="T55" fmla="*/ 8 h 81"/>
                  <a:gd name="T56" fmla="*/ 55 w 217"/>
                  <a:gd name="T57" fmla="*/ 7 h 81"/>
                  <a:gd name="T58" fmla="*/ 63 w 217"/>
                  <a:gd name="T59" fmla="*/ 7 h 81"/>
                  <a:gd name="T60" fmla="*/ 63 w 217"/>
                  <a:gd name="T61" fmla="*/ 4 h 81"/>
                  <a:gd name="T62" fmla="*/ 64 w 217"/>
                  <a:gd name="T63" fmla="*/ 3 h 81"/>
                  <a:gd name="T64" fmla="*/ 70 w 217"/>
                  <a:gd name="T65" fmla="*/ 6 h 81"/>
                  <a:gd name="T66" fmla="*/ 67 w 217"/>
                  <a:gd name="T67" fmla="*/ 13 h 81"/>
                  <a:gd name="T68" fmla="*/ 73 w 217"/>
                  <a:gd name="T69" fmla="*/ 11 h 81"/>
                  <a:gd name="T70" fmla="*/ 77 w 217"/>
                  <a:gd name="T71" fmla="*/ 1 h 81"/>
                  <a:gd name="T72" fmla="*/ 87 w 217"/>
                  <a:gd name="T73" fmla="*/ 1 h 81"/>
                  <a:gd name="T74" fmla="*/ 89 w 217"/>
                  <a:gd name="T75" fmla="*/ 7 h 81"/>
                  <a:gd name="T76" fmla="*/ 83 w 217"/>
                  <a:gd name="T77" fmla="*/ 16 h 81"/>
                  <a:gd name="T78" fmla="*/ 84 w 217"/>
                  <a:gd name="T79" fmla="*/ 20 h 81"/>
                  <a:gd name="T80" fmla="*/ 85 w 217"/>
                  <a:gd name="T81" fmla="*/ 20 h 81"/>
                  <a:gd name="T82" fmla="*/ 95 w 217"/>
                  <a:gd name="T83" fmla="*/ 24 h 81"/>
                  <a:gd name="T84" fmla="*/ 94 w 217"/>
                  <a:gd name="T85" fmla="*/ 25 h 81"/>
                  <a:gd name="T86" fmla="*/ 90 w 217"/>
                  <a:gd name="T87" fmla="*/ 28 h 81"/>
                  <a:gd name="T88" fmla="*/ 91 w 217"/>
                  <a:gd name="T89" fmla="*/ 25 h 81"/>
                  <a:gd name="T90" fmla="*/ 87 w 217"/>
                  <a:gd name="T91" fmla="*/ 27 h 81"/>
                  <a:gd name="T92" fmla="*/ 84 w 217"/>
                  <a:gd name="T93" fmla="*/ 27 h 81"/>
                  <a:gd name="T94" fmla="*/ 79 w 217"/>
                  <a:gd name="T95" fmla="*/ 28 h 81"/>
                  <a:gd name="T96" fmla="*/ 78 w 217"/>
                  <a:gd name="T97" fmla="*/ 28 h 81"/>
                  <a:gd name="T98" fmla="*/ 75 w 217"/>
                  <a:gd name="T99" fmla="*/ 32 h 81"/>
                  <a:gd name="T100" fmla="*/ 84 w 217"/>
                  <a:gd name="T101" fmla="*/ 28 h 81"/>
                  <a:gd name="T102" fmla="*/ 84 w 217"/>
                  <a:gd name="T103" fmla="*/ 31 h 81"/>
                  <a:gd name="T104" fmla="*/ 79 w 217"/>
                  <a:gd name="T105" fmla="*/ 33 h 81"/>
                  <a:gd name="T106" fmla="*/ 63 w 217"/>
                  <a:gd name="T107" fmla="*/ 33 h 8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17" h="81">
                    <a:moveTo>
                      <a:pt x="143" y="74"/>
                    </a:moveTo>
                    <a:lnTo>
                      <a:pt x="135" y="68"/>
                    </a:lnTo>
                    <a:lnTo>
                      <a:pt x="129" y="66"/>
                    </a:lnTo>
                    <a:lnTo>
                      <a:pt x="107" y="74"/>
                    </a:lnTo>
                    <a:lnTo>
                      <a:pt x="70" y="79"/>
                    </a:lnTo>
                    <a:lnTo>
                      <a:pt x="33" y="81"/>
                    </a:lnTo>
                    <a:lnTo>
                      <a:pt x="33" y="74"/>
                    </a:lnTo>
                    <a:lnTo>
                      <a:pt x="0" y="63"/>
                    </a:lnTo>
                    <a:lnTo>
                      <a:pt x="7" y="53"/>
                    </a:lnTo>
                    <a:lnTo>
                      <a:pt x="45" y="53"/>
                    </a:lnTo>
                    <a:lnTo>
                      <a:pt x="84" y="51"/>
                    </a:lnTo>
                    <a:lnTo>
                      <a:pt x="48" y="46"/>
                    </a:lnTo>
                    <a:lnTo>
                      <a:pt x="11" y="45"/>
                    </a:lnTo>
                    <a:lnTo>
                      <a:pt x="7" y="40"/>
                    </a:lnTo>
                    <a:lnTo>
                      <a:pt x="56" y="30"/>
                    </a:lnTo>
                    <a:lnTo>
                      <a:pt x="19" y="30"/>
                    </a:lnTo>
                    <a:lnTo>
                      <a:pt x="28" y="28"/>
                    </a:lnTo>
                    <a:lnTo>
                      <a:pt x="13" y="28"/>
                    </a:lnTo>
                    <a:lnTo>
                      <a:pt x="36" y="16"/>
                    </a:lnTo>
                    <a:lnTo>
                      <a:pt x="34" y="15"/>
                    </a:lnTo>
                    <a:lnTo>
                      <a:pt x="68" y="6"/>
                    </a:lnTo>
                    <a:lnTo>
                      <a:pt x="102" y="0"/>
                    </a:lnTo>
                    <a:lnTo>
                      <a:pt x="106" y="3"/>
                    </a:lnTo>
                    <a:lnTo>
                      <a:pt x="89" y="13"/>
                    </a:lnTo>
                    <a:lnTo>
                      <a:pt x="102" y="10"/>
                    </a:lnTo>
                    <a:lnTo>
                      <a:pt x="115" y="6"/>
                    </a:lnTo>
                    <a:lnTo>
                      <a:pt x="129" y="13"/>
                    </a:lnTo>
                    <a:lnTo>
                      <a:pt x="118" y="18"/>
                    </a:lnTo>
                    <a:lnTo>
                      <a:pt x="126" y="16"/>
                    </a:lnTo>
                    <a:lnTo>
                      <a:pt x="143" y="16"/>
                    </a:lnTo>
                    <a:lnTo>
                      <a:pt x="144" y="10"/>
                    </a:lnTo>
                    <a:lnTo>
                      <a:pt x="146" y="6"/>
                    </a:lnTo>
                    <a:lnTo>
                      <a:pt x="161" y="13"/>
                    </a:lnTo>
                    <a:lnTo>
                      <a:pt x="152" y="30"/>
                    </a:lnTo>
                    <a:lnTo>
                      <a:pt x="166" y="25"/>
                    </a:lnTo>
                    <a:lnTo>
                      <a:pt x="177" y="3"/>
                    </a:lnTo>
                    <a:lnTo>
                      <a:pt x="198" y="2"/>
                    </a:lnTo>
                    <a:lnTo>
                      <a:pt x="203" y="15"/>
                    </a:lnTo>
                    <a:lnTo>
                      <a:pt x="189" y="36"/>
                    </a:lnTo>
                    <a:lnTo>
                      <a:pt x="191" y="46"/>
                    </a:lnTo>
                    <a:lnTo>
                      <a:pt x="195" y="46"/>
                    </a:lnTo>
                    <a:lnTo>
                      <a:pt x="217" y="53"/>
                    </a:lnTo>
                    <a:lnTo>
                      <a:pt x="214" y="56"/>
                    </a:lnTo>
                    <a:lnTo>
                      <a:pt x="205" y="63"/>
                    </a:lnTo>
                    <a:lnTo>
                      <a:pt x="208" y="56"/>
                    </a:lnTo>
                    <a:lnTo>
                      <a:pt x="198" y="61"/>
                    </a:lnTo>
                    <a:lnTo>
                      <a:pt x="192" y="60"/>
                    </a:lnTo>
                    <a:lnTo>
                      <a:pt x="181" y="64"/>
                    </a:lnTo>
                    <a:lnTo>
                      <a:pt x="178" y="64"/>
                    </a:lnTo>
                    <a:lnTo>
                      <a:pt x="172" y="71"/>
                    </a:lnTo>
                    <a:lnTo>
                      <a:pt x="192" y="64"/>
                    </a:lnTo>
                    <a:lnTo>
                      <a:pt x="191" y="69"/>
                    </a:lnTo>
                    <a:lnTo>
                      <a:pt x="181" y="74"/>
                    </a:lnTo>
                    <a:lnTo>
                      <a:pt x="143" y="7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80" name="Freeform 410">
                <a:extLst>
                  <a:ext uri="{FF2B5EF4-FFF2-40B4-BE49-F238E27FC236}">
                    <a16:creationId xmlns:a16="http://schemas.microsoft.com/office/drawing/2014/main" id="{8BB2596D-2769-E378-21C9-A328251523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4" y="3000"/>
                <a:ext cx="69" cy="23"/>
              </a:xfrm>
              <a:custGeom>
                <a:avLst/>
                <a:gdLst>
                  <a:gd name="T0" fmla="*/ 31 w 156"/>
                  <a:gd name="T1" fmla="*/ 15 h 55"/>
                  <a:gd name="T2" fmla="*/ 20 w 156"/>
                  <a:gd name="T3" fmla="*/ 21 h 55"/>
                  <a:gd name="T4" fmla="*/ 5 w 156"/>
                  <a:gd name="T5" fmla="*/ 23 h 55"/>
                  <a:gd name="T6" fmla="*/ 4 w 156"/>
                  <a:gd name="T7" fmla="*/ 19 h 55"/>
                  <a:gd name="T8" fmla="*/ 0 w 156"/>
                  <a:gd name="T9" fmla="*/ 16 h 55"/>
                  <a:gd name="T10" fmla="*/ 10 w 156"/>
                  <a:gd name="T11" fmla="*/ 11 h 55"/>
                  <a:gd name="T12" fmla="*/ 14 w 156"/>
                  <a:gd name="T13" fmla="*/ 9 h 55"/>
                  <a:gd name="T14" fmla="*/ 26 w 156"/>
                  <a:gd name="T15" fmla="*/ 4 h 55"/>
                  <a:gd name="T16" fmla="*/ 25 w 156"/>
                  <a:gd name="T17" fmla="*/ 1 h 55"/>
                  <a:gd name="T18" fmla="*/ 46 w 156"/>
                  <a:gd name="T19" fmla="*/ 0 h 55"/>
                  <a:gd name="T20" fmla="*/ 52 w 156"/>
                  <a:gd name="T21" fmla="*/ 2 h 55"/>
                  <a:gd name="T22" fmla="*/ 54 w 156"/>
                  <a:gd name="T23" fmla="*/ 2 h 55"/>
                  <a:gd name="T24" fmla="*/ 64 w 156"/>
                  <a:gd name="T25" fmla="*/ 2 h 55"/>
                  <a:gd name="T26" fmla="*/ 69 w 156"/>
                  <a:gd name="T27" fmla="*/ 6 h 55"/>
                  <a:gd name="T28" fmla="*/ 54 w 156"/>
                  <a:gd name="T29" fmla="*/ 10 h 55"/>
                  <a:gd name="T30" fmla="*/ 38 w 156"/>
                  <a:gd name="T31" fmla="*/ 14 h 55"/>
                  <a:gd name="T32" fmla="*/ 31 w 156"/>
                  <a:gd name="T33" fmla="*/ 15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6" h="55">
                    <a:moveTo>
                      <a:pt x="71" y="37"/>
                    </a:moveTo>
                    <a:lnTo>
                      <a:pt x="46" y="50"/>
                    </a:lnTo>
                    <a:lnTo>
                      <a:pt x="12" y="55"/>
                    </a:lnTo>
                    <a:lnTo>
                      <a:pt x="8" y="45"/>
                    </a:lnTo>
                    <a:lnTo>
                      <a:pt x="0" y="38"/>
                    </a:lnTo>
                    <a:lnTo>
                      <a:pt x="22" y="27"/>
                    </a:lnTo>
                    <a:lnTo>
                      <a:pt x="31" y="22"/>
                    </a:lnTo>
                    <a:lnTo>
                      <a:pt x="59" y="10"/>
                    </a:lnTo>
                    <a:lnTo>
                      <a:pt x="56" y="2"/>
                    </a:lnTo>
                    <a:lnTo>
                      <a:pt x="105" y="0"/>
                    </a:lnTo>
                    <a:lnTo>
                      <a:pt x="118" y="5"/>
                    </a:lnTo>
                    <a:lnTo>
                      <a:pt x="121" y="5"/>
                    </a:lnTo>
                    <a:lnTo>
                      <a:pt x="145" y="4"/>
                    </a:lnTo>
                    <a:lnTo>
                      <a:pt x="156" y="15"/>
                    </a:lnTo>
                    <a:lnTo>
                      <a:pt x="122" y="25"/>
                    </a:lnTo>
                    <a:lnTo>
                      <a:pt x="87" y="33"/>
                    </a:lnTo>
                    <a:lnTo>
                      <a:pt x="71" y="3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81" name="Freeform 411">
                <a:extLst>
                  <a:ext uri="{FF2B5EF4-FFF2-40B4-BE49-F238E27FC236}">
                    <a16:creationId xmlns:a16="http://schemas.microsoft.com/office/drawing/2014/main" id="{F00D87C6-6BB6-98B6-62DC-2540571110A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59" y="3183"/>
                <a:ext cx="47" cy="43"/>
              </a:xfrm>
              <a:custGeom>
                <a:avLst/>
                <a:gdLst>
                  <a:gd name="T0" fmla="*/ 24 w 105"/>
                  <a:gd name="T1" fmla="*/ 35 h 96"/>
                  <a:gd name="T2" fmla="*/ 24 w 105"/>
                  <a:gd name="T3" fmla="*/ 33 h 96"/>
                  <a:gd name="T4" fmla="*/ 12 w 105"/>
                  <a:gd name="T5" fmla="*/ 35 h 96"/>
                  <a:gd name="T6" fmla="*/ 0 w 105"/>
                  <a:gd name="T7" fmla="*/ 33 h 96"/>
                  <a:gd name="T8" fmla="*/ 3 w 105"/>
                  <a:gd name="T9" fmla="*/ 30 h 96"/>
                  <a:gd name="T10" fmla="*/ 8 w 105"/>
                  <a:gd name="T11" fmla="*/ 26 h 96"/>
                  <a:gd name="T12" fmla="*/ 2 w 105"/>
                  <a:gd name="T13" fmla="*/ 26 h 96"/>
                  <a:gd name="T14" fmla="*/ 4 w 105"/>
                  <a:gd name="T15" fmla="*/ 25 h 96"/>
                  <a:gd name="T16" fmla="*/ 12 w 105"/>
                  <a:gd name="T17" fmla="*/ 22 h 96"/>
                  <a:gd name="T18" fmla="*/ 13 w 105"/>
                  <a:gd name="T19" fmla="*/ 22 h 96"/>
                  <a:gd name="T20" fmla="*/ 14 w 105"/>
                  <a:gd name="T21" fmla="*/ 20 h 96"/>
                  <a:gd name="T22" fmla="*/ 13 w 105"/>
                  <a:gd name="T23" fmla="*/ 18 h 96"/>
                  <a:gd name="T24" fmla="*/ 15 w 105"/>
                  <a:gd name="T25" fmla="*/ 17 h 96"/>
                  <a:gd name="T26" fmla="*/ 23 w 105"/>
                  <a:gd name="T27" fmla="*/ 7 h 96"/>
                  <a:gd name="T28" fmla="*/ 30 w 105"/>
                  <a:gd name="T29" fmla="*/ 0 h 96"/>
                  <a:gd name="T30" fmla="*/ 34 w 105"/>
                  <a:gd name="T31" fmla="*/ 0 h 96"/>
                  <a:gd name="T32" fmla="*/ 37 w 105"/>
                  <a:gd name="T33" fmla="*/ 0 h 96"/>
                  <a:gd name="T34" fmla="*/ 32 w 105"/>
                  <a:gd name="T35" fmla="*/ 2 h 96"/>
                  <a:gd name="T36" fmla="*/ 33 w 105"/>
                  <a:gd name="T37" fmla="*/ 4 h 96"/>
                  <a:gd name="T38" fmla="*/ 30 w 105"/>
                  <a:gd name="T39" fmla="*/ 6 h 96"/>
                  <a:gd name="T40" fmla="*/ 22 w 105"/>
                  <a:gd name="T41" fmla="*/ 17 h 96"/>
                  <a:gd name="T42" fmla="*/ 28 w 105"/>
                  <a:gd name="T43" fmla="*/ 13 h 96"/>
                  <a:gd name="T44" fmla="*/ 27 w 105"/>
                  <a:gd name="T45" fmla="*/ 13 h 96"/>
                  <a:gd name="T46" fmla="*/ 33 w 105"/>
                  <a:gd name="T47" fmla="*/ 13 h 96"/>
                  <a:gd name="T48" fmla="*/ 28 w 105"/>
                  <a:gd name="T49" fmla="*/ 16 h 96"/>
                  <a:gd name="T50" fmla="*/ 28 w 105"/>
                  <a:gd name="T51" fmla="*/ 17 h 96"/>
                  <a:gd name="T52" fmla="*/ 33 w 105"/>
                  <a:gd name="T53" fmla="*/ 18 h 96"/>
                  <a:gd name="T54" fmla="*/ 32 w 105"/>
                  <a:gd name="T55" fmla="*/ 20 h 96"/>
                  <a:gd name="T56" fmla="*/ 38 w 105"/>
                  <a:gd name="T57" fmla="*/ 17 h 96"/>
                  <a:gd name="T58" fmla="*/ 38 w 105"/>
                  <a:gd name="T59" fmla="*/ 19 h 96"/>
                  <a:gd name="T60" fmla="*/ 45 w 105"/>
                  <a:gd name="T61" fmla="*/ 19 h 96"/>
                  <a:gd name="T62" fmla="*/ 39 w 105"/>
                  <a:gd name="T63" fmla="*/ 24 h 96"/>
                  <a:gd name="T64" fmla="*/ 41 w 105"/>
                  <a:gd name="T65" fmla="*/ 25 h 96"/>
                  <a:gd name="T66" fmla="*/ 38 w 105"/>
                  <a:gd name="T67" fmla="*/ 26 h 96"/>
                  <a:gd name="T68" fmla="*/ 47 w 105"/>
                  <a:gd name="T69" fmla="*/ 25 h 96"/>
                  <a:gd name="T70" fmla="*/ 38 w 105"/>
                  <a:gd name="T71" fmla="*/ 30 h 96"/>
                  <a:gd name="T72" fmla="*/ 40 w 105"/>
                  <a:gd name="T73" fmla="*/ 32 h 96"/>
                  <a:gd name="T74" fmla="*/ 39 w 105"/>
                  <a:gd name="T75" fmla="*/ 32 h 96"/>
                  <a:gd name="T76" fmla="*/ 38 w 105"/>
                  <a:gd name="T77" fmla="*/ 35 h 96"/>
                  <a:gd name="T78" fmla="*/ 46 w 105"/>
                  <a:gd name="T79" fmla="*/ 30 h 96"/>
                  <a:gd name="T80" fmla="*/ 43 w 105"/>
                  <a:gd name="T81" fmla="*/ 35 h 96"/>
                  <a:gd name="T82" fmla="*/ 46 w 105"/>
                  <a:gd name="T83" fmla="*/ 33 h 96"/>
                  <a:gd name="T84" fmla="*/ 47 w 105"/>
                  <a:gd name="T85" fmla="*/ 35 h 96"/>
                  <a:gd name="T86" fmla="*/ 41 w 105"/>
                  <a:gd name="T87" fmla="*/ 43 h 96"/>
                  <a:gd name="T88" fmla="*/ 37 w 105"/>
                  <a:gd name="T89" fmla="*/ 42 h 96"/>
                  <a:gd name="T90" fmla="*/ 38 w 105"/>
                  <a:gd name="T91" fmla="*/ 39 h 96"/>
                  <a:gd name="T92" fmla="*/ 34 w 105"/>
                  <a:gd name="T93" fmla="*/ 41 h 96"/>
                  <a:gd name="T94" fmla="*/ 37 w 105"/>
                  <a:gd name="T95" fmla="*/ 35 h 96"/>
                  <a:gd name="T96" fmla="*/ 37 w 105"/>
                  <a:gd name="T97" fmla="*/ 32 h 96"/>
                  <a:gd name="T98" fmla="*/ 32 w 105"/>
                  <a:gd name="T99" fmla="*/ 37 h 96"/>
                  <a:gd name="T100" fmla="*/ 34 w 105"/>
                  <a:gd name="T101" fmla="*/ 35 h 96"/>
                  <a:gd name="T102" fmla="*/ 23 w 105"/>
                  <a:gd name="T103" fmla="*/ 41 h 96"/>
                  <a:gd name="T104" fmla="*/ 23 w 105"/>
                  <a:gd name="T105" fmla="*/ 39 h 96"/>
                  <a:gd name="T106" fmla="*/ 32 w 105"/>
                  <a:gd name="T107" fmla="*/ 34 h 96"/>
                  <a:gd name="T108" fmla="*/ 30 w 105"/>
                  <a:gd name="T109" fmla="*/ 35 h 96"/>
                  <a:gd name="T110" fmla="*/ 31 w 105"/>
                  <a:gd name="T111" fmla="*/ 33 h 96"/>
                  <a:gd name="T112" fmla="*/ 27 w 105"/>
                  <a:gd name="T113" fmla="*/ 34 h 96"/>
                  <a:gd name="T114" fmla="*/ 24 w 105"/>
                  <a:gd name="T115" fmla="*/ 35 h 96"/>
                  <a:gd name="T116" fmla="*/ 21 w 105"/>
                  <a:gd name="T117" fmla="*/ 35 h 96"/>
                  <a:gd name="T118" fmla="*/ 24 w 105"/>
                  <a:gd name="T119" fmla="*/ 35 h 9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05" h="96">
                    <a:moveTo>
                      <a:pt x="54" y="78"/>
                    </a:moveTo>
                    <a:lnTo>
                      <a:pt x="54" y="73"/>
                    </a:lnTo>
                    <a:lnTo>
                      <a:pt x="26" y="78"/>
                    </a:lnTo>
                    <a:lnTo>
                      <a:pt x="0" y="74"/>
                    </a:lnTo>
                    <a:lnTo>
                      <a:pt x="6" y="68"/>
                    </a:lnTo>
                    <a:lnTo>
                      <a:pt x="18" y="59"/>
                    </a:lnTo>
                    <a:lnTo>
                      <a:pt x="4" y="59"/>
                    </a:lnTo>
                    <a:lnTo>
                      <a:pt x="10" y="56"/>
                    </a:lnTo>
                    <a:lnTo>
                      <a:pt x="26" y="48"/>
                    </a:lnTo>
                    <a:lnTo>
                      <a:pt x="28" y="49"/>
                    </a:lnTo>
                    <a:lnTo>
                      <a:pt x="31" y="44"/>
                    </a:lnTo>
                    <a:lnTo>
                      <a:pt x="28" y="41"/>
                    </a:lnTo>
                    <a:lnTo>
                      <a:pt x="34" y="39"/>
                    </a:lnTo>
                    <a:lnTo>
                      <a:pt x="51" y="16"/>
                    </a:lnTo>
                    <a:lnTo>
                      <a:pt x="68" y="1"/>
                    </a:lnTo>
                    <a:lnTo>
                      <a:pt x="77" y="0"/>
                    </a:lnTo>
                    <a:lnTo>
                      <a:pt x="83" y="0"/>
                    </a:lnTo>
                    <a:lnTo>
                      <a:pt x="72" y="5"/>
                    </a:lnTo>
                    <a:lnTo>
                      <a:pt x="74" y="8"/>
                    </a:lnTo>
                    <a:lnTo>
                      <a:pt x="68" y="13"/>
                    </a:lnTo>
                    <a:lnTo>
                      <a:pt x="49" y="39"/>
                    </a:lnTo>
                    <a:lnTo>
                      <a:pt x="63" y="28"/>
                    </a:lnTo>
                    <a:lnTo>
                      <a:pt x="60" y="29"/>
                    </a:lnTo>
                    <a:lnTo>
                      <a:pt x="74" y="29"/>
                    </a:lnTo>
                    <a:lnTo>
                      <a:pt x="63" y="36"/>
                    </a:lnTo>
                    <a:lnTo>
                      <a:pt x="63" y="39"/>
                    </a:lnTo>
                    <a:lnTo>
                      <a:pt x="74" y="41"/>
                    </a:lnTo>
                    <a:lnTo>
                      <a:pt x="72" y="44"/>
                    </a:lnTo>
                    <a:lnTo>
                      <a:pt x="86" y="39"/>
                    </a:lnTo>
                    <a:lnTo>
                      <a:pt x="86" y="43"/>
                    </a:lnTo>
                    <a:lnTo>
                      <a:pt x="100" y="43"/>
                    </a:lnTo>
                    <a:lnTo>
                      <a:pt x="88" y="53"/>
                    </a:lnTo>
                    <a:lnTo>
                      <a:pt x="92" y="56"/>
                    </a:lnTo>
                    <a:lnTo>
                      <a:pt x="86" y="59"/>
                    </a:lnTo>
                    <a:lnTo>
                      <a:pt x="105" y="56"/>
                    </a:lnTo>
                    <a:lnTo>
                      <a:pt x="86" y="68"/>
                    </a:lnTo>
                    <a:lnTo>
                      <a:pt x="89" y="71"/>
                    </a:lnTo>
                    <a:lnTo>
                      <a:pt x="88" y="71"/>
                    </a:lnTo>
                    <a:lnTo>
                      <a:pt x="86" y="78"/>
                    </a:lnTo>
                    <a:lnTo>
                      <a:pt x="103" y="66"/>
                    </a:lnTo>
                    <a:lnTo>
                      <a:pt x="97" y="78"/>
                    </a:lnTo>
                    <a:lnTo>
                      <a:pt x="103" y="73"/>
                    </a:lnTo>
                    <a:lnTo>
                      <a:pt x="105" y="78"/>
                    </a:lnTo>
                    <a:lnTo>
                      <a:pt x="91" y="96"/>
                    </a:lnTo>
                    <a:lnTo>
                      <a:pt x="83" y="94"/>
                    </a:lnTo>
                    <a:lnTo>
                      <a:pt x="86" y="86"/>
                    </a:lnTo>
                    <a:lnTo>
                      <a:pt x="77" y="91"/>
                    </a:lnTo>
                    <a:lnTo>
                      <a:pt x="83" y="78"/>
                    </a:lnTo>
                    <a:lnTo>
                      <a:pt x="82" y="71"/>
                    </a:lnTo>
                    <a:lnTo>
                      <a:pt x="72" y="83"/>
                    </a:lnTo>
                    <a:lnTo>
                      <a:pt x="77" y="78"/>
                    </a:lnTo>
                    <a:lnTo>
                      <a:pt x="51" y="91"/>
                    </a:lnTo>
                    <a:lnTo>
                      <a:pt x="51" y="88"/>
                    </a:lnTo>
                    <a:lnTo>
                      <a:pt x="71" y="76"/>
                    </a:lnTo>
                    <a:lnTo>
                      <a:pt x="68" y="78"/>
                    </a:lnTo>
                    <a:lnTo>
                      <a:pt x="69" y="73"/>
                    </a:lnTo>
                    <a:lnTo>
                      <a:pt x="60" y="76"/>
                    </a:lnTo>
                    <a:lnTo>
                      <a:pt x="54" y="79"/>
                    </a:lnTo>
                    <a:lnTo>
                      <a:pt x="48" y="78"/>
                    </a:lnTo>
                    <a:lnTo>
                      <a:pt x="54" y="7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82" name="Freeform 412">
                <a:extLst>
                  <a:ext uri="{FF2B5EF4-FFF2-40B4-BE49-F238E27FC236}">
                    <a16:creationId xmlns:a16="http://schemas.microsoft.com/office/drawing/2014/main" id="{6E301A1A-EDE3-38B4-B48B-72B8E42272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69" y="2983"/>
                <a:ext cx="82" cy="14"/>
              </a:xfrm>
              <a:custGeom>
                <a:avLst/>
                <a:gdLst>
                  <a:gd name="T0" fmla="*/ 33 w 186"/>
                  <a:gd name="T1" fmla="*/ 7 h 32"/>
                  <a:gd name="T2" fmla="*/ 25 w 186"/>
                  <a:gd name="T3" fmla="*/ 4 h 32"/>
                  <a:gd name="T4" fmla="*/ 36 w 186"/>
                  <a:gd name="T5" fmla="*/ 4 h 32"/>
                  <a:gd name="T6" fmla="*/ 15 w 186"/>
                  <a:gd name="T7" fmla="*/ 2 h 32"/>
                  <a:gd name="T8" fmla="*/ 19 w 186"/>
                  <a:gd name="T9" fmla="*/ 0 h 32"/>
                  <a:gd name="T10" fmla="*/ 0 w 186"/>
                  <a:gd name="T11" fmla="*/ 1 h 32"/>
                  <a:gd name="T12" fmla="*/ 17 w 186"/>
                  <a:gd name="T13" fmla="*/ 3 h 32"/>
                  <a:gd name="T14" fmla="*/ 15 w 186"/>
                  <a:gd name="T15" fmla="*/ 8 h 32"/>
                  <a:gd name="T16" fmla="*/ 11 w 186"/>
                  <a:gd name="T17" fmla="*/ 14 h 32"/>
                  <a:gd name="T18" fmla="*/ 29 w 186"/>
                  <a:gd name="T19" fmla="*/ 14 h 32"/>
                  <a:gd name="T20" fmla="*/ 46 w 186"/>
                  <a:gd name="T21" fmla="*/ 13 h 32"/>
                  <a:gd name="T22" fmla="*/ 63 w 186"/>
                  <a:gd name="T23" fmla="*/ 13 h 32"/>
                  <a:gd name="T24" fmla="*/ 80 w 186"/>
                  <a:gd name="T25" fmla="*/ 12 h 32"/>
                  <a:gd name="T26" fmla="*/ 82 w 186"/>
                  <a:gd name="T27" fmla="*/ 10 h 32"/>
                  <a:gd name="T28" fmla="*/ 69 w 186"/>
                  <a:gd name="T29" fmla="*/ 7 h 32"/>
                  <a:gd name="T30" fmla="*/ 51 w 186"/>
                  <a:gd name="T31" fmla="*/ 7 h 32"/>
                  <a:gd name="T32" fmla="*/ 33 w 186"/>
                  <a:gd name="T33" fmla="*/ 7 h 3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86" h="32">
                    <a:moveTo>
                      <a:pt x="75" y="17"/>
                    </a:moveTo>
                    <a:lnTo>
                      <a:pt x="56" y="8"/>
                    </a:lnTo>
                    <a:lnTo>
                      <a:pt x="82" y="10"/>
                    </a:lnTo>
                    <a:lnTo>
                      <a:pt x="33" y="5"/>
                    </a:lnTo>
                    <a:lnTo>
                      <a:pt x="42" y="0"/>
                    </a:lnTo>
                    <a:lnTo>
                      <a:pt x="0" y="2"/>
                    </a:lnTo>
                    <a:lnTo>
                      <a:pt x="39" y="7"/>
                    </a:lnTo>
                    <a:lnTo>
                      <a:pt x="33" y="18"/>
                    </a:lnTo>
                    <a:lnTo>
                      <a:pt x="25" y="32"/>
                    </a:lnTo>
                    <a:lnTo>
                      <a:pt x="65" y="32"/>
                    </a:lnTo>
                    <a:lnTo>
                      <a:pt x="104" y="30"/>
                    </a:lnTo>
                    <a:lnTo>
                      <a:pt x="143" y="30"/>
                    </a:lnTo>
                    <a:lnTo>
                      <a:pt x="181" y="28"/>
                    </a:lnTo>
                    <a:lnTo>
                      <a:pt x="186" y="22"/>
                    </a:lnTo>
                    <a:lnTo>
                      <a:pt x="157" y="15"/>
                    </a:lnTo>
                    <a:lnTo>
                      <a:pt x="116" y="15"/>
                    </a:lnTo>
                    <a:lnTo>
                      <a:pt x="75" y="1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83" name="Freeform 413">
                <a:extLst>
                  <a:ext uri="{FF2B5EF4-FFF2-40B4-BE49-F238E27FC236}">
                    <a16:creationId xmlns:a16="http://schemas.microsoft.com/office/drawing/2014/main" id="{561DB76E-6550-DB23-520F-1BE0BA318A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8" y="2956"/>
                <a:ext cx="52" cy="19"/>
              </a:xfrm>
              <a:custGeom>
                <a:avLst/>
                <a:gdLst>
                  <a:gd name="T0" fmla="*/ 11 w 120"/>
                  <a:gd name="T1" fmla="*/ 5 h 41"/>
                  <a:gd name="T2" fmla="*/ 7 w 120"/>
                  <a:gd name="T3" fmla="*/ 3 h 41"/>
                  <a:gd name="T4" fmla="*/ 24 w 120"/>
                  <a:gd name="T5" fmla="*/ 0 h 41"/>
                  <a:gd name="T6" fmla="*/ 46 w 120"/>
                  <a:gd name="T7" fmla="*/ 3 h 41"/>
                  <a:gd name="T8" fmla="*/ 41 w 120"/>
                  <a:gd name="T9" fmla="*/ 9 h 41"/>
                  <a:gd name="T10" fmla="*/ 52 w 120"/>
                  <a:gd name="T11" fmla="*/ 12 h 41"/>
                  <a:gd name="T12" fmla="*/ 33 w 120"/>
                  <a:gd name="T13" fmla="*/ 14 h 41"/>
                  <a:gd name="T14" fmla="*/ 25 w 120"/>
                  <a:gd name="T15" fmla="*/ 19 h 41"/>
                  <a:gd name="T16" fmla="*/ 21 w 120"/>
                  <a:gd name="T17" fmla="*/ 16 h 41"/>
                  <a:gd name="T18" fmla="*/ 21 w 120"/>
                  <a:gd name="T19" fmla="*/ 19 h 41"/>
                  <a:gd name="T20" fmla="*/ 3 w 120"/>
                  <a:gd name="T21" fmla="*/ 14 h 41"/>
                  <a:gd name="T22" fmla="*/ 24 w 120"/>
                  <a:gd name="T23" fmla="*/ 12 h 41"/>
                  <a:gd name="T24" fmla="*/ 0 w 120"/>
                  <a:gd name="T25" fmla="*/ 9 h 41"/>
                  <a:gd name="T26" fmla="*/ 11 w 120"/>
                  <a:gd name="T27" fmla="*/ 5 h 4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20" h="41">
                    <a:moveTo>
                      <a:pt x="25" y="11"/>
                    </a:moveTo>
                    <a:lnTo>
                      <a:pt x="16" y="6"/>
                    </a:lnTo>
                    <a:lnTo>
                      <a:pt x="56" y="0"/>
                    </a:lnTo>
                    <a:lnTo>
                      <a:pt x="106" y="6"/>
                    </a:lnTo>
                    <a:lnTo>
                      <a:pt x="95" y="20"/>
                    </a:lnTo>
                    <a:lnTo>
                      <a:pt x="120" y="25"/>
                    </a:lnTo>
                    <a:lnTo>
                      <a:pt x="75" y="31"/>
                    </a:lnTo>
                    <a:lnTo>
                      <a:pt x="58" y="41"/>
                    </a:lnTo>
                    <a:lnTo>
                      <a:pt x="48" y="35"/>
                    </a:lnTo>
                    <a:lnTo>
                      <a:pt x="48" y="41"/>
                    </a:lnTo>
                    <a:lnTo>
                      <a:pt x="8" y="30"/>
                    </a:lnTo>
                    <a:lnTo>
                      <a:pt x="56" y="25"/>
                    </a:lnTo>
                    <a:lnTo>
                      <a:pt x="0" y="20"/>
                    </a:lnTo>
                    <a:lnTo>
                      <a:pt x="25" y="1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84" name="Freeform 414">
                <a:extLst>
                  <a:ext uri="{FF2B5EF4-FFF2-40B4-BE49-F238E27FC236}">
                    <a16:creationId xmlns:a16="http://schemas.microsoft.com/office/drawing/2014/main" id="{0EAFCDB2-A3FC-D3E0-C30F-0C214A5E18D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6" y="2983"/>
                <a:ext cx="71" cy="17"/>
              </a:xfrm>
              <a:custGeom>
                <a:avLst/>
                <a:gdLst>
                  <a:gd name="T0" fmla="*/ 19 w 159"/>
                  <a:gd name="T1" fmla="*/ 17 h 38"/>
                  <a:gd name="T2" fmla="*/ 13 w 159"/>
                  <a:gd name="T3" fmla="*/ 15 h 38"/>
                  <a:gd name="T4" fmla="*/ 35 w 159"/>
                  <a:gd name="T5" fmla="*/ 10 h 38"/>
                  <a:gd name="T6" fmla="*/ 17 w 159"/>
                  <a:gd name="T7" fmla="*/ 10 h 38"/>
                  <a:gd name="T8" fmla="*/ 0 w 159"/>
                  <a:gd name="T9" fmla="*/ 10 h 38"/>
                  <a:gd name="T10" fmla="*/ 17 w 159"/>
                  <a:gd name="T11" fmla="*/ 8 h 38"/>
                  <a:gd name="T12" fmla="*/ 9 w 159"/>
                  <a:gd name="T13" fmla="*/ 7 h 38"/>
                  <a:gd name="T14" fmla="*/ 21 w 159"/>
                  <a:gd name="T15" fmla="*/ 7 h 38"/>
                  <a:gd name="T16" fmla="*/ 15 w 159"/>
                  <a:gd name="T17" fmla="*/ 4 h 38"/>
                  <a:gd name="T18" fmla="*/ 35 w 159"/>
                  <a:gd name="T19" fmla="*/ 6 h 38"/>
                  <a:gd name="T20" fmla="*/ 50 w 159"/>
                  <a:gd name="T21" fmla="*/ 9 h 38"/>
                  <a:gd name="T22" fmla="*/ 50 w 159"/>
                  <a:gd name="T23" fmla="*/ 2 h 38"/>
                  <a:gd name="T24" fmla="*/ 62 w 159"/>
                  <a:gd name="T25" fmla="*/ 0 h 38"/>
                  <a:gd name="T26" fmla="*/ 58 w 159"/>
                  <a:gd name="T27" fmla="*/ 7 h 38"/>
                  <a:gd name="T28" fmla="*/ 71 w 159"/>
                  <a:gd name="T29" fmla="*/ 7 h 38"/>
                  <a:gd name="T30" fmla="*/ 61 w 159"/>
                  <a:gd name="T31" fmla="*/ 13 h 38"/>
                  <a:gd name="T32" fmla="*/ 53 w 159"/>
                  <a:gd name="T33" fmla="*/ 12 h 38"/>
                  <a:gd name="T34" fmla="*/ 35 w 159"/>
                  <a:gd name="T35" fmla="*/ 15 h 38"/>
                  <a:gd name="T36" fmla="*/ 19 w 159"/>
                  <a:gd name="T37" fmla="*/ 17 h 3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159" h="38">
                    <a:moveTo>
                      <a:pt x="43" y="38"/>
                    </a:moveTo>
                    <a:lnTo>
                      <a:pt x="28" y="33"/>
                    </a:lnTo>
                    <a:lnTo>
                      <a:pt x="79" y="23"/>
                    </a:lnTo>
                    <a:lnTo>
                      <a:pt x="39" y="23"/>
                    </a:lnTo>
                    <a:lnTo>
                      <a:pt x="0" y="23"/>
                    </a:lnTo>
                    <a:lnTo>
                      <a:pt x="39" y="18"/>
                    </a:lnTo>
                    <a:lnTo>
                      <a:pt x="20" y="15"/>
                    </a:lnTo>
                    <a:lnTo>
                      <a:pt x="46" y="15"/>
                    </a:lnTo>
                    <a:lnTo>
                      <a:pt x="34" y="10"/>
                    </a:lnTo>
                    <a:lnTo>
                      <a:pt x="79" y="13"/>
                    </a:lnTo>
                    <a:lnTo>
                      <a:pt x="111" y="20"/>
                    </a:lnTo>
                    <a:lnTo>
                      <a:pt x="113" y="5"/>
                    </a:lnTo>
                    <a:lnTo>
                      <a:pt x="139" y="0"/>
                    </a:lnTo>
                    <a:lnTo>
                      <a:pt x="130" y="15"/>
                    </a:lnTo>
                    <a:lnTo>
                      <a:pt x="159" y="15"/>
                    </a:lnTo>
                    <a:lnTo>
                      <a:pt x="136" y="28"/>
                    </a:lnTo>
                    <a:lnTo>
                      <a:pt x="118" y="27"/>
                    </a:lnTo>
                    <a:lnTo>
                      <a:pt x="79" y="33"/>
                    </a:lnTo>
                    <a:lnTo>
                      <a:pt x="43" y="3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85" name="Freeform 415">
                <a:extLst>
                  <a:ext uri="{FF2B5EF4-FFF2-40B4-BE49-F238E27FC236}">
                    <a16:creationId xmlns:a16="http://schemas.microsoft.com/office/drawing/2014/main" id="{9242FF6E-CC5A-91DA-D9B6-5F21883BE6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0" y="3064"/>
                <a:ext cx="43" cy="22"/>
              </a:xfrm>
              <a:custGeom>
                <a:avLst/>
                <a:gdLst>
                  <a:gd name="T0" fmla="*/ 31 w 99"/>
                  <a:gd name="T1" fmla="*/ 16 h 52"/>
                  <a:gd name="T2" fmla="*/ 26 w 99"/>
                  <a:gd name="T3" fmla="*/ 15 h 52"/>
                  <a:gd name="T4" fmla="*/ 27 w 99"/>
                  <a:gd name="T5" fmla="*/ 14 h 52"/>
                  <a:gd name="T6" fmla="*/ 23 w 99"/>
                  <a:gd name="T7" fmla="*/ 15 h 52"/>
                  <a:gd name="T8" fmla="*/ 10 w 99"/>
                  <a:gd name="T9" fmla="*/ 22 h 52"/>
                  <a:gd name="T10" fmla="*/ 10 w 99"/>
                  <a:gd name="T11" fmla="*/ 17 h 52"/>
                  <a:gd name="T12" fmla="*/ 0 w 99"/>
                  <a:gd name="T13" fmla="*/ 18 h 52"/>
                  <a:gd name="T14" fmla="*/ 10 w 99"/>
                  <a:gd name="T15" fmla="*/ 13 h 52"/>
                  <a:gd name="T16" fmla="*/ 15 w 99"/>
                  <a:gd name="T17" fmla="*/ 6 h 52"/>
                  <a:gd name="T18" fmla="*/ 21 w 99"/>
                  <a:gd name="T19" fmla="*/ 0 h 52"/>
                  <a:gd name="T20" fmla="*/ 23 w 99"/>
                  <a:gd name="T21" fmla="*/ 1 h 52"/>
                  <a:gd name="T22" fmla="*/ 23 w 99"/>
                  <a:gd name="T23" fmla="*/ 4 h 52"/>
                  <a:gd name="T24" fmla="*/ 26 w 99"/>
                  <a:gd name="T25" fmla="*/ 3 h 52"/>
                  <a:gd name="T26" fmla="*/ 38 w 99"/>
                  <a:gd name="T27" fmla="*/ 11 h 52"/>
                  <a:gd name="T28" fmla="*/ 33 w 99"/>
                  <a:gd name="T29" fmla="*/ 15 h 52"/>
                  <a:gd name="T30" fmla="*/ 42 w 99"/>
                  <a:gd name="T31" fmla="*/ 15 h 52"/>
                  <a:gd name="T32" fmla="*/ 43 w 99"/>
                  <a:gd name="T33" fmla="*/ 16 h 52"/>
                  <a:gd name="T34" fmla="*/ 36 w 99"/>
                  <a:gd name="T35" fmla="*/ 18 h 52"/>
                  <a:gd name="T36" fmla="*/ 31 w 99"/>
                  <a:gd name="T37" fmla="*/ 16 h 5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99" h="52">
                    <a:moveTo>
                      <a:pt x="71" y="38"/>
                    </a:moveTo>
                    <a:lnTo>
                      <a:pt x="60" y="35"/>
                    </a:lnTo>
                    <a:lnTo>
                      <a:pt x="62" y="32"/>
                    </a:lnTo>
                    <a:lnTo>
                      <a:pt x="54" y="35"/>
                    </a:lnTo>
                    <a:lnTo>
                      <a:pt x="22" y="52"/>
                    </a:lnTo>
                    <a:lnTo>
                      <a:pt x="22" y="40"/>
                    </a:lnTo>
                    <a:lnTo>
                      <a:pt x="0" y="42"/>
                    </a:lnTo>
                    <a:lnTo>
                      <a:pt x="22" y="30"/>
                    </a:lnTo>
                    <a:lnTo>
                      <a:pt x="34" y="15"/>
                    </a:lnTo>
                    <a:lnTo>
                      <a:pt x="48" y="0"/>
                    </a:lnTo>
                    <a:lnTo>
                      <a:pt x="54" y="3"/>
                    </a:lnTo>
                    <a:lnTo>
                      <a:pt x="54" y="10"/>
                    </a:lnTo>
                    <a:lnTo>
                      <a:pt x="60" y="8"/>
                    </a:lnTo>
                    <a:lnTo>
                      <a:pt x="87" y="25"/>
                    </a:lnTo>
                    <a:lnTo>
                      <a:pt x="77" y="35"/>
                    </a:lnTo>
                    <a:lnTo>
                      <a:pt x="97" y="35"/>
                    </a:lnTo>
                    <a:lnTo>
                      <a:pt x="99" y="38"/>
                    </a:lnTo>
                    <a:lnTo>
                      <a:pt x="82" y="43"/>
                    </a:lnTo>
                    <a:lnTo>
                      <a:pt x="71" y="3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86" name="Freeform 416">
                <a:extLst>
                  <a:ext uri="{FF2B5EF4-FFF2-40B4-BE49-F238E27FC236}">
                    <a16:creationId xmlns:a16="http://schemas.microsoft.com/office/drawing/2014/main" id="{524DEB1D-7932-5DAE-C14F-481E30D27AE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6" y="3004"/>
                <a:ext cx="39" cy="18"/>
              </a:xfrm>
              <a:custGeom>
                <a:avLst/>
                <a:gdLst>
                  <a:gd name="T0" fmla="*/ 39 w 88"/>
                  <a:gd name="T1" fmla="*/ 0 h 40"/>
                  <a:gd name="T2" fmla="*/ 16 w 88"/>
                  <a:gd name="T3" fmla="*/ 0 h 40"/>
                  <a:gd name="T4" fmla="*/ 19 w 88"/>
                  <a:gd name="T5" fmla="*/ 4 h 40"/>
                  <a:gd name="T6" fmla="*/ 15 w 88"/>
                  <a:gd name="T7" fmla="*/ 8 h 40"/>
                  <a:gd name="T8" fmla="*/ 0 w 88"/>
                  <a:gd name="T9" fmla="*/ 8 h 40"/>
                  <a:gd name="T10" fmla="*/ 9 w 88"/>
                  <a:gd name="T11" fmla="*/ 13 h 40"/>
                  <a:gd name="T12" fmla="*/ 17 w 88"/>
                  <a:gd name="T13" fmla="*/ 18 h 40"/>
                  <a:gd name="T14" fmla="*/ 19 w 88"/>
                  <a:gd name="T15" fmla="*/ 14 h 40"/>
                  <a:gd name="T16" fmla="*/ 29 w 88"/>
                  <a:gd name="T17" fmla="*/ 14 h 40"/>
                  <a:gd name="T18" fmla="*/ 34 w 88"/>
                  <a:gd name="T19" fmla="*/ 8 h 40"/>
                  <a:gd name="T20" fmla="*/ 39 w 88"/>
                  <a:gd name="T21" fmla="*/ 0 h 4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88" h="40">
                    <a:moveTo>
                      <a:pt x="88" y="0"/>
                    </a:moveTo>
                    <a:lnTo>
                      <a:pt x="37" y="0"/>
                    </a:lnTo>
                    <a:lnTo>
                      <a:pt x="43" y="9"/>
                    </a:lnTo>
                    <a:lnTo>
                      <a:pt x="33" y="17"/>
                    </a:lnTo>
                    <a:lnTo>
                      <a:pt x="0" y="17"/>
                    </a:lnTo>
                    <a:lnTo>
                      <a:pt x="20" y="28"/>
                    </a:lnTo>
                    <a:lnTo>
                      <a:pt x="39" y="40"/>
                    </a:lnTo>
                    <a:lnTo>
                      <a:pt x="42" y="32"/>
                    </a:lnTo>
                    <a:lnTo>
                      <a:pt x="65" y="32"/>
                    </a:lnTo>
                    <a:lnTo>
                      <a:pt x="77" y="17"/>
                    </a:lnTo>
                    <a:lnTo>
                      <a:pt x="88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87" name="Freeform 417">
                <a:extLst>
                  <a:ext uri="{FF2B5EF4-FFF2-40B4-BE49-F238E27FC236}">
                    <a16:creationId xmlns:a16="http://schemas.microsoft.com/office/drawing/2014/main" id="{9484889B-9964-3996-CD86-53D7753D59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3" y="3003"/>
                <a:ext cx="40" cy="15"/>
              </a:xfrm>
              <a:custGeom>
                <a:avLst/>
                <a:gdLst>
                  <a:gd name="T0" fmla="*/ 24 w 91"/>
                  <a:gd name="T1" fmla="*/ 9 h 35"/>
                  <a:gd name="T2" fmla="*/ 11 w 91"/>
                  <a:gd name="T3" fmla="*/ 9 h 35"/>
                  <a:gd name="T4" fmla="*/ 14 w 91"/>
                  <a:gd name="T5" fmla="*/ 11 h 35"/>
                  <a:gd name="T6" fmla="*/ 7 w 91"/>
                  <a:gd name="T7" fmla="*/ 14 h 35"/>
                  <a:gd name="T8" fmla="*/ 0 w 91"/>
                  <a:gd name="T9" fmla="*/ 15 h 35"/>
                  <a:gd name="T10" fmla="*/ 2 w 91"/>
                  <a:gd name="T11" fmla="*/ 14 h 35"/>
                  <a:gd name="T12" fmla="*/ 9 w 91"/>
                  <a:gd name="T13" fmla="*/ 4 h 35"/>
                  <a:gd name="T14" fmla="*/ 14 w 91"/>
                  <a:gd name="T15" fmla="*/ 3 h 35"/>
                  <a:gd name="T16" fmla="*/ 12 w 91"/>
                  <a:gd name="T17" fmla="*/ 2 h 35"/>
                  <a:gd name="T18" fmla="*/ 18 w 91"/>
                  <a:gd name="T19" fmla="*/ 0 h 35"/>
                  <a:gd name="T20" fmla="*/ 40 w 91"/>
                  <a:gd name="T21" fmla="*/ 2 h 35"/>
                  <a:gd name="T22" fmla="*/ 34 w 91"/>
                  <a:gd name="T23" fmla="*/ 4 h 35"/>
                  <a:gd name="T24" fmla="*/ 24 w 91"/>
                  <a:gd name="T25" fmla="*/ 9 h 3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91" h="35">
                    <a:moveTo>
                      <a:pt x="55" y="22"/>
                    </a:moveTo>
                    <a:lnTo>
                      <a:pt x="26" y="22"/>
                    </a:lnTo>
                    <a:lnTo>
                      <a:pt x="31" y="25"/>
                    </a:lnTo>
                    <a:lnTo>
                      <a:pt x="17" y="33"/>
                    </a:lnTo>
                    <a:lnTo>
                      <a:pt x="0" y="35"/>
                    </a:lnTo>
                    <a:lnTo>
                      <a:pt x="4" y="32"/>
                    </a:lnTo>
                    <a:lnTo>
                      <a:pt x="21" y="9"/>
                    </a:lnTo>
                    <a:lnTo>
                      <a:pt x="31" y="7"/>
                    </a:lnTo>
                    <a:lnTo>
                      <a:pt x="27" y="4"/>
                    </a:lnTo>
                    <a:lnTo>
                      <a:pt x="40" y="0"/>
                    </a:lnTo>
                    <a:lnTo>
                      <a:pt x="91" y="4"/>
                    </a:lnTo>
                    <a:lnTo>
                      <a:pt x="77" y="10"/>
                    </a:lnTo>
                    <a:lnTo>
                      <a:pt x="55" y="2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88" name="Freeform 418">
                <a:extLst>
                  <a:ext uri="{FF2B5EF4-FFF2-40B4-BE49-F238E27FC236}">
                    <a16:creationId xmlns:a16="http://schemas.microsoft.com/office/drawing/2014/main" id="{E4E69ABD-4A61-878F-6D5C-7EB067B161B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0" y="3189"/>
                <a:ext cx="21" cy="21"/>
              </a:xfrm>
              <a:custGeom>
                <a:avLst/>
                <a:gdLst>
                  <a:gd name="T0" fmla="*/ 15 w 48"/>
                  <a:gd name="T1" fmla="*/ 15 h 46"/>
                  <a:gd name="T2" fmla="*/ 14 w 48"/>
                  <a:gd name="T3" fmla="*/ 16 h 46"/>
                  <a:gd name="T4" fmla="*/ 8 w 48"/>
                  <a:gd name="T5" fmla="*/ 16 h 46"/>
                  <a:gd name="T6" fmla="*/ 10 w 48"/>
                  <a:gd name="T7" fmla="*/ 14 h 46"/>
                  <a:gd name="T8" fmla="*/ 7 w 48"/>
                  <a:gd name="T9" fmla="*/ 14 h 46"/>
                  <a:gd name="T10" fmla="*/ 4 w 48"/>
                  <a:gd name="T11" fmla="*/ 13 h 46"/>
                  <a:gd name="T12" fmla="*/ 9 w 48"/>
                  <a:gd name="T13" fmla="*/ 10 h 46"/>
                  <a:gd name="T14" fmla="*/ 5 w 48"/>
                  <a:gd name="T15" fmla="*/ 8 h 46"/>
                  <a:gd name="T16" fmla="*/ 4 w 48"/>
                  <a:gd name="T17" fmla="*/ 6 h 46"/>
                  <a:gd name="T18" fmla="*/ 1 w 48"/>
                  <a:gd name="T19" fmla="*/ 6 h 46"/>
                  <a:gd name="T20" fmla="*/ 1 w 48"/>
                  <a:gd name="T21" fmla="*/ 5 h 46"/>
                  <a:gd name="T22" fmla="*/ 4 w 48"/>
                  <a:gd name="T23" fmla="*/ 3 h 46"/>
                  <a:gd name="T24" fmla="*/ 2 w 48"/>
                  <a:gd name="T25" fmla="*/ 3 h 46"/>
                  <a:gd name="T26" fmla="*/ 0 w 48"/>
                  <a:gd name="T27" fmla="*/ 0 h 46"/>
                  <a:gd name="T28" fmla="*/ 7 w 48"/>
                  <a:gd name="T29" fmla="*/ 2 h 46"/>
                  <a:gd name="T30" fmla="*/ 15 w 48"/>
                  <a:gd name="T31" fmla="*/ 4 h 46"/>
                  <a:gd name="T32" fmla="*/ 16 w 48"/>
                  <a:gd name="T33" fmla="*/ 7 h 46"/>
                  <a:gd name="T34" fmla="*/ 21 w 48"/>
                  <a:gd name="T35" fmla="*/ 14 h 46"/>
                  <a:gd name="T36" fmla="*/ 21 w 48"/>
                  <a:gd name="T37" fmla="*/ 21 h 46"/>
                  <a:gd name="T38" fmla="*/ 21 w 48"/>
                  <a:gd name="T39" fmla="*/ 21 h 46"/>
                  <a:gd name="T40" fmla="*/ 10 w 48"/>
                  <a:gd name="T41" fmla="*/ 18 h 46"/>
                  <a:gd name="T42" fmla="*/ 15 w 48"/>
                  <a:gd name="T43" fmla="*/ 15 h 4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48" h="46">
                    <a:moveTo>
                      <a:pt x="34" y="33"/>
                    </a:moveTo>
                    <a:lnTo>
                      <a:pt x="31" y="36"/>
                    </a:lnTo>
                    <a:lnTo>
                      <a:pt x="19" y="35"/>
                    </a:lnTo>
                    <a:lnTo>
                      <a:pt x="23" y="30"/>
                    </a:lnTo>
                    <a:lnTo>
                      <a:pt x="17" y="30"/>
                    </a:lnTo>
                    <a:lnTo>
                      <a:pt x="10" y="28"/>
                    </a:lnTo>
                    <a:lnTo>
                      <a:pt x="20" y="21"/>
                    </a:lnTo>
                    <a:lnTo>
                      <a:pt x="11" y="18"/>
                    </a:lnTo>
                    <a:lnTo>
                      <a:pt x="10" y="13"/>
                    </a:lnTo>
                    <a:lnTo>
                      <a:pt x="2" y="13"/>
                    </a:lnTo>
                    <a:lnTo>
                      <a:pt x="2" y="10"/>
                    </a:lnTo>
                    <a:lnTo>
                      <a:pt x="10" y="7"/>
                    </a:lnTo>
                    <a:lnTo>
                      <a:pt x="5" y="7"/>
                    </a:lnTo>
                    <a:lnTo>
                      <a:pt x="0" y="0"/>
                    </a:lnTo>
                    <a:lnTo>
                      <a:pt x="17" y="5"/>
                    </a:lnTo>
                    <a:lnTo>
                      <a:pt x="34" y="8"/>
                    </a:lnTo>
                    <a:lnTo>
                      <a:pt x="37" y="16"/>
                    </a:lnTo>
                    <a:lnTo>
                      <a:pt x="47" y="30"/>
                    </a:lnTo>
                    <a:lnTo>
                      <a:pt x="47" y="45"/>
                    </a:lnTo>
                    <a:lnTo>
                      <a:pt x="48" y="46"/>
                    </a:lnTo>
                    <a:lnTo>
                      <a:pt x="23" y="40"/>
                    </a:lnTo>
                    <a:lnTo>
                      <a:pt x="34" y="3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89" name="Freeform 419">
                <a:extLst>
                  <a:ext uri="{FF2B5EF4-FFF2-40B4-BE49-F238E27FC236}">
                    <a16:creationId xmlns:a16="http://schemas.microsoft.com/office/drawing/2014/main" id="{821CBC57-4329-B76D-AF2A-629146F744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" y="2979"/>
                <a:ext cx="51" cy="11"/>
              </a:xfrm>
              <a:custGeom>
                <a:avLst/>
                <a:gdLst>
                  <a:gd name="T0" fmla="*/ 31 w 114"/>
                  <a:gd name="T1" fmla="*/ 6 h 23"/>
                  <a:gd name="T2" fmla="*/ 32 w 114"/>
                  <a:gd name="T3" fmla="*/ 5 h 23"/>
                  <a:gd name="T4" fmla="*/ 26 w 114"/>
                  <a:gd name="T5" fmla="*/ 7 h 23"/>
                  <a:gd name="T6" fmla="*/ 19 w 114"/>
                  <a:gd name="T7" fmla="*/ 9 h 23"/>
                  <a:gd name="T8" fmla="*/ 18 w 114"/>
                  <a:gd name="T9" fmla="*/ 7 h 23"/>
                  <a:gd name="T10" fmla="*/ 15 w 114"/>
                  <a:gd name="T11" fmla="*/ 10 h 23"/>
                  <a:gd name="T12" fmla="*/ 9 w 114"/>
                  <a:gd name="T13" fmla="*/ 11 h 23"/>
                  <a:gd name="T14" fmla="*/ 9 w 114"/>
                  <a:gd name="T15" fmla="*/ 10 h 23"/>
                  <a:gd name="T16" fmla="*/ 5 w 114"/>
                  <a:gd name="T17" fmla="*/ 10 h 23"/>
                  <a:gd name="T18" fmla="*/ 0 w 114"/>
                  <a:gd name="T19" fmla="*/ 10 h 23"/>
                  <a:gd name="T20" fmla="*/ 3 w 114"/>
                  <a:gd name="T21" fmla="*/ 7 h 23"/>
                  <a:gd name="T22" fmla="*/ 22 w 114"/>
                  <a:gd name="T23" fmla="*/ 4 h 23"/>
                  <a:gd name="T24" fmla="*/ 34 w 114"/>
                  <a:gd name="T25" fmla="*/ 1 h 23"/>
                  <a:gd name="T26" fmla="*/ 43 w 114"/>
                  <a:gd name="T27" fmla="*/ 0 h 23"/>
                  <a:gd name="T28" fmla="*/ 51 w 114"/>
                  <a:gd name="T29" fmla="*/ 1 h 23"/>
                  <a:gd name="T30" fmla="*/ 44 w 114"/>
                  <a:gd name="T31" fmla="*/ 2 h 23"/>
                  <a:gd name="T32" fmla="*/ 46 w 114"/>
                  <a:gd name="T33" fmla="*/ 4 h 23"/>
                  <a:gd name="T34" fmla="*/ 43 w 114"/>
                  <a:gd name="T35" fmla="*/ 4 h 23"/>
                  <a:gd name="T36" fmla="*/ 35 w 114"/>
                  <a:gd name="T37" fmla="*/ 6 h 23"/>
                  <a:gd name="T38" fmla="*/ 30 w 114"/>
                  <a:gd name="T39" fmla="*/ 8 h 23"/>
                  <a:gd name="T40" fmla="*/ 31 w 114"/>
                  <a:gd name="T41" fmla="*/ 6 h 2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14" h="23">
                    <a:moveTo>
                      <a:pt x="69" y="13"/>
                    </a:moveTo>
                    <a:lnTo>
                      <a:pt x="72" y="10"/>
                    </a:lnTo>
                    <a:lnTo>
                      <a:pt x="57" y="15"/>
                    </a:lnTo>
                    <a:lnTo>
                      <a:pt x="43" y="18"/>
                    </a:lnTo>
                    <a:lnTo>
                      <a:pt x="41" y="15"/>
                    </a:lnTo>
                    <a:lnTo>
                      <a:pt x="34" y="21"/>
                    </a:lnTo>
                    <a:lnTo>
                      <a:pt x="21" y="23"/>
                    </a:lnTo>
                    <a:lnTo>
                      <a:pt x="21" y="20"/>
                    </a:lnTo>
                    <a:lnTo>
                      <a:pt x="12" y="21"/>
                    </a:lnTo>
                    <a:lnTo>
                      <a:pt x="0" y="21"/>
                    </a:lnTo>
                    <a:lnTo>
                      <a:pt x="7" y="15"/>
                    </a:lnTo>
                    <a:lnTo>
                      <a:pt x="49" y="8"/>
                    </a:lnTo>
                    <a:lnTo>
                      <a:pt x="77" y="2"/>
                    </a:lnTo>
                    <a:lnTo>
                      <a:pt x="96" y="0"/>
                    </a:lnTo>
                    <a:lnTo>
                      <a:pt x="114" y="3"/>
                    </a:lnTo>
                    <a:lnTo>
                      <a:pt x="99" y="5"/>
                    </a:lnTo>
                    <a:lnTo>
                      <a:pt x="102" y="8"/>
                    </a:lnTo>
                    <a:lnTo>
                      <a:pt x="96" y="8"/>
                    </a:lnTo>
                    <a:lnTo>
                      <a:pt x="79" y="13"/>
                    </a:lnTo>
                    <a:lnTo>
                      <a:pt x="68" y="16"/>
                    </a:lnTo>
                    <a:lnTo>
                      <a:pt x="69" y="1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90" name="Freeform 420">
                <a:extLst>
                  <a:ext uri="{FF2B5EF4-FFF2-40B4-BE49-F238E27FC236}">
                    <a16:creationId xmlns:a16="http://schemas.microsoft.com/office/drawing/2014/main" id="{198E33F3-4B11-9689-6F60-2BD31E7B62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30" y="2985"/>
                <a:ext cx="31" cy="10"/>
              </a:xfrm>
              <a:custGeom>
                <a:avLst/>
                <a:gdLst>
                  <a:gd name="T0" fmla="*/ 15 w 70"/>
                  <a:gd name="T1" fmla="*/ 4 h 25"/>
                  <a:gd name="T2" fmla="*/ 10 w 70"/>
                  <a:gd name="T3" fmla="*/ 2 h 25"/>
                  <a:gd name="T4" fmla="*/ 11 w 70"/>
                  <a:gd name="T5" fmla="*/ 2 h 25"/>
                  <a:gd name="T6" fmla="*/ 8 w 70"/>
                  <a:gd name="T7" fmla="*/ 4 h 25"/>
                  <a:gd name="T8" fmla="*/ 8 w 70"/>
                  <a:gd name="T9" fmla="*/ 5 h 25"/>
                  <a:gd name="T10" fmla="*/ 8 w 70"/>
                  <a:gd name="T11" fmla="*/ 5 h 25"/>
                  <a:gd name="T12" fmla="*/ 0 w 70"/>
                  <a:gd name="T13" fmla="*/ 6 h 25"/>
                  <a:gd name="T14" fmla="*/ 21 w 70"/>
                  <a:gd name="T15" fmla="*/ 6 h 25"/>
                  <a:gd name="T16" fmla="*/ 8 w 70"/>
                  <a:gd name="T17" fmla="*/ 8 h 25"/>
                  <a:gd name="T18" fmla="*/ 7 w 70"/>
                  <a:gd name="T19" fmla="*/ 9 h 25"/>
                  <a:gd name="T20" fmla="*/ 19 w 70"/>
                  <a:gd name="T21" fmla="*/ 10 h 25"/>
                  <a:gd name="T22" fmla="*/ 21 w 70"/>
                  <a:gd name="T23" fmla="*/ 9 h 25"/>
                  <a:gd name="T24" fmla="*/ 23 w 70"/>
                  <a:gd name="T25" fmla="*/ 8 h 25"/>
                  <a:gd name="T26" fmla="*/ 27 w 70"/>
                  <a:gd name="T27" fmla="*/ 8 h 25"/>
                  <a:gd name="T28" fmla="*/ 29 w 70"/>
                  <a:gd name="T29" fmla="*/ 6 h 25"/>
                  <a:gd name="T30" fmla="*/ 25 w 70"/>
                  <a:gd name="T31" fmla="*/ 6 h 25"/>
                  <a:gd name="T32" fmla="*/ 31 w 70"/>
                  <a:gd name="T33" fmla="*/ 2 h 25"/>
                  <a:gd name="T34" fmla="*/ 30 w 70"/>
                  <a:gd name="T35" fmla="*/ 0 h 25"/>
                  <a:gd name="T36" fmla="*/ 25 w 70"/>
                  <a:gd name="T37" fmla="*/ 1 h 25"/>
                  <a:gd name="T38" fmla="*/ 16 w 70"/>
                  <a:gd name="T39" fmla="*/ 1 h 25"/>
                  <a:gd name="T40" fmla="*/ 19 w 70"/>
                  <a:gd name="T41" fmla="*/ 4 h 25"/>
                  <a:gd name="T42" fmla="*/ 17 w 70"/>
                  <a:gd name="T43" fmla="*/ 4 h 25"/>
                  <a:gd name="T44" fmla="*/ 15 w 70"/>
                  <a:gd name="T45" fmla="*/ 4 h 2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70" h="25">
                    <a:moveTo>
                      <a:pt x="33" y="9"/>
                    </a:moveTo>
                    <a:lnTo>
                      <a:pt x="22" y="4"/>
                    </a:lnTo>
                    <a:lnTo>
                      <a:pt x="25" y="5"/>
                    </a:lnTo>
                    <a:lnTo>
                      <a:pt x="19" y="9"/>
                    </a:lnTo>
                    <a:lnTo>
                      <a:pt x="19" y="12"/>
                    </a:lnTo>
                    <a:lnTo>
                      <a:pt x="0" y="15"/>
                    </a:lnTo>
                    <a:lnTo>
                      <a:pt x="47" y="14"/>
                    </a:lnTo>
                    <a:lnTo>
                      <a:pt x="19" y="20"/>
                    </a:lnTo>
                    <a:lnTo>
                      <a:pt x="16" y="22"/>
                    </a:lnTo>
                    <a:lnTo>
                      <a:pt x="44" y="25"/>
                    </a:lnTo>
                    <a:lnTo>
                      <a:pt x="48" y="22"/>
                    </a:lnTo>
                    <a:lnTo>
                      <a:pt x="51" y="20"/>
                    </a:lnTo>
                    <a:lnTo>
                      <a:pt x="61" y="20"/>
                    </a:lnTo>
                    <a:lnTo>
                      <a:pt x="65" y="14"/>
                    </a:lnTo>
                    <a:lnTo>
                      <a:pt x="57" y="14"/>
                    </a:lnTo>
                    <a:lnTo>
                      <a:pt x="70" y="4"/>
                    </a:lnTo>
                    <a:lnTo>
                      <a:pt x="67" y="0"/>
                    </a:lnTo>
                    <a:lnTo>
                      <a:pt x="56" y="2"/>
                    </a:lnTo>
                    <a:lnTo>
                      <a:pt x="37" y="2"/>
                    </a:lnTo>
                    <a:lnTo>
                      <a:pt x="44" y="9"/>
                    </a:lnTo>
                    <a:lnTo>
                      <a:pt x="39" y="10"/>
                    </a:lnTo>
                    <a:lnTo>
                      <a:pt x="33" y="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91" name="Freeform 421">
                <a:extLst>
                  <a:ext uri="{FF2B5EF4-FFF2-40B4-BE49-F238E27FC236}">
                    <a16:creationId xmlns:a16="http://schemas.microsoft.com/office/drawing/2014/main" id="{5DB17520-7F61-CE92-1BDA-1E72243C36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1" y="2968"/>
                <a:ext cx="28" cy="9"/>
              </a:xfrm>
              <a:custGeom>
                <a:avLst/>
                <a:gdLst>
                  <a:gd name="T0" fmla="*/ 17 w 61"/>
                  <a:gd name="T1" fmla="*/ 2 h 21"/>
                  <a:gd name="T2" fmla="*/ 18 w 61"/>
                  <a:gd name="T3" fmla="*/ 1 h 21"/>
                  <a:gd name="T4" fmla="*/ 25 w 61"/>
                  <a:gd name="T5" fmla="*/ 2 h 21"/>
                  <a:gd name="T6" fmla="*/ 28 w 61"/>
                  <a:gd name="T7" fmla="*/ 3 h 21"/>
                  <a:gd name="T8" fmla="*/ 26 w 61"/>
                  <a:gd name="T9" fmla="*/ 5 h 21"/>
                  <a:gd name="T10" fmla="*/ 28 w 61"/>
                  <a:gd name="T11" fmla="*/ 8 h 21"/>
                  <a:gd name="T12" fmla="*/ 20 w 61"/>
                  <a:gd name="T13" fmla="*/ 9 h 21"/>
                  <a:gd name="T14" fmla="*/ 13 w 61"/>
                  <a:gd name="T15" fmla="*/ 6 h 21"/>
                  <a:gd name="T16" fmla="*/ 0 w 61"/>
                  <a:gd name="T17" fmla="*/ 6 h 21"/>
                  <a:gd name="T18" fmla="*/ 2 w 61"/>
                  <a:gd name="T19" fmla="*/ 4 h 21"/>
                  <a:gd name="T20" fmla="*/ 9 w 61"/>
                  <a:gd name="T21" fmla="*/ 4 h 21"/>
                  <a:gd name="T22" fmla="*/ 8 w 61"/>
                  <a:gd name="T23" fmla="*/ 2 h 21"/>
                  <a:gd name="T24" fmla="*/ 4 w 61"/>
                  <a:gd name="T25" fmla="*/ 2 h 21"/>
                  <a:gd name="T26" fmla="*/ 2 w 61"/>
                  <a:gd name="T27" fmla="*/ 0 h 21"/>
                  <a:gd name="T28" fmla="*/ 17 w 61"/>
                  <a:gd name="T29" fmla="*/ 0 h 21"/>
                  <a:gd name="T30" fmla="*/ 17 w 61"/>
                  <a:gd name="T31" fmla="*/ 2 h 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61" h="21">
                    <a:moveTo>
                      <a:pt x="38" y="5"/>
                    </a:moveTo>
                    <a:lnTo>
                      <a:pt x="40" y="3"/>
                    </a:lnTo>
                    <a:lnTo>
                      <a:pt x="55" y="5"/>
                    </a:lnTo>
                    <a:lnTo>
                      <a:pt x="60" y="6"/>
                    </a:lnTo>
                    <a:lnTo>
                      <a:pt x="57" y="11"/>
                    </a:lnTo>
                    <a:lnTo>
                      <a:pt x="61" y="18"/>
                    </a:lnTo>
                    <a:lnTo>
                      <a:pt x="44" y="21"/>
                    </a:lnTo>
                    <a:lnTo>
                      <a:pt x="29" y="15"/>
                    </a:lnTo>
                    <a:lnTo>
                      <a:pt x="0" y="13"/>
                    </a:lnTo>
                    <a:lnTo>
                      <a:pt x="4" y="10"/>
                    </a:lnTo>
                    <a:lnTo>
                      <a:pt x="20" y="10"/>
                    </a:lnTo>
                    <a:lnTo>
                      <a:pt x="18" y="5"/>
                    </a:lnTo>
                    <a:lnTo>
                      <a:pt x="9" y="5"/>
                    </a:lnTo>
                    <a:lnTo>
                      <a:pt x="4" y="1"/>
                    </a:lnTo>
                    <a:lnTo>
                      <a:pt x="38" y="0"/>
                    </a:lnTo>
                    <a:lnTo>
                      <a:pt x="38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92" name="Freeform 422">
                <a:extLst>
                  <a:ext uri="{FF2B5EF4-FFF2-40B4-BE49-F238E27FC236}">
                    <a16:creationId xmlns:a16="http://schemas.microsoft.com/office/drawing/2014/main" id="{50B7BA1C-E9CE-763A-2984-28EEE7AD42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8" y="3032"/>
                <a:ext cx="24" cy="12"/>
              </a:xfrm>
              <a:custGeom>
                <a:avLst/>
                <a:gdLst>
                  <a:gd name="T0" fmla="*/ 20 w 54"/>
                  <a:gd name="T1" fmla="*/ 6 h 26"/>
                  <a:gd name="T2" fmla="*/ 21 w 54"/>
                  <a:gd name="T3" fmla="*/ 5 h 26"/>
                  <a:gd name="T4" fmla="*/ 14 w 54"/>
                  <a:gd name="T5" fmla="*/ 0 h 26"/>
                  <a:gd name="T6" fmla="*/ 11 w 54"/>
                  <a:gd name="T7" fmla="*/ 4 h 26"/>
                  <a:gd name="T8" fmla="*/ 10 w 54"/>
                  <a:gd name="T9" fmla="*/ 3 h 26"/>
                  <a:gd name="T10" fmla="*/ 8 w 54"/>
                  <a:gd name="T11" fmla="*/ 5 h 26"/>
                  <a:gd name="T12" fmla="*/ 0 w 54"/>
                  <a:gd name="T13" fmla="*/ 7 h 26"/>
                  <a:gd name="T14" fmla="*/ 13 w 54"/>
                  <a:gd name="T15" fmla="*/ 12 h 26"/>
                  <a:gd name="T16" fmla="*/ 24 w 54"/>
                  <a:gd name="T17" fmla="*/ 8 h 26"/>
                  <a:gd name="T18" fmla="*/ 21 w 54"/>
                  <a:gd name="T19" fmla="*/ 8 h 26"/>
                  <a:gd name="T20" fmla="*/ 20 w 54"/>
                  <a:gd name="T21" fmla="*/ 6 h 2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4" h="26">
                    <a:moveTo>
                      <a:pt x="46" y="13"/>
                    </a:moveTo>
                    <a:lnTo>
                      <a:pt x="47" y="11"/>
                    </a:lnTo>
                    <a:lnTo>
                      <a:pt x="32" y="0"/>
                    </a:lnTo>
                    <a:lnTo>
                      <a:pt x="24" y="8"/>
                    </a:lnTo>
                    <a:lnTo>
                      <a:pt x="23" y="6"/>
                    </a:lnTo>
                    <a:lnTo>
                      <a:pt x="18" y="10"/>
                    </a:lnTo>
                    <a:lnTo>
                      <a:pt x="0" y="16"/>
                    </a:lnTo>
                    <a:lnTo>
                      <a:pt x="30" y="26"/>
                    </a:lnTo>
                    <a:lnTo>
                      <a:pt x="54" y="18"/>
                    </a:lnTo>
                    <a:lnTo>
                      <a:pt x="47" y="18"/>
                    </a:lnTo>
                    <a:lnTo>
                      <a:pt x="46" y="1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93" name="Freeform 423">
                <a:extLst>
                  <a:ext uri="{FF2B5EF4-FFF2-40B4-BE49-F238E27FC236}">
                    <a16:creationId xmlns:a16="http://schemas.microsoft.com/office/drawing/2014/main" id="{97E4D972-93CC-24EC-2F98-CDAEE1F3ECB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2" y="3006"/>
                <a:ext cx="23" cy="5"/>
              </a:xfrm>
              <a:custGeom>
                <a:avLst/>
                <a:gdLst>
                  <a:gd name="T0" fmla="*/ 16 w 52"/>
                  <a:gd name="T1" fmla="*/ 0 h 13"/>
                  <a:gd name="T2" fmla="*/ 0 w 52"/>
                  <a:gd name="T3" fmla="*/ 0 h 13"/>
                  <a:gd name="T4" fmla="*/ 0 w 52"/>
                  <a:gd name="T5" fmla="*/ 2 h 13"/>
                  <a:gd name="T6" fmla="*/ 2 w 52"/>
                  <a:gd name="T7" fmla="*/ 3 h 13"/>
                  <a:gd name="T8" fmla="*/ 5 w 52"/>
                  <a:gd name="T9" fmla="*/ 5 h 13"/>
                  <a:gd name="T10" fmla="*/ 23 w 52"/>
                  <a:gd name="T11" fmla="*/ 3 h 13"/>
                  <a:gd name="T12" fmla="*/ 16 w 52"/>
                  <a:gd name="T13" fmla="*/ 0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2" h="13">
                    <a:moveTo>
                      <a:pt x="37" y="0"/>
                    </a:moveTo>
                    <a:lnTo>
                      <a:pt x="1" y="1"/>
                    </a:lnTo>
                    <a:lnTo>
                      <a:pt x="0" y="5"/>
                    </a:lnTo>
                    <a:lnTo>
                      <a:pt x="4" y="9"/>
                    </a:lnTo>
                    <a:lnTo>
                      <a:pt x="11" y="13"/>
                    </a:lnTo>
                    <a:lnTo>
                      <a:pt x="52" y="9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94" name="Freeform 424">
                <a:extLst>
                  <a:ext uri="{FF2B5EF4-FFF2-40B4-BE49-F238E27FC236}">
                    <a16:creationId xmlns:a16="http://schemas.microsoft.com/office/drawing/2014/main" id="{414F9EF2-11D2-11D8-A01E-E7A72A0F48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1" y="3045"/>
                <a:ext cx="15" cy="8"/>
              </a:xfrm>
              <a:custGeom>
                <a:avLst/>
                <a:gdLst>
                  <a:gd name="T0" fmla="*/ 13 w 34"/>
                  <a:gd name="T1" fmla="*/ 5 h 20"/>
                  <a:gd name="T2" fmla="*/ 1 w 34"/>
                  <a:gd name="T3" fmla="*/ 8 h 20"/>
                  <a:gd name="T4" fmla="*/ 0 w 34"/>
                  <a:gd name="T5" fmla="*/ 5 h 20"/>
                  <a:gd name="T6" fmla="*/ 9 w 34"/>
                  <a:gd name="T7" fmla="*/ 0 h 20"/>
                  <a:gd name="T8" fmla="*/ 15 w 34"/>
                  <a:gd name="T9" fmla="*/ 2 h 20"/>
                  <a:gd name="T10" fmla="*/ 13 w 34"/>
                  <a:gd name="T11" fmla="*/ 5 h 2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4" h="20">
                    <a:moveTo>
                      <a:pt x="29" y="13"/>
                    </a:moveTo>
                    <a:lnTo>
                      <a:pt x="3" y="20"/>
                    </a:lnTo>
                    <a:lnTo>
                      <a:pt x="0" y="12"/>
                    </a:lnTo>
                    <a:lnTo>
                      <a:pt x="20" y="0"/>
                    </a:lnTo>
                    <a:lnTo>
                      <a:pt x="34" y="5"/>
                    </a:lnTo>
                    <a:lnTo>
                      <a:pt x="29" y="1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95" name="Freeform 425">
                <a:extLst>
                  <a:ext uri="{FF2B5EF4-FFF2-40B4-BE49-F238E27FC236}">
                    <a16:creationId xmlns:a16="http://schemas.microsoft.com/office/drawing/2014/main" id="{70ED7508-4D95-A12D-1889-4CA126CF27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5" y="2970"/>
                <a:ext cx="18" cy="7"/>
              </a:xfrm>
              <a:custGeom>
                <a:avLst/>
                <a:gdLst>
                  <a:gd name="T0" fmla="*/ 0 w 41"/>
                  <a:gd name="T1" fmla="*/ 4 h 15"/>
                  <a:gd name="T2" fmla="*/ 2 w 41"/>
                  <a:gd name="T3" fmla="*/ 0 h 15"/>
                  <a:gd name="T4" fmla="*/ 18 w 41"/>
                  <a:gd name="T5" fmla="*/ 3 h 15"/>
                  <a:gd name="T6" fmla="*/ 15 w 41"/>
                  <a:gd name="T7" fmla="*/ 6 h 15"/>
                  <a:gd name="T8" fmla="*/ 2 w 41"/>
                  <a:gd name="T9" fmla="*/ 7 h 15"/>
                  <a:gd name="T10" fmla="*/ 0 w 41"/>
                  <a:gd name="T11" fmla="*/ 6 h 15"/>
                  <a:gd name="T12" fmla="*/ 0 w 41"/>
                  <a:gd name="T13" fmla="*/ 4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1" h="15">
                    <a:moveTo>
                      <a:pt x="0" y="9"/>
                    </a:moveTo>
                    <a:lnTo>
                      <a:pt x="5" y="0"/>
                    </a:lnTo>
                    <a:lnTo>
                      <a:pt x="41" y="7"/>
                    </a:lnTo>
                    <a:lnTo>
                      <a:pt x="34" y="12"/>
                    </a:lnTo>
                    <a:lnTo>
                      <a:pt x="5" y="15"/>
                    </a:lnTo>
                    <a:lnTo>
                      <a:pt x="0" y="12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96" name="Freeform 426">
                <a:extLst>
                  <a:ext uri="{FF2B5EF4-FFF2-40B4-BE49-F238E27FC236}">
                    <a16:creationId xmlns:a16="http://schemas.microsoft.com/office/drawing/2014/main" id="{4B868BF4-995C-0E7B-4614-5C9220F07B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7" y="2991"/>
                <a:ext cx="17" cy="6"/>
              </a:xfrm>
              <a:custGeom>
                <a:avLst/>
                <a:gdLst>
                  <a:gd name="T0" fmla="*/ 4 w 38"/>
                  <a:gd name="T1" fmla="*/ 5 h 14"/>
                  <a:gd name="T2" fmla="*/ 0 w 38"/>
                  <a:gd name="T3" fmla="*/ 4 h 14"/>
                  <a:gd name="T4" fmla="*/ 13 w 38"/>
                  <a:gd name="T5" fmla="*/ 0 h 14"/>
                  <a:gd name="T6" fmla="*/ 17 w 38"/>
                  <a:gd name="T7" fmla="*/ 4 h 14"/>
                  <a:gd name="T8" fmla="*/ 15 w 38"/>
                  <a:gd name="T9" fmla="*/ 6 h 14"/>
                  <a:gd name="T10" fmla="*/ 4 w 38"/>
                  <a:gd name="T11" fmla="*/ 5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8" h="14">
                    <a:moveTo>
                      <a:pt x="10" y="12"/>
                    </a:moveTo>
                    <a:lnTo>
                      <a:pt x="0" y="10"/>
                    </a:lnTo>
                    <a:lnTo>
                      <a:pt x="29" y="0"/>
                    </a:lnTo>
                    <a:lnTo>
                      <a:pt x="38" y="9"/>
                    </a:lnTo>
                    <a:lnTo>
                      <a:pt x="34" y="14"/>
                    </a:lnTo>
                    <a:lnTo>
                      <a:pt x="10" y="1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97" name="Freeform 427">
                <a:extLst>
                  <a:ext uri="{FF2B5EF4-FFF2-40B4-BE49-F238E27FC236}">
                    <a16:creationId xmlns:a16="http://schemas.microsoft.com/office/drawing/2014/main" id="{54EE807A-6AEC-51AF-46CD-618DD82E53D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89" y="3004"/>
                <a:ext cx="14" cy="7"/>
              </a:xfrm>
              <a:custGeom>
                <a:avLst/>
                <a:gdLst>
                  <a:gd name="T0" fmla="*/ 5 w 34"/>
                  <a:gd name="T1" fmla="*/ 7 h 17"/>
                  <a:gd name="T2" fmla="*/ 0 w 34"/>
                  <a:gd name="T3" fmla="*/ 2 h 17"/>
                  <a:gd name="T4" fmla="*/ 12 w 34"/>
                  <a:gd name="T5" fmla="*/ 0 h 17"/>
                  <a:gd name="T6" fmla="*/ 14 w 34"/>
                  <a:gd name="T7" fmla="*/ 2 h 17"/>
                  <a:gd name="T8" fmla="*/ 5 w 34"/>
                  <a:gd name="T9" fmla="*/ 7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12" y="17"/>
                    </a:moveTo>
                    <a:lnTo>
                      <a:pt x="0" y="5"/>
                    </a:lnTo>
                    <a:lnTo>
                      <a:pt x="29" y="0"/>
                    </a:lnTo>
                    <a:lnTo>
                      <a:pt x="34" y="5"/>
                    </a:lnTo>
                    <a:lnTo>
                      <a:pt x="12" y="1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98" name="Freeform 428">
                <a:extLst>
                  <a:ext uri="{FF2B5EF4-FFF2-40B4-BE49-F238E27FC236}">
                    <a16:creationId xmlns:a16="http://schemas.microsoft.com/office/drawing/2014/main" id="{755D4DCA-6A16-C84B-8BDF-1E752D9215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04" y="2943"/>
                <a:ext cx="314" cy="168"/>
              </a:xfrm>
              <a:custGeom>
                <a:avLst/>
                <a:gdLst>
                  <a:gd name="T0" fmla="*/ 53 w 710"/>
                  <a:gd name="T1" fmla="*/ 132 h 383"/>
                  <a:gd name="T2" fmla="*/ 64 w 710"/>
                  <a:gd name="T3" fmla="*/ 130 h 383"/>
                  <a:gd name="T4" fmla="*/ 56 w 710"/>
                  <a:gd name="T5" fmla="*/ 139 h 383"/>
                  <a:gd name="T6" fmla="*/ 60 w 710"/>
                  <a:gd name="T7" fmla="*/ 144 h 383"/>
                  <a:gd name="T8" fmla="*/ 64 w 710"/>
                  <a:gd name="T9" fmla="*/ 153 h 383"/>
                  <a:gd name="T10" fmla="*/ 65 w 710"/>
                  <a:gd name="T11" fmla="*/ 158 h 383"/>
                  <a:gd name="T12" fmla="*/ 75 w 710"/>
                  <a:gd name="T13" fmla="*/ 161 h 383"/>
                  <a:gd name="T14" fmla="*/ 85 w 710"/>
                  <a:gd name="T15" fmla="*/ 162 h 383"/>
                  <a:gd name="T16" fmla="*/ 92 w 710"/>
                  <a:gd name="T17" fmla="*/ 166 h 383"/>
                  <a:gd name="T18" fmla="*/ 99 w 710"/>
                  <a:gd name="T19" fmla="*/ 162 h 383"/>
                  <a:gd name="T20" fmla="*/ 102 w 710"/>
                  <a:gd name="T21" fmla="*/ 158 h 383"/>
                  <a:gd name="T22" fmla="*/ 106 w 710"/>
                  <a:gd name="T23" fmla="*/ 148 h 383"/>
                  <a:gd name="T24" fmla="*/ 115 w 710"/>
                  <a:gd name="T25" fmla="*/ 142 h 383"/>
                  <a:gd name="T26" fmla="*/ 123 w 710"/>
                  <a:gd name="T27" fmla="*/ 137 h 383"/>
                  <a:gd name="T28" fmla="*/ 134 w 710"/>
                  <a:gd name="T29" fmla="*/ 123 h 383"/>
                  <a:gd name="T30" fmla="*/ 149 w 710"/>
                  <a:gd name="T31" fmla="*/ 121 h 383"/>
                  <a:gd name="T32" fmla="*/ 182 w 710"/>
                  <a:gd name="T33" fmla="*/ 105 h 383"/>
                  <a:gd name="T34" fmla="*/ 212 w 710"/>
                  <a:gd name="T35" fmla="*/ 100 h 383"/>
                  <a:gd name="T36" fmla="*/ 226 w 710"/>
                  <a:gd name="T37" fmla="*/ 86 h 383"/>
                  <a:gd name="T38" fmla="*/ 215 w 710"/>
                  <a:gd name="T39" fmla="*/ 82 h 383"/>
                  <a:gd name="T40" fmla="*/ 225 w 710"/>
                  <a:gd name="T41" fmla="*/ 77 h 383"/>
                  <a:gd name="T42" fmla="*/ 248 w 710"/>
                  <a:gd name="T43" fmla="*/ 82 h 383"/>
                  <a:gd name="T44" fmla="*/ 233 w 710"/>
                  <a:gd name="T45" fmla="*/ 71 h 383"/>
                  <a:gd name="T46" fmla="*/ 234 w 710"/>
                  <a:gd name="T47" fmla="*/ 66 h 383"/>
                  <a:gd name="T48" fmla="*/ 234 w 710"/>
                  <a:gd name="T49" fmla="*/ 63 h 383"/>
                  <a:gd name="T50" fmla="*/ 260 w 710"/>
                  <a:gd name="T51" fmla="*/ 62 h 383"/>
                  <a:gd name="T52" fmla="*/ 268 w 710"/>
                  <a:gd name="T53" fmla="*/ 54 h 383"/>
                  <a:gd name="T54" fmla="*/ 268 w 710"/>
                  <a:gd name="T55" fmla="*/ 51 h 383"/>
                  <a:gd name="T56" fmla="*/ 254 w 710"/>
                  <a:gd name="T57" fmla="*/ 41 h 383"/>
                  <a:gd name="T58" fmla="*/ 265 w 710"/>
                  <a:gd name="T59" fmla="*/ 32 h 383"/>
                  <a:gd name="T60" fmla="*/ 277 w 710"/>
                  <a:gd name="T61" fmla="*/ 20 h 383"/>
                  <a:gd name="T62" fmla="*/ 272 w 710"/>
                  <a:gd name="T63" fmla="*/ 16 h 383"/>
                  <a:gd name="T64" fmla="*/ 274 w 710"/>
                  <a:gd name="T65" fmla="*/ 10 h 383"/>
                  <a:gd name="T66" fmla="*/ 249 w 710"/>
                  <a:gd name="T67" fmla="*/ 10 h 383"/>
                  <a:gd name="T68" fmla="*/ 254 w 710"/>
                  <a:gd name="T69" fmla="*/ 3 h 383"/>
                  <a:gd name="T70" fmla="*/ 189 w 710"/>
                  <a:gd name="T71" fmla="*/ 3 h 383"/>
                  <a:gd name="T72" fmla="*/ 182 w 710"/>
                  <a:gd name="T73" fmla="*/ 6 h 383"/>
                  <a:gd name="T74" fmla="*/ 159 w 710"/>
                  <a:gd name="T75" fmla="*/ 9 h 383"/>
                  <a:gd name="T76" fmla="*/ 114 w 710"/>
                  <a:gd name="T77" fmla="*/ 6 h 383"/>
                  <a:gd name="T78" fmla="*/ 65 w 710"/>
                  <a:gd name="T79" fmla="*/ 12 h 383"/>
                  <a:gd name="T80" fmla="*/ 42 w 710"/>
                  <a:gd name="T81" fmla="*/ 24 h 383"/>
                  <a:gd name="T82" fmla="*/ 9 w 710"/>
                  <a:gd name="T83" fmla="*/ 36 h 383"/>
                  <a:gd name="T84" fmla="*/ 0 w 710"/>
                  <a:gd name="T85" fmla="*/ 39 h 383"/>
                  <a:gd name="T86" fmla="*/ 24 w 710"/>
                  <a:gd name="T87" fmla="*/ 45 h 383"/>
                  <a:gd name="T88" fmla="*/ 65 w 710"/>
                  <a:gd name="T89" fmla="*/ 57 h 383"/>
                  <a:gd name="T90" fmla="*/ 68 w 710"/>
                  <a:gd name="T91" fmla="*/ 71 h 383"/>
                  <a:gd name="T92" fmla="*/ 72 w 710"/>
                  <a:gd name="T93" fmla="*/ 71 h 383"/>
                  <a:gd name="T94" fmla="*/ 77 w 710"/>
                  <a:gd name="T95" fmla="*/ 79 h 383"/>
                  <a:gd name="T96" fmla="*/ 81 w 710"/>
                  <a:gd name="T97" fmla="*/ 84 h 383"/>
                  <a:gd name="T98" fmla="*/ 78 w 710"/>
                  <a:gd name="T99" fmla="*/ 94 h 383"/>
                  <a:gd name="T100" fmla="*/ 62 w 710"/>
                  <a:gd name="T101" fmla="*/ 101 h 383"/>
                  <a:gd name="T102" fmla="*/ 61 w 710"/>
                  <a:gd name="T103" fmla="*/ 103 h 383"/>
                  <a:gd name="T104" fmla="*/ 73 w 710"/>
                  <a:gd name="T105" fmla="*/ 105 h 383"/>
                  <a:gd name="T106" fmla="*/ 53 w 710"/>
                  <a:gd name="T107" fmla="*/ 109 h 383"/>
                  <a:gd name="T108" fmla="*/ 57 w 710"/>
                  <a:gd name="T109" fmla="*/ 114 h 383"/>
                  <a:gd name="T110" fmla="*/ 73 w 710"/>
                  <a:gd name="T111" fmla="*/ 111 h 383"/>
                  <a:gd name="T112" fmla="*/ 53 w 710"/>
                  <a:gd name="T113" fmla="*/ 122 h 38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710" h="383">
                    <a:moveTo>
                      <a:pt x="150" y="278"/>
                    </a:moveTo>
                    <a:lnTo>
                      <a:pt x="133" y="282"/>
                    </a:lnTo>
                    <a:lnTo>
                      <a:pt x="125" y="287"/>
                    </a:lnTo>
                    <a:lnTo>
                      <a:pt x="124" y="292"/>
                    </a:lnTo>
                    <a:lnTo>
                      <a:pt x="136" y="290"/>
                    </a:lnTo>
                    <a:lnTo>
                      <a:pt x="130" y="292"/>
                    </a:lnTo>
                    <a:lnTo>
                      <a:pt x="120" y="302"/>
                    </a:lnTo>
                    <a:lnTo>
                      <a:pt x="133" y="300"/>
                    </a:lnTo>
                    <a:lnTo>
                      <a:pt x="141" y="297"/>
                    </a:lnTo>
                    <a:lnTo>
                      <a:pt x="142" y="287"/>
                    </a:lnTo>
                    <a:lnTo>
                      <a:pt x="144" y="292"/>
                    </a:lnTo>
                    <a:lnTo>
                      <a:pt x="151" y="295"/>
                    </a:lnTo>
                    <a:lnTo>
                      <a:pt x="153" y="302"/>
                    </a:lnTo>
                    <a:lnTo>
                      <a:pt x="144" y="297"/>
                    </a:lnTo>
                    <a:lnTo>
                      <a:pt x="147" y="302"/>
                    </a:lnTo>
                    <a:lnTo>
                      <a:pt x="130" y="305"/>
                    </a:lnTo>
                    <a:lnTo>
                      <a:pt x="142" y="305"/>
                    </a:lnTo>
                    <a:lnTo>
                      <a:pt x="147" y="305"/>
                    </a:lnTo>
                    <a:lnTo>
                      <a:pt x="125" y="308"/>
                    </a:lnTo>
                    <a:lnTo>
                      <a:pt x="131" y="310"/>
                    </a:lnTo>
                    <a:lnTo>
                      <a:pt x="127" y="317"/>
                    </a:lnTo>
                    <a:lnTo>
                      <a:pt x="133" y="317"/>
                    </a:lnTo>
                    <a:lnTo>
                      <a:pt x="130" y="318"/>
                    </a:lnTo>
                    <a:lnTo>
                      <a:pt x="128" y="318"/>
                    </a:lnTo>
                    <a:lnTo>
                      <a:pt x="134" y="320"/>
                    </a:lnTo>
                    <a:lnTo>
                      <a:pt x="128" y="322"/>
                    </a:lnTo>
                    <a:lnTo>
                      <a:pt x="136" y="325"/>
                    </a:lnTo>
                    <a:lnTo>
                      <a:pt x="136" y="328"/>
                    </a:lnTo>
                    <a:lnTo>
                      <a:pt x="142" y="328"/>
                    </a:lnTo>
                    <a:lnTo>
                      <a:pt x="136" y="332"/>
                    </a:lnTo>
                    <a:lnTo>
                      <a:pt x="134" y="333"/>
                    </a:lnTo>
                    <a:lnTo>
                      <a:pt x="141" y="341"/>
                    </a:lnTo>
                    <a:lnTo>
                      <a:pt x="141" y="343"/>
                    </a:lnTo>
                    <a:lnTo>
                      <a:pt x="147" y="343"/>
                    </a:lnTo>
                    <a:lnTo>
                      <a:pt x="144" y="348"/>
                    </a:lnTo>
                    <a:lnTo>
                      <a:pt x="147" y="346"/>
                    </a:lnTo>
                    <a:lnTo>
                      <a:pt x="147" y="351"/>
                    </a:lnTo>
                    <a:lnTo>
                      <a:pt x="148" y="351"/>
                    </a:lnTo>
                    <a:lnTo>
                      <a:pt x="144" y="353"/>
                    </a:lnTo>
                    <a:lnTo>
                      <a:pt x="151" y="355"/>
                    </a:lnTo>
                    <a:lnTo>
                      <a:pt x="148" y="356"/>
                    </a:lnTo>
                    <a:lnTo>
                      <a:pt x="148" y="361"/>
                    </a:lnTo>
                    <a:lnTo>
                      <a:pt x="156" y="360"/>
                    </a:lnTo>
                    <a:lnTo>
                      <a:pt x="156" y="363"/>
                    </a:lnTo>
                    <a:lnTo>
                      <a:pt x="153" y="365"/>
                    </a:lnTo>
                    <a:lnTo>
                      <a:pt x="156" y="365"/>
                    </a:lnTo>
                    <a:lnTo>
                      <a:pt x="156" y="366"/>
                    </a:lnTo>
                    <a:lnTo>
                      <a:pt x="161" y="366"/>
                    </a:lnTo>
                    <a:lnTo>
                      <a:pt x="170" y="366"/>
                    </a:lnTo>
                    <a:lnTo>
                      <a:pt x="187" y="361"/>
                    </a:lnTo>
                    <a:lnTo>
                      <a:pt x="185" y="363"/>
                    </a:lnTo>
                    <a:lnTo>
                      <a:pt x="193" y="361"/>
                    </a:lnTo>
                    <a:lnTo>
                      <a:pt x="184" y="366"/>
                    </a:lnTo>
                    <a:lnTo>
                      <a:pt x="192" y="366"/>
                    </a:lnTo>
                    <a:lnTo>
                      <a:pt x="185" y="371"/>
                    </a:lnTo>
                    <a:lnTo>
                      <a:pt x="193" y="370"/>
                    </a:lnTo>
                    <a:lnTo>
                      <a:pt x="193" y="373"/>
                    </a:lnTo>
                    <a:lnTo>
                      <a:pt x="198" y="371"/>
                    </a:lnTo>
                    <a:lnTo>
                      <a:pt x="193" y="378"/>
                    </a:lnTo>
                    <a:lnTo>
                      <a:pt x="201" y="375"/>
                    </a:lnTo>
                    <a:lnTo>
                      <a:pt x="193" y="380"/>
                    </a:lnTo>
                    <a:lnTo>
                      <a:pt x="195" y="383"/>
                    </a:lnTo>
                    <a:lnTo>
                      <a:pt x="207" y="378"/>
                    </a:lnTo>
                    <a:lnTo>
                      <a:pt x="216" y="381"/>
                    </a:lnTo>
                    <a:lnTo>
                      <a:pt x="219" y="378"/>
                    </a:lnTo>
                    <a:lnTo>
                      <a:pt x="216" y="376"/>
                    </a:lnTo>
                    <a:lnTo>
                      <a:pt x="207" y="371"/>
                    </a:lnTo>
                    <a:lnTo>
                      <a:pt x="223" y="373"/>
                    </a:lnTo>
                    <a:lnTo>
                      <a:pt x="226" y="371"/>
                    </a:lnTo>
                    <a:lnTo>
                      <a:pt x="223" y="370"/>
                    </a:lnTo>
                    <a:lnTo>
                      <a:pt x="224" y="366"/>
                    </a:lnTo>
                    <a:lnTo>
                      <a:pt x="223" y="366"/>
                    </a:lnTo>
                    <a:lnTo>
                      <a:pt x="230" y="366"/>
                    </a:lnTo>
                    <a:lnTo>
                      <a:pt x="223" y="363"/>
                    </a:lnTo>
                    <a:lnTo>
                      <a:pt x="230" y="363"/>
                    </a:lnTo>
                    <a:lnTo>
                      <a:pt x="230" y="361"/>
                    </a:lnTo>
                    <a:lnTo>
                      <a:pt x="230" y="360"/>
                    </a:lnTo>
                    <a:lnTo>
                      <a:pt x="235" y="358"/>
                    </a:lnTo>
                    <a:lnTo>
                      <a:pt x="233" y="355"/>
                    </a:lnTo>
                    <a:lnTo>
                      <a:pt x="238" y="353"/>
                    </a:lnTo>
                    <a:lnTo>
                      <a:pt x="238" y="351"/>
                    </a:lnTo>
                    <a:lnTo>
                      <a:pt x="243" y="346"/>
                    </a:lnTo>
                    <a:lnTo>
                      <a:pt x="244" y="343"/>
                    </a:lnTo>
                    <a:lnTo>
                      <a:pt x="240" y="338"/>
                    </a:lnTo>
                    <a:lnTo>
                      <a:pt x="243" y="338"/>
                    </a:lnTo>
                    <a:lnTo>
                      <a:pt x="237" y="333"/>
                    </a:lnTo>
                    <a:lnTo>
                      <a:pt x="249" y="328"/>
                    </a:lnTo>
                    <a:lnTo>
                      <a:pt x="257" y="328"/>
                    </a:lnTo>
                    <a:lnTo>
                      <a:pt x="257" y="327"/>
                    </a:lnTo>
                    <a:lnTo>
                      <a:pt x="254" y="323"/>
                    </a:lnTo>
                    <a:lnTo>
                      <a:pt x="261" y="323"/>
                    </a:lnTo>
                    <a:lnTo>
                      <a:pt x="261" y="318"/>
                    </a:lnTo>
                    <a:lnTo>
                      <a:pt x="266" y="320"/>
                    </a:lnTo>
                    <a:lnTo>
                      <a:pt x="264" y="318"/>
                    </a:lnTo>
                    <a:lnTo>
                      <a:pt x="267" y="318"/>
                    </a:lnTo>
                    <a:lnTo>
                      <a:pt x="272" y="315"/>
                    </a:lnTo>
                    <a:lnTo>
                      <a:pt x="267" y="313"/>
                    </a:lnTo>
                    <a:lnTo>
                      <a:pt x="277" y="313"/>
                    </a:lnTo>
                    <a:lnTo>
                      <a:pt x="275" y="305"/>
                    </a:lnTo>
                    <a:lnTo>
                      <a:pt x="267" y="302"/>
                    </a:lnTo>
                    <a:lnTo>
                      <a:pt x="281" y="300"/>
                    </a:lnTo>
                    <a:lnTo>
                      <a:pt x="281" y="290"/>
                    </a:lnTo>
                    <a:lnTo>
                      <a:pt x="294" y="287"/>
                    </a:lnTo>
                    <a:lnTo>
                      <a:pt x="294" y="283"/>
                    </a:lnTo>
                    <a:lnTo>
                      <a:pt x="303" y="280"/>
                    </a:lnTo>
                    <a:lnTo>
                      <a:pt x="308" y="278"/>
                    </a:lnTo>
                    <a:lnTo>
                      <a:pt x="323" y="277"/>
                    </a:lnTo>
                    <a:lnTo>
                      <a:pt x="322" y="275"/>
                    </a:lnTo>
                    <a:lnTo>
                      <a:pt x="331" y="269"/>
                    </a:lnTo>
                    <a:lnTo>
                      <a:pt x="337" y="269"/>
                    </a:lnTo>
                    <a:lnTo>
                      <a:pt x="331" y="273"/>
                    </a:lnTo>
                    <a:lnTo>
                      <a:pt x="337" y="275"/>
                    </a:lnTo>
                    <a:lnTo>
                      <a:pt x="359" y="269"/>
                    </a:lnTo>
                    <a:lnTo>
                      <a:pt x="359" y="267"/>
                    </a:lnTo>
                    <a:lnTo>
                      <a:pt x="365" y="267"/>
                    </a:lnTo>
                    <a:lnTo>
                      <a:pt x="377" y="264"/>
                    </a:lnTo>
                    <a:lnTo>
                      <a:pt x="379" y="262"/>
                    </a:lnTo>
                    <a:lnTo>
                      <a:pt x="393" y="249"/>
                    </a:lnTo>
                    <a:lnTo>
                      <a:pt x="411" y="240"/>
                    </a:lnTo>
                    <a:lnTo>
                      <a:pt x="411" y="234"/>
                    </a:lnTo>
                    <a:lnTo>
                      <a:pt x="416" y="227"/>
                    </a:lnTo>
                    <a:lnTo>
                      <a:pt x="430" y="235"/>
                    </a:lnTo>
                    <a:lnTo>
                      <a:pt x="439" y="235"/>
                    </a:lnTo>
                    <a:lnTo>
                      <a:pt x="444" y="234"/>
                    </a:lnTo>
                    <a:lnTo>
                      <a:pt x="448" y="234"/>
                    </a:lnTo>
                    <a:lnTo>
                      <a:pt x="479" y="227"/>
                    </a:lnTo>
                    <a:lnTo>
                      <a:pt x="507" y="220"/>
                    </a:lnTo>
                    <a:lnTo>
                      <a:pt x="517" y="215"/>
                    </a:lnTo>
                    <a:lnTo>
                      <a:pt x="527" y="210"/>
                    </a:lnTo>
                    <a:lnTo>
                      <a:pt x="534" y="207"/>
                    </a:lnTo>
                    <a:lnTo>
                      <a:pt x="541" y="204"/>
                    </a:lnTo>
                    <a:lnTo>
                      <a:pt x="551" y="201"/>
                    </a:lnTo>
                    <a:lnTo>
                      <a:pt x="510" y="197"/>
                    </a:lnTo>
                    <a:lnTo>
                      <a:pt x="479" y="202"/>
                    </a:lnTo>
                    <a:lnTo>
                      <a:pt x="476" y="199"/>
                    </a:lnTo>
                    <a:lnTo>
                      <a:pt x="500" y="194"/>
                    </a:lnTo>
                    <a:lnTo>
                      <a:pt x="467" y="194"/>
                    </a:lnTo>
                    <a:lnTo>
                      <a:pt x="484" y="189"/>
                    </a:lnTo>
                    <a:lnTo>
                      <a:pt x="483" y="186"/>
                    </a:lnTo>
                    <a:lnTo>
                      <a:pt x="486" y="186"/>
                    </a:lnTo>
                    <a:lnTo>
                      <a:pt x="513" y="182"/>
                    </a:lnTo>
                    <a:lnTo>
                      <a:pt x="513" y="179"/>
                    </a:lnTo>
                    <a:lnTo>
                      <a:pt x="513" y="177"/>
                    </a:lnTo>
                    <a:lnTo>
                      <a:pt x="487" y="176"/>
                    </a:lnTo>
                    <a:lnTo>
                      <a:pt x="495" y="174"/>
                    </a:lnTo>
                    <a:lnTo>
                      <a:pt x="484" y="169"/>
                    </a:lnTo>
                    <a:lnTo>
                      <a:pt x="509" y="176"/>
                    </a:lnTo>
                    <a:lnTo>
                      <a:pt x="530" y="184"/>
                    </a:lnTo>
                    <a:lnTo>
                      <a:pt x="540" y="194"/>
                    </a:lnTo>
                    <a:lnTo>
                      <a:pt x="551" y="192"/>
                    </a:lnTo>
                    <a:lnTo>
                      <a:pt x="554" y="189"/>
                    </a:lnTo>
                    <a:lnTo>
                      <a:pt x="555" y="194"/>
                    </a:lnTo>
                    <a:lnTo>
                      <a:pt x="561" y="192"/>
                    </a:lnTo>
                    <a:lnTo>
                      <a:pt x="561" y="187"/>
                    </a:lnTo>
                    <a:lnTo>
                      <a:pt x="563" y="179"/>
                    </a:lnTo>
                    <a:lnTo>
                      <a:pt x="555" y="179"/>
                    </a:lnTo>
                    <a:lnTo>
                      <a:pt x="558" y="174"/>
                    </a:lnTo>
                    <a:lnTo>
                      <a:pt x="554" y="174"/>
                    </a:lnTo>
                    <a:lnTo>
                      <a:pt x="551" y="174"/>
                    </a:lnTo>
                    <a:lnTo>
                      <a:pt x="554" y="171"/>
                    </a:lnTo>
                    <a:lnTo>
                      <a:pt x="526" y="162"/>
                    </a:lnTo>
                    <a:lnTo>
                      <a:pt x="521" y="164"/>
                    </a:lnTo>
                    <a:lnTo>
                      <a:pt x="521" y="162"/>
                    </a:lnTo>
                    <a:lnTo>
                      <a:pt x="532" y="157"/>
                    </a:lnTo>
                    <a:lnTo>
                      <a:pt x="513" y="157"/>
                    </a:lnTo>
                    <a:lnTo>
                      <a:pt x="506" y="157"/>
                    </a:lnTo>
                    <a:lnTo>
                      <a:pt x="503" y="156"/>
                    </a:lnTo>
                    <a:lnTo>
                      <a:pt x="530" y="151"/>
                    </a:lnTo>
                    <a:lnTo>
                      <a:pt x="503" y="151"/>
                    </a:lnTo>
                    <a:lnTo>
                      <a:pt x="500" y="152"/>
                    </a:lnTo>
                    <a:lnTo>
                      <a:pt x="500" y="149"/>
                    </a:lnTo>
                    <a:lnTo>
                      <a:pt x="509" y="148"/>
                    </a:lnTo>
                    <a:lnTo>
                      <a:pt x="504" y="146"/>
                    </a:lnTo>
                    <a:lnTo>
                      <a:pt x="526" y="146"/>
                    </a:lnTo>
                    <a:lnTo>
                      <a:pt x="530" y="143"/>
                    </a:lnTo>
                    <a:lnTo>
                      <a:pt x="530" y="138"/>
                    </a:lnTo>
                    <a:lnTo>
                      <a:pt x="540" y="141"/>
                    </a:lnTo>
                    <a:lnTo>
                      <a:pt x="551" y="139"/>
                    </a:lnTo>
                    <a:lnTo>
                      <a:pt x="561" y="143"/>
                    </a:lnTo>
                    <a:lnTo>
                      <a:pt x="544" y="143"/>
                    </a:lnTo>
                    <a:lnTo>
                      <a:pt x="569" y="148"/>
                    </a:lnTo>
                    <a:lnTo>
                      <a:pt x="589" y="141"/>
                    </a:lnTo>
                    <a:lnTo>
                      <a:pt x="591" y="138"/>
                    </a:lnTo>
                    <a:lnTo>
                      <a:pt x="574" y="138"/>
                    </a:lnTo>
                    <a:lnTo>
                      <a:pt x="572" y="139"/>
                    </a:lnTo>
                    <a:lnTo>
                      <a:pt x="568" y="133"/>
                    </a:lnTo>
                    <a:lnTo>
                      <a:pt x="574" y="128"/>
                    </a:lnTo>
                    <a:lnTo>
                      <a:pt x="606" y="129"/>
                    </a:lnTo>
                    <a:lnTo>
                      <a:pt x="605" y="124"/>
                    </a:lnTo>
                    <a:lnTo>
                      <a:pt x="591" y="123"/>
                    </a:lnTo>
                    <a:lnTo>
                      <a:pt x="589" y="118"/>
                    </a:lnTo>
                    <a:lnTo>
                      <a:pt x="577" y="118"/>
                    </a:lnTo>
                    <a:lnTo>
                      <a:pt x="591" y="114"/>
                    </a:lnTo>
                    <a:lnTo>
                      <a:pt x="577" y="111"/>
                    </a:lnTo>
                    <a:lnTo>
                      <a:pt x="577" y="109"/>
                    </a:lnTo>
                    <a:lnTo>
                      <a:pt x="606" y="116"/>
                    </a:lnTo>
                    <a:lnTo>
                      <a:pt x="605" y="106"/>
                    </a:lnTo>
                    <a:lnTo>
                      <a:pt x="583" y="104"/>
                    </a:lnTo>
                    <a:lnTo>
                      <a:pt x="608" y="103"/>
                    </a:lnTo>
                    <a:lnTo>
                      <a:pt x="592" y="101"/>
                    </a:lnTo>
                    <a:lnTo>
                      <a:pt x="586" y="98"/>
                    </a:lnTo>
                    <a:lnTo>
                      <a:pt x="582" y="96"/>
                    </a:lnTo>
                    <a:lnTo>
                      <a:pt x="575" y="93"/>
                    </a:lnTo>
                    <a:lnTo>
                      <a:pt x="594" y="91"/>
                    </a:lnTo>
                    <a:lnTo>
                      <a:pt x="628" y="91"/>
                    </a:lnTo>
                    <a:lnTo>
                      <a:pt x="628" y="83"/>
                    </a:lnTo>
                    <a:lnTo>
                      <a:pt x="608" y="81"/>
                    </a:lnTo>
                    <a:lnTo>
                      <a:pt x="599" y="78"/>
                    </a:lnTo>
                    <a:lnTo>
                      <a:pt x="622" y="78"/>
                    </a:lnTo>
                    <a:lnTo>
                      <a:pt x="599" y="73"/>
                    </a:lnTo>
                    <a:lnTo>
                      <a:pt x="592" y="78"/>
                    </a:lnTo>
                    <a:lnTo>
                      <a:pt x="588" y="76"/>
                    </a:lnTo>
                    <a:lnTo>
                      <a:pt x="597" y="63"/>
                    </a:lnTo>
                    <a:lnTo>
                      <a:pt x="614" y="60"/>
                    </a:lnTo>
                    <a:lnTo>
                      <a:pt x="623" y="55"/>
                    </a:lnTo>
                    <a:lnTo>
                      <a:pt x="616" y="55"/>
                    </a:lnTo>
                    <a:lnTo>
                      <a:pt x="626" y="46"/>
                    </a:lnTo>
                    <a:lnTo>
                      <a:pt x="640" y="46"/>
                    </a:lnTo>
                    <a:lnTo>
                      <a:pt x="642" y="41"/>
                    </a:lnTo>
                    <a:lnTo>
                      <a:pt x="614" y="46"/>
                    </a:lnTo>
                    <a:lnTo>
                      <a:pt x="611" y="43"/>
                    </a:lnTo>
                    <a:lnTo>
                      <a:pt x="637" y="40"/>
                    </a:lnTo>
                    <a:lnTo>
                      <a:pt x="660" y="36"/>
                    </a:lnTo>
                    <a:lnTo>
                      <a:pt x="614" y="36"/>
                    </a:lnTo>
                    <a:lnTo>
                      <a:pt x="681" y="31"/>
                    </a:lnTo>
                    <a:lnTo>
                      <a:pt x="677" y="30"/>
                    </a:lnTo>
                    <a:lnTo>
                      <a:pt x="710" y="23"/>
                    </a:lnTo>
                    <a:lnTo>
                      <a:pt x="668" y="20"/>
                    </a:lnTo>
                    <a:lnTo>
                      <a:pt x="647" y="22"/>
                    </a:lnTo>
                    <a:lnTo>
                      <a:pt x="622" y="25"/>
                    </a:lnTo>
                    <a:lnTo>
                      <a:pt x="620" y="23"/>
                    </a:lnTo>
                    <a:lnTo>
                      <a:pt x="577" y="35"/>
                    </a:lnTo>
                    <a:lnTo>
                      <a:pt x="592" y="26"/>
                    </a:lnTo>
                    <a:lnTo>
                      <a:pt x="602" y="20"/>
                    </a:lnTo>
                    <a:lnTo>
                      <a:pt x="586" y="18"/>
                    </a:lnTo>
                    <a:lnTo>
                      <a:pt x="578" y="22"/>
                    </a:lnTo>
                    <a:lnTo>
                      <a:pt x="548" y="25"/>
                    </a:lnTo>
                    <a:lnTo>
                      <a:pt x="563" y="22"/>
                    </a:lnTo>
                    <a:lnTo>
                      <a:pt x="568" y="18"/>
                    </a:lnTo>
                    <a:lnTo>
                      <a:pt x="490" y="22"/>
                    </a:lnTo>
                    <a:lnTo>
                      <a:pt x="512" y="17"/>
                    </a:lnTo>
                    <a:lnTo>
                      <a:pt x="558" y="17"/>
                    </a:lnTo>
                    <a:lnTo>
                      <a:pt x="612" y="12"/>
                    </a:lnTo>
                    <a:lnTo>
                      <a:pt x="575" y="8"/>
                    </a:lnTo>
                    <a:lnTo>
                      <a:pt x="575" y="7"/>
                    </a:lnTo>
                    <a:lnTo>
                      <a:pt x="469" y="7"/>
                    </a:lnTo>
                    <a:lnTo>
                      <a:pt x="483" y="7"/>
                    </a:lnTo>
                    <a:lnTo>
                      <a:pt x="565" y="5"/>
                    </a:lnTo>
                    <a:lnTo>
                      <a:pt x="532" y="0"/>
                    </a:lnTo>
                    <a:lnTo>
                      <a:pt x="430" y="2"/>
                    </a:lnTo>
                    <a:lnTo>
                      <a:pt x="438" y="5"/>
                    </a:lnTo>
                    <a:lnTo>
                      <a:pt x="428" y="7"/>
                    </a:lnTo>
                    <a:lnTo>
                      <a:pt x="425" y="7"/>
                    </a:lnTo>
                    <a:lnTo>
                      <a:pt x="401" y="7"/>
                    </a:lnTo>
                    <a:lnTo>
                      <a:pt x="365" y="5"/>
                    </a:lnTo>
                    <a:lnTo>
                      <a:pt x="371" y="7"/>
                    </a:lnTo>
                    <a:lnTo>
                      <a:pt x="345" y="7"/>
                    </a:lnTo>
                    <a:lnTo>
                      <a:pt x="391" y="8"/>
                    </a:lnTo>
                    <a:lnTo>
                      <a:pt x="411" y="13"/>
                    </a:lnTo>
                    <a:lnTo>
                      <a:pt x="391" y="10"/>
                    </a:lnTo>
                    <a:lnTo>
                      <a:pt x="391" y="12"/>
                    </a:lnTo>
                    <a:lnTo>
                      <a:pt x="359" y="8"/>
                    </a:lnTo>
                    <a:lnTo>
                      <a:pt x="373" y="17"/>
                    </a:lnTo>
                    <a:lnTo>
                      <a:pt x="362" y="17"/>
                    </a:lnTo>
                    <a:lnTo>
                      <a:pt x="360" y="17"/>
                    </a:lnTo>
                    <a:lnTo>
                      <a:pt x="359" y="20"/>
                    </a:lnTo>
                    <a:lnTo>
                      <a:pt x="298" y="13"/>
                    </a:lnTo>
                    <a:lnTo>
                      <a:pt x="294" y="20"/>
                    </a:lnTo>
                    <a:lnTo>
                      <a:pt x="295" y="22"/>
                    </a:lnTo>
                    <a:lnTo>
                      <a:pt x="267" y="18"/>
                    </a:lnTo>
                    <a:lnTo>
                      <a:pt x="257" y="23"/>
                    </a:lnTo>
                    <a:lnTo>
                      <a:pt x="252" y="23"/>
                    </a:lnTo>
                    <a:lnTo>
                      <a:pt x="257" y="13"/>
                    </a:lnTo>
                    <a:lnTo>
                      <a:pt x="196" y="18"/>
                    </a:lnTo>
                    <a:lnTo>
                      <a:pt x="216" y="25"/>
                    </a:lnTo>
                    <a:lnTo>
                      <a:pt x="199" y="22"/>
                    </a:lnTo>
                    <a:lnTo>
                      <a:pt x="173" y="22"/>
                    </a:lnTo>
                    <a:lnTo>
                      <a:pt x="173" y="23"/>
                    </a:lnTo>
                    <a:lnTo>
                      <a:pt x="170" y="28"/>
                    </a:lnTo>
                    <a:lnTo>
                      <a:pt x="147" y="28"/>
                    </a:lnTo>
                    <a:lnTo>
                      <a:pt x="144" y="31"/>
                    </a:lnTo>
                    <a:lnTo>
                      <a:pt x="142" y="30"/>
                    </a:lnTo>
                    <a:lnTo>
                      <a:pt x="85" y="40"/>
                    </a:lnTo>
                    <a:lnTo>
                      <a:pt x="119" y="41"/>
                    </a:lnTo>
                    <a:lnTo>
                      <a:pt x="111" y="43"/>
                    </a:lnTo>
                    <a:lnTo>
                      <a:pt x="110" y="46"/>
                    </a:lnTo>
                    <a:lnTo>
                      <a:pt x="96" y="55"/>
                    </a:lnTo>
                    <a:lnTo>
                      <a:pt x="52" y="58"/>
                    </a:lnTo>
                    <a:lnTo>
                      <a:pt x="4" y="66"/>
                    </a:lnTo>
                    <a:lnTo>
                      <a:pt x="1" y="70"/>
                    </a:lnTo>
                    <a:lnTo>
                      <a:pt x="1" y="73"/>
                    </a:lnTo>
                    <a:lnTo>
                      <a:pt x="28" y="76"/>
                    </a:lnTo>
                    <a:lnTo>
                      <a:pt x="21" y="78"/>
                    </a:lnTo>
                    <a:lnTo>
                      <a:pt x="21" y="81"/>
                    </a:lnTo>
                    <a:lnTo>
                      <a:pt x="38" y="81"/>
                    </a:lnTo>
                    <a:lnTo>
                      <a:pt x="65" y="78"/>
                    </a:lnTo>
                    <a:lnTo>
                      <a:pt x="60" y="85"/>
                    </a:lnTo>
                    <a:lnTo>
                      <a:pt x="31" y="85"/>
                    </a:lnTo>
                    <a:lnTo>
                      <a:pt x="54" y="86"/>
                    </a:lnTo>
                    <a:lnTo>
                      <a:pt x="45" y="86"/>
                    </a:lnTo>
                    <a:lnTo>
                      <a:pt x="0" y="88"/>
                    </a:lnTo>
                    <a:lnTo>
                      <a:pt x="15" y="91"/>
                    </a:lnTo>
                    <a:lnTo>
                      <a:pt x="28" y="94"/>
                    </a:lnTo>
                    <a:lnTo>
                      <a:pt x="14" y="96"/>
                    </a:lnTo>
                    <a:lnTo>
                      <a:pt x="45" y="106"/>
                    </a:lnTo>
                    <a:lnTo>
                      <a:pt x="40" y="103"/>
                    </a:lnTo>
                    <a:lnTo>
                      <a:pt x="49" y="101"/>
                    </a:lnTo>
                    <a:lnTo>
                      <a:pt x="55" y="103"/>
                    </a:lnTo>
                    <a:lnTo>
                      <a:pt x="76" y="99"/>
                    </a:lnTo>
                    <a:lnTo>
                      <a:pt x="83" y="98"/>
                    </a:lnTo>
                    <a:lnTo>
                      <a:pt x="139" y="108"/>
                    </a:lnTo>
                    <a:lnTo>
                      <a:pt x="134" y="114"/>
                    </a:lnTo>
                    <a:lnTo>
                      <a:pt x="147" y="123"/>
                    </a:lnTo>
                    <a:lnTo>
                      <a:pt x="150" y="126"/>
                    </a:lnTo>
                    <a:lnTo>
                      <a:pt x="147" y="129"/>
                    </a:lnTo>
                    <a:lnTo>
                      <a:pt x="142" y="133"/>
                    </a:lnTo>
                    <a:lnTo>
                      <a:pt x="151" y="133"/>
                    </a:lnTo>
                    <a:lnTo>
                      <a:pt x="151" y="139"/>
                    </a:lnTo>
                    <a:lnTo>
                      <a:pt x="153" y="144"/>
                    </a:lnTo>
                    <a:lnTo>
                      <a:pt x="150" y="149"/>
                    </a:lnTo>
                    <a:lnTo>
                      <a:pt x="155" y="151"/>
                    </a:lnTo>
                    <a:lnTo>
                      <a:pt x="153" y="161"/>
                    </a:lnTo>
                    <a:lnTo>
                      <a:pt x="147" y="162"/>
                    </a:lnTo>
                    <a:lnTo>
                      <a:pt x="141" y="167"/>
                    </a:lnTo>
                    <a:lnTo>
                      <a:pt x="150" y="167"/>
                    </a:lnTo>
                    <a:lnTo>
                      <a:pt x="133" y="174"/>
                    </a:lnTo>
                    <a:lnTo>
                      <a:pt x="141" y="179"/>
                    </a:lnTo>
                    <a:lnTo>
                      <a:pt x="156" y="176"/>
                    </a:lnTo>
                    <a:lnTo>
                      <a:pt x="162" y="162"/>
                    </a:lnTo>
                    <a:lnTo>
                      <a:pt x="165" y="171"/>
                    </a:lnTo>
                    <a:lnTo>
                      <a:pt x="173" y="169"/>
                    </a:lnTo>
                    <a:lnTo>
                      <a:pt x="170" y="171"/>
                    </a:lnTo>
                    <a:lnTo>
                      <a:pt x="182" y="174"/>
                    </a:lnTo>
                    <a:lnTo>
                      <a:pt x="170" y="177"/>
                    </a:lnTo>
                    <a:lnTo>
                      <a:pt x="184" y="177"/>
                    </a:lnTo>
                    <a:lnTo>
                      <a:pt x="173" y="181"/>
                    </a:lnTo>
                    <a:lnTo>
                      <a:pt x="179" y="179"/>
                    </a:lnTo>
                    <a:lnTo>
                      <a:pt x="176" y="182"/>
                    </a:lnTo>
                    <a:lnTo>
                      <a:pt x="184" y="186"/>
                    </a:lnTo>
                    <a:lnTo>
                      <a:pt x="178" y="184"/>
                    </a:lnTo>
                    <a:lnTo>
                      <a:pt x="187" y="189"/>
                    </a:lnTo>
                    <a:lnTo>
                      <a:pt x="185" y="189"/>
                    </a:lnTo>
                    <a:lnTo>
                      <a:pt x="184" y="192"/>
                    </a:lnTo>
                    <a:lnTo>
                      <a:pt x="187" y="194"/>
                    </a:lnTo>
                    <a:lnTo>
                      <a:pt x="147" y="189"/>
                    </a:lnTo>
                    <a:lnTo>
                      <a:pt x="142" y="194"/>
                    </a:lnTo>
                    <a:lnTo>
                      <a:pt x="187" y="204"/>
                    </a:lnTo>
                    <a:lnTo>
                      <a:pt x="179" y="207"/>
                    </a:lnTo>
                    <a:lnTo>
                      <a:pt x="182" y="212"/>
                    </a:lnTo>
                    <a:lnTo>
                      <a:pt x="176" y="214"/>
                    </a:lnTo>
                    <a:lnTo>
                      <a:pt x="178" y="215"/>
                    </a:lnTo>
                    <a:lnTo>
                      <a:pt x="182" y="217"/>
                    </a:lnTo>
                    <a:lnTo>
                      <a:pt x="184" y="220"/>
                    </a:lnTo>
                    <a:lnTo>
                      <a:pt x="176" y="219"/>
                    </a:lnTo>
                    <a:lnTo>
                      <a:pt x="170" y="222"/>
                    </a:lnTo>
                    <a:lnTo>
                      <a:pt x="175" y="222"/>
                    </a:lnTo>
                    <a:lnTo>
                      <a:pt x="141" y="230"/>
                    </a:lnTo>
                    <a:lnTo>
                      <a:pt x="142" y="234"/>
                    </a:lnTo>
                    <a:lnTo>
                      <a:pt x="164" y="232"/>
                    </a:lnTo>
                    <a:lnTo>
                      <a:pt x="170" y="227"/>
                    </a:lnTo>
                    <a:lnTo>
                      <a:pt x="164" y="235"/>
                    </a:lnTo>
                    <a:lnTo>
                      <a:pt x="170" y="239"/>
                    </a:lnTo>
                    <a:lnTo>
                      <a:pt x="142" y="235"/>
                    </a:lnTo>
                    <a:lnTo>
                      <a:pt x="137" y="234"/>
                    </a:lnTo>
                    <a:lnTo>
                      <a:pt x="147" y="239"/>
                    </a:lnTo>
                    <a:lnTo>
                      <a:pt x="133" y="239"/>
                    </a:lnTo>
                    <a:lnTo>
                      <a:pt x="125" y="244"/>
                    </a:lnTo>
                    <a:lnTo>
                      <a:pt x="151" y="239"/>
                    </a:lnTo>
                    <a:lnTo>
                      <a:pt x="147" y="240"/>
                    </a:lnTo>
                    <a:lnTo>
                      <a:pt x="156" y="242"/>
                    </a:lnTo>
                    <a:lnTo>
                      <a:pt x="164" y="239"/>
                    </a:lnTo>
                    <a:lnTo>
                      <a:pt x="170" y="240"/>
                    </a:lnTo>
                    <a:lnTo>
                      <a:pt x="162" y="242"/>
                    </a:lnTo>
                    <a:lnTo>
                      <a:pt x="172" y="242"/>
                    </a:lnTo>
                    <a:lnTo>
                      <a:pt x="167" y="244"/>
                    </a:lnTo>
                    <a:lnTo>
                      <a:pt x="170" y="245"/>
                    </a:lnTo>
                    <a:lnTo>
                      <a:pt x="144" y="242"/>
                    </a:lnTo>
                    <a:lnTo>
                      <a:pt x="120" y="249"/>
                    </a:lnTo>
                    <a:lnTo>
                      <a:pt x="153" y="249"/>
                    </a:lnTo>
                    <a:lnTo>
                      <a:pt x="161" y="250"/>
                    </a:lnTo>
                    <a:lnTo>
                      <a:pt x="153" y="250"/>
                    </a:lnTo>
                    <a:lnTo>
                      <a:pt x="119" y="250"/>
                    </a:lnTo>
                    <a:lnTo>
                      <a:pt x="124" y="255"/>
                    </a:lnTo>
                    <a:lnTo>
                      <a:pt x="136" y="255"/>
                    </a:lnTo>
                    <a:lnTo>
                      <a:pt x="130" y="259"/>
                    </a:lnTo>
                    <a:lnTo>
                      <a:pt x="128" y="262"/>
                    </a:lnTo>
                    <a:lnTo>
                      <a:pt x="124" y="262"/>
                    </a:lnTo>
                    <a:lnTo>
                      <a:pt x="133" y="262"/>
                    </a:lnTo>
                    <a:lnTo>
                      <a:pt x="119" y="264"/>
                    </a:lnTo>
                    <a:lnTo>
                      <a:pt x="117" y="269"/>
                    </a:lnTo>
                    <a:lnTo>
                      <a:pt x="142" y="262"/>
                    </a:lnTo>
                    <a:lnTo>
                      <a:pt x="165" y="254"/>
                    </a:lnTo>
                    <a:lnTo>
                      <a:pt x="159" y="259"/>
                    </a:lnTo>
                    <a:lnTo>
                      <a:pt x="117" y="272"/>
                    </a:lnTo>
                    <a:lnTo>
                      <a:pt x="122" y="272"/>
                    </a:lnTo>
                    <a:lnTo>
                      <a:pt x="117" y="275"/>
                    </a:lnTo>
                    <a:lnTo>
                      <a:pt x="139" y="272"/>
                    </a:lnTo>
                    <a:lnTo>
                      <a:pt x="119" y="277"/>
                    </a:lnTo>
                    <a:lnTo>
                      <a:pt x="120" y="278"/>
                    </a:lnTo>
                    <a:lnTo>
                      <a:pt x="124" y="280"/>
                    </a:lnTo>
                    <a:lnTo>
                      <a:pt x="133" y="280"/>
                    </a:lnTo>
                    <a:lnTo>
                      <a:pt x="150" y="27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699" name="Freeform 429">
                <a:extLst>
                  <a:ext uri="{FF2B5EF4-FFF2-40B4-BE49-F238E27FC236}">
                    <a16:creationId xmlns:a16="http://schemas.microsoft.com/office/drawing/2014/main" id="{0DBC1001-5CF3-76B3-5269-F4EC294F79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" y="3029"/>
                <a:ext cx="16" cy="7"/>
              </a:xfrm>
              <a:custGeom>
                <a:avLst/>
                <a:gdLst>
                  <a:gd name="T0" fmla="*/ 16 w 35"/>
                  <a:gd name="T1" fmla="*/ 5 h 17"/>
                  <a:gd name="T2" fmla="*/ 4 w 35"/>
                  <a:gd name="T3" fmla="*/ 0 h 17"/>
                  <a:gd name="T4" fmla="*/ 0 w 35"/>
                  <a:gd name="T5" fmla="*/ 2 h 17"/>
                  <a:gd name="T6" fmla="*/ 1 w 35"/>
                  <a:gd name="T7" fmla="*/ 3 h 17"/>
                  <a:gd name="T8" fmla="*/ 0 w 35"/>
                  <a:gd name="T9" fmla="*/ 4 h 17"/>
                  <a:gd name="T10" fmla="*/ 2 w 35"/>
                  <a:gd name="T11" fmla="*/ 5 h 17"/>
                  <a:gd name="T12" fmla="*/ 5 w 35"/>
                  <a:gd name="T13" fmla="*/ 6 h 17"/>
                  <a:gd name="T14" fmla="*/ 2 w 35"/>
                  <a:gd name="T15" fmla="*/ 7 h 17"/>
                  <a:gd name="T16" fmla="*/ 16 w 35"/>
                  <a:gd name="T17" fmla="*/ 5 h 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5" h="17">
                    <a:moveTo>
                      <a:pt x="35" y="12"/>
                    </a:moveTo>
                    <a:lnTo>
                      <a:pt x="9" y="0"/>
                    </a:lnTo>
                    <a:lnTo>
                      <a:pt x="1" y="5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4" y="13"/>
                    </a:lnTo>
                    <a:lnTo>
                      <a:pt x="11" y="15"/>
                    </a:lnTo>
                    <a:lnTo>
                      <a:pt x="4" y="17"/>
                    </a:lnTo>
                    <a:lnTo>
                      <a:pt x="35" y="1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00" name="Freeform 430">
                <a:extLst>
                  <a:ext uri="{FF2B5EF4-FFF2-40B4-BE49-F238E27FC236}">
                    <a16:creationId xmlns:a16="http://schemas.microsoft.com/office/drawing/2014/main" id="{01EF119C-44CF-FC80-532D-F51F0E1097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30" y="3058"/>
                <a:ext cx="65" cy="25"/>
              </a:xfrm>
              <a:custGeom>
                <a:avLst/>
                <a:gdLst>
                  <a:gd name="T0" fmla="*/ 50 w 148"/>
                  <a:gd name="T1" fmla="*/ 0 h 56"/>
                  <a:gd name="T2" fmla="*/ 50 w 148"/>
                  <a:gd name="T3" fmla="*/ 2 h 56"/>
                  <a:gd name="T4" fmla="*/ 43 w 148"/>
                  <a:gd name="T5" fmla="*/ 4 h 56"/>
                  <a:gd name="T6" fmla="*/ 39 w 148"/>
                  <a:gd name="T7" fmla="*/ 4 h 56"/>
                  <a:gd name="T8" fmla="*/ 39 w 148"/>
                  <a:gd name="T9" fmla="*/ 6 h 56"/>
                  <a:gd name="T10" fmla="*/ 39 w 148"/>
                  <a:gd name="T11" fmla="*/ 5 h 56"/>
                  <a:gd name="T12" fmla="*/ 33 w 148"/>
                  <a:gd name="T13" fmla="*/ 4 h 56"/>
                  <a:gd name="T14" fmla="*/ 31 w 148"/>
                  <a:gd name="T15" fmla="*/ 6 h 56"/>
                  <a:gd name="T16" fmla="*/ 26 w 148"/>
                  <a:gd name="T17" fmla="*/ 4 h 56"/>
                  <a:gd name="T18" fmla="*/ 24 w 148"/>
                  <a:gd name="T19" fmla="*/ 7 h 56"/>
                  <a:gd name="T20" fmla="*/ 20 w 148"/>
                  <a:gd name="T21" fmla="*/ 9 h 56"/>
                  <a:gd name="T22" fmla="*/ 18 w 148"/>
                  <a:gd name="T23" fmla="*/ 6 h 56"/>
                  <a:gd name="T24" fmla="*/ 20 w 148"/>
                  <a:gd name="T25" fmla="*/ 6 h 56"/>
                  <a:gd name="T26" fmla="*/ 10 w 148"/>
                  <a:gd name="T27" fmla="*/ 0 h 56"/>
                  <a:gd name="T28" fmla="*/ 12 w 148"/>
                  <a:gd name="T29" fmla="*/ 2 h 56"/>
                  <a:gd name="T30" fmla="*/ 14 w 148"/>
                  <a:gd name="T31" fmla="*/ 5 h 56"/>
                  <a:gd name="T32" fmla="*/ 8 w 148"/>
                  <a:gd name="T33" fmla="*/ 4 h 56"/>
                  <a:gd name="T34" fmla="*/ 7 w 148"/>
                  <a:gd name="T35" fmla="*/ 4 h 56"/>
                  <a:gd name="T36" fmla="*/ 6 w 148"/>
                  <a:gd name="T37" fmla="*/ 5 h 56"/>
                  <a:gd name="T38" fmla="*/ 8 w 148"/>
                  <a:gd name="T39" fmla="*/ 6 h 56"/>
                  <a:gd name="T40" fmla="*/ 7 w 148"/>
                  <a:gd name="T41" fmla="*/ 6 h 56"/>
                  <a:gd name="T42" fmla="*/ 2 w 148"/>
                  <a:gd name="T43" fmla="*/ 6 h 56"/>
                  <a:gd name="T44" fmla="*/ 4 w 148"/>
                  <a:gd name="T45" fmla="*/ 7 h 56"/>
                  <a:gd name="T46" fmla="*/ 0 w 148"/>
                  <a:gd name="T47" fmla="*/ 7 h 56"/>
                  <a:gd name="T48" fmla="*/ 14 w 148"/>
                  <a:gd name="T49" fmla="*/ 8 h 56"/>
                  <a:gd name="T50" fmla="*/ 12 w 148"/>
                  <a:gd name="T51" fmla="*/ 10 h 56"/>
                  <a:gd name="T52" fmla="*/ 14 w 148"/>
                  <a:gd name="T53" fmla="*/ 12 h 56"/>
                  <a:gd name="T54" fmla="*/ 2 w 148"/>
                  <a:gd name="T55" fmla="*/ 13 h 56"/>
                  <a:gd name="T56" fmla="*/ 11 w 148"/>
                  <a:gd name="T57" fmla="*/ 15 h 56"/>
                  <a:gd name="T58" fmla="*/ 14 w 148"/>
                  <a:gd name="T59" fmla="*/ 16 h 56"/>
                  <a:gd name="T60" fmla="*/ 13 w 148"/>
                  <a:gd name="T61" fmla="*/ 17 h 56"/>
                  <a:gd name="T62" fmla="*/ 14 w 148"/>
                  <a:gd name="T63" fmla="*/ 17 h 56"/>
                  <a:gd name="T64" fmla="*/ 14 w 148"/>
                  <a:gd name="T65" fmla="*/ 18 h 56"/>
                  <a:gd name="T66" fmla="*/ 8 w 148"/>
                  <a:gd name="T67" fmla="*/ 21 h 56"/>
                  <a:gd name="T68" fmla="*/ 12 w 148"/>
                  <a:gd name="T69" fmla="*/ 22 h 56"/>
                  <a:gd name="T70" fmla="*/ 22 w 148"/>
                  <a:gd name="T71" fmla="*/ 23 h 56"/>
                  <a:gd name="T72" fmla="*/ 35 w 148"/>
                  <a:gd name="T73" fmla="*/ 25 h 56"/>
                  <a:gd name="T74" fmla="*/ 45 w 148"/>
                  <a:gd name="T75" fmla="*/ 21 h 56"/>
                  <a:gd name="T76" fmla="*/ 54 w 148"/>
                  <a:gd name="T77" fmla="*/ 18 h 56"/>
                  <a:gd name="T78" fmla="*/ 61 w 148"/>
                  <a:gd name="T79" fmla="*/ 15 h 56"/>
                  <a:gd name="T80" fmla="*/ 63 w 148"/>
                  <a:gd name="T81" fmla="*/ 13 h 56"/>
                  <a:gd name="T82" fmla="*/ 65 w 148"/>
                  <a:gd name="T83" fmla="*/ 12 h 56"/>
                  <a:gd name="T84" fmla="*/ 63 w 148"/>
                  <a:gd name="T85" fmla="*/ 10 h 56"/>
                  <a:gd name="T86" fmla="*/ 65 w 148"/>
                  <a:gd name="T87" fmla="*/ 9 h 56"/>
                  <a:gd name="T88" fmla="*/ 65 w 148"/>
                  <a:gd name="T89" fmla="*/ 8 h 56"/>
                  <a:gd name="T90" fmla="*/ 60 w 148"/>
                  <a:gd name="T91" fmla="*/ 8 h 56"/>
                  <a:gd name="T92" fmla="*/ 61 w 148"/>
                  <a:gd name="T93" fmla="*/ 6 h 56"/>
                  <a:gd name="T94" fmla="*/ 58 w 148"/>
                  <a:gd name="T95" fmla="*/ 6 h 56"/>
                  <a:gd name="T96" fmla="*/ 58 w 148"/>
                  <a:gd name="T97" fmla="*/ 4 h 56"/>
                  <a:gd name="T98" fmla="*/ 61 w 148"/>
                  <a:gd name="T99" fmla="*/ 1 h 56"/>
                  <a:gd name="T100" fmla="*/ 56 w 148"/>
                  <a:gd name="T101" fmla="*/ 2 h 56"/>
                  <a:gd name="T102" fmla="*/ 50 w 148"/>
                  <a:gd name="T103" fmla="*/ 0 h 5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48" h="56">
                    <a:moveTo>
                      <a:pt x="114" y="0"/>
                    </a:moveTo>
                    <a:lnTo>
                      <a:pt x="113" y="5"/>
                    </a:lnTo>
                    <a:lnTo>
                      <a:pt x="99" y="8"/>
                    </a:lnTo>
                    <a:lnTo>
                      <a:pt x="88" y="8"/>
                    </a:lnTo>
                    <a:lnTo>
                      <a:pt x="88" y="13"/>
                    </a:lnTo>
                    <a:lnTo>
                      <a:pt x="88" y="11"/>
                    </a:lnTo>
                    <a:lnTo>
                      <a:pt x="74" y="8"/>
                    </a:lnTo>
                    <a:lnTo>
                      <a:pt x="71" y="13"/>
                    </a:lnTo>
                    <a:lnTo>
                      <a:pt x="60" y="8"/>
                    </a:lnTo>
                    <a:lnTo>
                      <a:pt x="54" y="16"/>
                    </a:lnTo>
                    <a:lnTo>
                      <a:pt x="46" y="21"/>
                    </a:lnTo>
                    <a:lnTo>
                      <a:pt x="40" y="14"/>
                    </a:lnTo>
                    <a:lnTo>
                      <a:pt x="45" y="13"/>
                    </a:lnTo>
                    <a:lnTo>
                      <a:pt x="23" y="0"/>
                    </a:lnTo>
                    <a:lnTo>
                      <a:pt x="28" y="5"/>
                    </a:lnTo>
                    <a:lnTo>
                      <a:pt x="31" y="11"/>
                    </a:lnTo>
                    <a:lnTo>
                      <a:pt x="18" y="8"/>
                    </a:lnTo>
                    <a:lnTo>
                      <a:pt x="15" y="8"/>
                    </a:lnTo>
                    <a:lnTo>
                      <a:pt x="14" y="11"/>
                    </a:lnTo>
                    <a:lnTo>
                      <a:pt x="18" y="13"/>
                    </a:lnTo>
                    <a:lnTo>
                      <a:pt x="17" y="13"/>
                    </a:lnTo>
                    <a:lnTo>
                      <a:pt x="4" y="13"/>
                    </a:lnTo>
                    <a:lnTo>
                      <a:pt x="9" y="16"/>
                    </a:lnTo>
                    <a:lnTo>
                      <a:pt x="0" y="16"/>
                    </a:lnTo>
                    <a:lnTo>
                      <a:pt x="32" y="18"/>
                    </a:lnTo>
                    <a:lnTo>
                      <a:pt x="28" y="23"/>
                    </a:lnTo>
                    <a:lnTo>
                      <a:pt x="31" y="26"/>
                    </a:lnTo>
                    <a:lnTo>
                      <a:pt x="4" y="28"/>
                    </a:lnTo>
                    <a:lnTo>
                      <a:pt x="26" y="33"/>
                    </a:lnTo>
                    <a:lnTo>
                      <a:pt x="32" y="36"/>
                    </a:lnTo>
                    <a:lnTo>
                      <a:pt x="29" y="38"/>
                    </a:lnTo>
                    <a:lnTo>
                      <a:pt x="32" y="39"/>
                    </a:lnTo>
                    <a:lnTo>
                      <a:pt x="31" y="41"/>
                    </a:lnTo>
                    <a:lnTo>
                      <a:pt x="18" y="46"/>
                    </a:lnTo>
                    <a:lnTo>
                      <a:pt x="28" y="49"/>
                    </a:lnTo>
                    <a:lnTo>
                      <a:pt x="49" y="51"/>
                    </a:lnTo>
                    <a:lnTo>
                      <a:pt x="79" y="56"/>
                    </a:lnTo>
                    <a:lnTo>
                      <a:pt x="102" y="48"/>
                    </a:lnTo>
                    <a:lnTo>
                      <a:pt x="124" y="41"/>
                    </a:lnTo>
                    <a:lnTo>
                      <a:pt x="138" y="33"/>
                    </a:lnTo>
                    <a:lnTo>
                      <a:pt x="144" y="28"/>
                    </a:lnTo>
                    <a:lnTo>
                      <a:pt x="148" y="26"/>
                    </a:lnTo>
                    <a:lnTo>
                      <a:pt x="144" y="23"/>
                    </a:lnTo>
                    <a:lnTo>
                      <a:pt x="148" y="21"/>
                    </a:lnTo>
                    <a:lnTo>
                      <a:pt x="148" y="18"/>
                    </a:lnTo>
                    <a:lnTo>
                      <a:pt x="136" y="18"/>
                    </a:lnTo>
                    <a:lnTo>
                      <a:pt x="139" y="14"/>
                    </a:lnTo>
                    <a:lnTo>
                      <a:pt x="133" y="13"/>
                    </a:lnTo>
                    <a:lnTo>
                      <a:pt x="133" y="8"/>
                    </a:lnTo>
                    <a:lnTo>
                      <a:pt x="139" y="3"/>
                    </a:lnTo>
                    <a:lnTo>
                      <a:pt x="128" y="5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01" name="Freeform 431">
                <a:extLst>
                  <a:ext uri="{FF2B5EF4-FFF2-40B4-BE49-F238E27FC236}">
                    <a16:creationId xmlns:a16="http://schemas.microsoft.com/office/drawing/2014/main" id="{FE88C9ED-B9A7-63AD-1F27-CE61B531E6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07" y="3150"/>
                <a:ext cx="29" cy="33"/>
              </a:xfrm>
              <a:custGeom>
                <a:avLst/>
                <a:gdLst>
                  <a:gd name="T0" fmla="*/ 28 w 65"/>
                  <a:gd name="T1" fmla="*/ 24 h 75"/>
                  <a:gd name="T2" fmla="*/ 29 w 65"/>
                  <a:gd name="T3" fmla="*/ 18 h 75"/>
                  <a:gd name="T4" fmla="*/ 29 w 65"/>
                  <a:gd name="T5" fmla="*/ 11 h 75"/>
                  <a:gd name="T6" fmla="*/ 25 w 65"/>
                  <a:gd name="T7" fmla="*/ 8 h 75"/>
                  <a:gd name="T8" fmla="*/ 23 w 65"/>
                  <a:gd name="T9" fmla="*/ 9 h 75"/>
                  <a:gd name="T10" fmla="*/ 17 w 65"/>
                  <a:gd name="T11" fmla="*/ 8 h 75"/>
                  <a:gd name="T12" fmla="*/ 22 w 65"/>
                  <a:gd name="T13" fmla="*/ 2 h 75"/>
                  <a:gd name="T14" fmla="*/ 23 w 65"/>
                  <a:gd name="T15" fmla="*/ 0 h 75"/>
                  <a:gd name="T16" fmla="*/ 21 w 65"/>
                  <a:gd name="T17" fmla="*/ 2 h 75"/>
                  <a:gd name="T18" fmla="*/ 18 w 65"/>
                  <a:gd name="T19" fmla="*/ 2 h 75"/>
                  <a:gd name="T20" fmla="*/ 12 w 65"/>
                  <a:gd name="T21" fmla="*/ 4 h 75"/>
                  <a:gd name="T22" fmla="*/ 14 w 65"/>
                  <a:gd name="T23" fmla="*/ 6 h 75"/>
                  <a:gd name="T24" fmla="*/ 12 w 65"/>
                  <a:gd name="T25" fmla="*/ 8 h 75"/>
                  <a:gd name="T26" fmla="*/ 4 w 65"/>
                  <a:gd name="T27" fmla="*/ 10 h 75"/>
                  <a:gd name="T28" fmla="*/ 4 w 65"/>
                  <a:gd name="T29" fmla="*/ 12 h 75"/>
                  <a:gd name="T30" fmla="*/ 2 w 65"/>
                  <a:gd name="T31" fmla="*/ 15 h 75"/>
                  <a:gd name="T32" fmla="*/ 9 w 65"/>
                  <a:gd name="T33" fmla="*/ 18 h 75"/>
                  <a:gd name="T34" fmla="*/ 4 w 65"/>
                  <a:gd name="T35" fmla="*/ 24 h 75"/>
                  <a:gd name="T36" fmla="*/ 9 w 65"/>
                  <a:gd name="T37" fmla="*/ 23 h 75"/>
                  <a:gd name="T38" fmla="*/ 4 w 65"/>
                  <a:gd name="T39" fmla="*/ 26 h 75"/>
                  <a:gd name="T40" fmla="*/ 0 w 65"/>
                  <a:gd name="T41" fmla="*/ 27 h 75"/>
                  <a:gd name="T42" fmla="*/ 2 w 65"/>
                  <a:gd name="T43" fmla="*/ 28 h 75"/>
                  <a:gd name="T44" fmla="*/ 0 w 65"/>
                  <a:gd name="T45" fmla="*/ 29 h 75"/>
                  <a:gd name="T46" fmla="*/ 3 w 65"/>
                  <a:gd name="T47" fmla="*/ 31 h 75"/>
                  <a:gd name="T48" fmla="*/ 2 w 65"/>
                  <a:gd name="T49" fmla="*/ 32 h 75"/>
                  <a:gd name="T50" fmla="*/ 4 w 65"/>
                  <a:gd name="T51" fmla="*/ 32 h 75"/>
                  <a:gd name="T52" fmla="*/ 4 w 65"/>
                  <a:gd name="T53" fmla="*/ 33 h 75"/>
                  <a:gd name="T54" fmla="*/ 12 w 65"/>
                  <a:gd name="T55" fmla="*/ 32 h 75"/>
                  <a:gd name="T56" fmla="*/ 19 w 65"/>
                  <a:gd name="T57" fmla="*/ 29 h 75"/>
                  <a:gd name="T58" fmla="*/ 26 w 65"/>
                  <a:gd name="T59" fmla="*/ 27 h 75"/>
                  <a:gd name="T60" fmla="*/ 28 w 65"/>
                  <a:gd name="T61" fmla="*/ 24 h 75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65" h="75">
                    <a:moveTo>
                      <a:pt x="63" y="55"/>
                    </a:moveTo>
                    <a:lnTo>
                      <a:pt x="65" y="40"/>
                    </a:lnTo>
                    <a:lnTo>
                      <a:pt x="65" y="24"/>
                    </a:lnTo>
                    <a:lnTo>
                      <a:pt x="55" y="19"/>
                    </a:lnTo>
                    <a:lnTo>
                      <a:pt x="51" y="20"/>
                    </a:lnTo>
                    <a:lnTo>
                      <a:pt x="38" y="19"/>
                    </a:lnTo>
                    <a:lnTo>
                      <a:pt x="49" y="5"/>
                    </a:lnTo>
                    <a:lnTo>
                      <a:pt x="52" y="0"/>
                    </a:lnTo>
                    <a:lnTo>
                      <a:pt x="46" y="4"/>
                    </a:lnTo>
                    <a:lnTo>
                      <a:pt x="40" y="4"/>
                    </a:lnTo>
                    <a:lnTo>
                      <a:pt x="28" y="10"/>
                    </a:lnTo>
                    <a:lnTo>
                      <a:pt x="32" y="14"/>
                    </a:lnTo>
                    <a:lnTo>
                      <a:pt x="28" y="19"/>
                    </a:lnTo>
                    <a:lnTo>
                      <a:pt x="9" y="22"/>
                    </a:lnTo>
                    <a:lnTo>
                      <a:pt x="10" y="27"/>
                    </a:lnTo>
                    <a:lnTo>
                      <a:pt x="4" y="34"/>
                    </a:lnTo>
                    <a:lnTo>
                      <a:pt x="20" y="40"/>
                    </a:lnTo>
                    <a:lnTo>
                      <a:pt x="9" y="55"/>
                    </a:lnTo>
                    <a:lnTo>
                      <a:pt x="21" y="52"/>
                    </a:lnTo>
                    <a:lnTo>
                      <a:pt x="9" y="58"/>
                    </a:lnTo>
                    <a:lnTo>
                      <a:pt x="0" y="62"/>
                    </a:lnTo>
                    <a:lnTo>
                      <a:pt x="4" y="63"/>
                    </a:lnTo>
                    <a:lnTo>
                      <a:pt x="0" y="67"/>
                    </a:lnTo>
                    <a:lnTo>
                      <a:pt x="7" y="70"/>
                    </a:lnTo>
                    <a:lnTo>
                      <a:pt x="4" y="73"/>
                    </a:lnTo>
                    <a:lnTo>
                      <a:pt x="10" y="73"/>
                    </a:lnTo>
                    <a:lnTo>
                      <a:pt x="9" y="75"/>
                    </a:lnTo>
                    <a:lnTo>
                      <a:pt x="26" y="73"/>
                    </a:lnTo>
                    <a:lnTo>
                      <a:pt x="43" y="65"/>
                    </a:lnTo>
                    <a:lnTo>
                      <a:pt x="58" y="62"/>
                    </a:lnTo>
                    <a:lnTo>
                      <a:pt x="63" y="5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02" name="Freeform 432">
                <a:extLst>
                  <a:ext uri="{FF2B5EF4-FFF2-40B4-BE49-F238E27FC236}">
                    <a16:creationId xmlns:a16="http://schemas.microsoft.com/office/drawing/2014/main" id="{69D1D4CB-A446-A61C-4EBB-9EBC478D8E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39" y="3123"/>
                <a:ext cx="50" cy="72"/>
              </a:xfrm>
              <a:custGeom>
                <a:avLst/>
                <a:gdLst>
                  <a:gd name="T0" fmla="*/ 5 w 114"/>
                  <a:gd name="T1" fmla="*/ 21 h 164"/>
                  <a:gd name="T2" fmla="*/ 8 w 114"/>
                  <a:gd name="T3" fmla="*/ 22 h 164"/>
                  <a:gd name="T4" fmla="*/ 6 w 114"/>
                  <a:gd name="T5" fmla="*/ 29 h 164"/>
                  <a:gd name="T6" fmla="*/ 10 w 114"/>
                  <a:gd name="T7" fmla="*/ 31 h 164"/>
                  <a:gd name="T8" fmla="*/ 15 w 114"/>
                  <a:gd name="T9" fmla="*/ 33 h 164"/>
                  <a:gd name="T10" fmla="*/ 19 w 114"/>
                  <a:gd name="T11" fmla="*/ 44 h 164"/>
                  <a:gd name="T12" fmla="*/ 7 w 114"/>
                  <a:gd name="T13" fmla="*/ 47 h 164"/>
                  <a:gd name="T14" fmla="*/ 11 w 114"/>
                  <a:gd name="T15" fmla="*/ 51 h 164"/>
                  <a:gd name="T16" fmla="*/ 4 w 114"/>
                  <a:gd name="T17" fmla="*/ 58 h 164"/>
                  <a:gd name="T18" fmla="*/ 14 w 114"/>
                  <a:gd name="T19" fmla="*/ 60 h 164"/>
                  <a:gd name="T20" fmla="*/ 19 w 114"/>
                  <a:gd name="T21" fmla="*/ 61 h 164"/>
                  <a:gd name="T22" fmla="*/ 6 w 114"/>
                  <a:gd name="T23" fmla="*/ 67 h 164"/>
                  <a:gd name="T24" fmla="*/ 2 w 114"/>
                  <a:gd name="T25" fmla="*/ 72 h 164"/>
                  <a:gd name="T26" fmla="*/ 12 w 114"/>
                  <a:gd name="T27" fmla="*/ 70 h 164"/>
                  <a:gd name="T28" fmla="*/ 21 w 114"/>
                  <a:gd name="T29" fmla="*/ 68 h 164"/>
                  <a:gd name="T30" fmla="*/ 40 w 114"/>
                  <a:gd name="T31" fmla="*/ 67 h 164"/>
                  <a:gd name="T32" fmla="*/ 42 w 114"/>
                  <a:gd name="T33" fmla="*/ 60 h 164"/>
                  <a:gd name="T34" fmla="*/ 50 w 114"/>
                  <a:gd name="T35" fmla="*/ 52 h 164"/>
                  <a:gd name="T36" fmla="*/ 40 w 114"/>
                  <a:gd name="T37" fmla="*/ 49 h 164"/>
                  <a:gd name="T38" fmla="*/ 35 w 114"/>
                  <a:gd name="T39" fmla="*/ 41 h 164"/>
                  <a:gd name="T40" fmla="*/ 37 w 114"/>
                  <a:gd name="T41" fmla="*/ 39 h 164"/>
                  <a:gd name="T42" fmla="*/ 25 w 114"/>
                  <a:gd name="T43" fmla="*/ 22 h 164"/>
                  <a:gd name="T44" fmla="*/ 21 w 114"/>
                  <a:gd name="T45" fmla="*/ 20 h 164"/>
                  <a:gd name="T46" fmla="*/ 20 w 114"/>
                  <a:gd name="T47" fmla="*/ 18 h 164"/>
                  <a:gd name="T48" fmla="*/ 14 w 114"/>
                  <a:gd name="T49" fmla="*/ 8 h 164"/>
                  <a:gd name="T50" fmla="*/ 14 w 114"/>
                  <a:gd name="T51" fmla="*/ 7 h 164"/>
                  <a:gd name="T52" fmla="*/ 8 w 114"/>
                  <a:gd name="T53" fmla="*/ 0 h 164"/>
                  <a:gd name="T54" fmla="*/ 5 w 114"/>
                  <a:gd name="T55" fmla="*/ 5 h 164"/>
                  <a:gd name="T56" fmla="*/ 4 w 114"/>
                  <a:gd name="T57" fmla="*/ 9 h 164"/>
                  <a:gd name="T58" fmla="*/ 2 w 114"/>
                  <a:gd name="T59" fmla="*/ 11 h 164"/>
                  <a:gd name="T60" fmla="*/ 1 w 114"/>
                  <a:gd name="T61" fmla="*/ 16 h 164"/>
                  <a:gd name="T62" fmla="*/ 5 w 114"/>
                  <a:gd name="T63" fmla="*/ 15 h 164"/>
                  <a:gd name="T64" fmla="*/ 0 w 114"/>
                  <a:gd name="T65" fmla="*/ 28 h 16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4" h="164">
                    <a:moveTo>
                      <a:pt x="1" y="63"/>
                    </a:moveTo>
                    <a:lnTo>
                      <a:pt x="11" y="48"/>
                    </a:lnTo>
                    <a:lnTo>
                      <a:pt x="14" y="48"/>
                    </a:lnTo>
                    <a:lnTo>
                      <a:pt x="18" y="51"/>
                    </a:lnTo>
                    <a:lnTo>
                      <a:pt x="17" y="56"/>
                    </a:lnTo>
                    <a:lnTo>
                      <a:pt x="14" y="66"/>
                    </a:lnTo>
                    <a:lnTo>
                      <a:pt x="14" y="75"/>
                    </a:lnTo>
                    <a:lnTo>
                      <a:pt x="23" y="71"/>
                    </a:lnTo>
                    <a:lnTo>
                      <a:pt x="40" y="70"/>
                    </a:lnTo>
                    <a:lnTo>
                      <a:pt x="35" y="75"/>
                    </a:lnTo>
                    <a:lnTo>
                      <a:pt x="42" y="83"/>
                    </a:lnTo>
                    <a:lnTo>
                      <a:pt x="43" y="100"/>
                    </a:lnTo>
                    <a:lnTo>
                      <a:pt x="39" y="100"/>
                    </a:lnTo>
                    <a:lnTo>
                      <a:pt x="17" y="108"/>
                    </a:lnTo>
                    <a:lnTo>
                      <a:pt x="21" y="109"/>
                    </a:lnTo>
                    <a:lnTo>
                      <a:pt x="26" y="116"/>
                    </a:lnTo>
                    <a:lnTo>
                      <a:pt x="12" y="126"/>
                    </a:lnTo>
                    <a:lnTo>
                      <a:pt x="9" y="131"/>
                    </a:lnTo>
                    <a:lnTo>
                      <a:pt x="26" y="133"/>
                    </a:lnTo>
                    <a:lnTo>
                      <a:pt x="32" y="136"/>
                    </a:lnTo>
                    <a:lnTo>
                      <a:pt x="49" y="131"/>
                    </a:lnTo>
                    <a:lnTo>
                      <a:pt x="43" y="139"/>
                    </a:lnTo>
                    <a:lnTo>
                      <a:pt x="31" y="141"/>
                    </a:lnTo>
                    <a:lnTo>
                      <a:pt x="14" y="153"/>
                    </a:lnTo>
                    <a:lnTo>
                      <a:pt x="0" y="163"/>
                    </a:lnTo>
                    <a:lnTo>
                      <a:pt x="4" y="164"/>
                    </a:lnTo>
                    <a:lnTo>
                      <a:pt x="9" y="163"/>
                    </a:lnTo>
                    <a:lnTo>
                      <a:pt x="28" y="159"/>
                    </a:lnTo>
                    <a:lnTo>
                      <a:pt x="34" y="158"/>
                    </a:lnTo>
                    <a:lnTo>
                      <a:pt x="48" y="154"/>
                    </a:lnTo>
                    <a:lnTo>
                      <a:pt x="65" y="151"/>
                    </a:lnTo>
                    <a:lnTo>
                      <a:pt x="91" y="153"/>
                    </a:lnTo>
                    <a:lnTo>
                      <a:pt x="110" y="139"/>
                    </a:lnTo>
                    <a:lnTo>
                      <a:pt x="96" y="136"/>
                    </a:lnTo>
                    <a:lnTo>
                      <a:pt x="100" y="131"/>
                    </a:lnTo>
                    <a:lnTo>
                      <a:pt x="114" y="118"/>
                    </a:lnTo>
                    <a:lnTo>
                      <a:pt x="110" y="109"/>
                    </a:lnTo>
                    <a:lnTo>
                      <a:pt x="91" y="111"/>
                    </a:lnTo>
                    <a:lnTo>
                      <a:pt x="94" y="106"/>
                    </a:lnTo>
                    <a:lnTo>
                      <a:pt x="80" y="93"/>
                    </a:lnTo>
                    <a:lnTo>
                      <a:pt x="86" y="95"/>
                    </a:lnTo>
                    <a:lnTo>
                      <a:pt x="85" y="88"/>
                    </a:lnTo>
                    <a:lnTo>
                      <a:pt x="73" y="76"/>
                    </a:lnTo>
                    <a:lnTo>
                      <a:pt x="57" y="51"/>
                    </a:lnTo>
                    <a:lnTo>
                      <a:pt x="37" y="48"/>
                    </a:lnTo>
                    <a:lnTo>
                      <a:pt x="49" y="45"/>
                    </a:lnTo>
                    <a:lnTo>
                      <a:pt x="40" y="43"/>
                    </a:lnTo>
                    <a:lnTo>
                      <a:pt x="46" y="42"/>
                    </a:lnTo>
                    <a:lnTo>
                      <a:pt x="62" y="18"/>
                    </a:lnTo>
                    <a:lnTo>
                      <a:pt x="32" y="18"/>
                    </a:lnTo>
                    <a:lnTo>
                      <a:pt x="26" y="18"/>
                    </a:lnTo>
                    <a:lnTo>
                      <a:pt x="31" y="15"/>
                    </a:lnTo>
                    <a:lnTo>
                      <a:pt x="43" y="2"/>
                    </a:lnTo>
                    <a:lnTo>
                      <a:pt x="18" y="0"/>
                    </a:lnTo>
                    <a:lnTo>
                      <a:pt x="14" y="5"/>
                    </a:lnTo>
                    <a:lnTo>
                      <a:pt x="12" y="12"/>
                    </a:lnTo>
                    <a:lnTo>
                      <a:pt x="8" y="13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4" y="25"/>
                    </a:lnTo>
                    <a:lnTo>
                      <a:pt x="0" y="33"/>
                    </a:lnTo>
                    <a:lnTo>
                      <a:pt x="3" y="37"/>
                    </a:lnTo>
                    <a:lnTo>
                      <a:pt x="0" y="38"/>
                    </a:lnTo>
                    <a:lnTo>
                      <a:pt x="11" y="35"/>
                    </a:lnTo>
                    <a:lnTo>
                      <a:pt x="11" y="37"/>
                    </a:lnTo>
                    <a:lnTo>
                      <a:pt x="1" y="6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03" name="Freeform 433">
                <a:extLst>
                  <a:ext uri="{FF2B5EF4-FFF2-40B4-BE49-F238E27FC236}">
                    <a16:creationId xmlns:a16="http://schemas.microsoft.com/office/drawing/2014/main" id="{90322006-130A-26F6-0B46-E573FCD234A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25" y="3150"/>
                <a:ext cx="15" cy="11"/>
              </a:xfrm>
              <a:custGeom>
                <a:avLst/>
                <a:gdLst>
                  <a:gd name="T0" fmla="*/ 15 w 36"/>
                  <a:gd name="T1" fmla="*/ 8 h 25"/>
                  <a:gd name="T2" fmla="*/ 14 w 36"/>
                  <a:gd name="T3" fmla="*/ 5 h 25"/>
                  <a:gd name="T4" fmla="*/ 10 w 36"/>
                  <a:gd name="T5" fmla="*/ 0 h 25"/>
                  <a:gd name="T6" fmla="*/ 5 w 36"/>
                  <a:gd name="T7" fmla="*/ 2 h 25"/>
                  <a:gd name="T8" fmla="*/ 0 w 36"/>
                  <a:gd name="T9" fmla="*/ 9 h 25"/>
                  <a:gd name="T10" fmla="*/ 5 w 36"/>
                  <a:gd name="T11" fmla="*/ 10 h 25"/>
                  <a:gd name="T12" fmla="*/ 7 w 36"/>
                  <a:gd name="T13" fmla="*/ 9 h 25"/>
                  <a:gd name="T14" fmla="*/ 11 w 36"/>
                  <a:gd name="T15" fmla="*/ 11 h 25"/>
                  <a:gd name="T16" fmla="*/ 15 w 36"/>
                  <a:gd name="T17" fmla="*/ 8 h 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6" h="25">
                    <a:moveTo>
                      <a:pt x="36" y="19"/>
                    </a:moveTo>
                    <a:lnTo>
                      <a:pt x="34" y="12"/>
                    </a:lnTo>
                    <a:lnTo>
                      <a:pt x="25" y="0"/>
                    </a:lnTo>
                    <a:lnTo>
                      <a:pt x="11" y="5"/>
                    </a:lnTo>
                    <a:lnTo>
                      <a:pt x="0" y="20"/>
                    </a:lnTo>
                    <a:lnTo>
                      <a:pt x="13" y="22"/>
                    </a:lnTo>
                    <a:lnTo>
                      <a:pt x="17" y="20"/>
                    </a:lnTo>
                    <a:lnTo>
                      <a:pt x="27" y="25"/>
                    </a:lnTo>
                    <a:lnTo>
                      <a:pt x="36" y="1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04" name="Freeform 434">
                <a:extLst>
                  <a:ext uri="{FF2B5EF4-FFF2-40B4-BE49-F238E27FC236}">
                    <a16:creationId xmlns:a16="http://schemas.microsoft.com/office/drawing/2014/main" id="{DD7B600F-90EF-39A2-1708-C181717BC8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34" y="3131"/>
                <a:ext cx="6" cy="4"/>
              </a:xfrm>
              <a:custGeom>
                <a:avLst/>
                <a:gdLst>
                  <a:gd name="T0" fmla="*/ 4 w 15"/>
                  <a:gd name="T1" fmla="*/ 1 h 10"/>
                  <a:gd name="T2" fmla="*/ 2 w 15"/>
                  <a:gd name="T3" fmla="*/ 0 h 10"/>
                  <a:gd name="T4" fmla="*/ 0 w 15"/>
                  <a:gd name="T5" fmla="*/ 2 h 10"/>
                  <a:gd name="T6" fmla="*/ 6 w 15"/>
                  <a:gd name="T7" fmla="*/ 4 h 10"/>
                  <a:gd name="T8" fmla="*/ 6 w 15"/>
                  <a:gd name="T9" fmla="*/ 3 h 10"/>
                  <a:gd name="T10" fmla="*/ 4 w 15"/>
                  <a:gd name="T11" fmla="*/ 1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10">
                    <a:moveTo>
                      <a:pt x="9" y="2"/>
                    </a:moveTo>
                    <a:lnTo>
                      <a:pt x="5" y="0"/>
                    </a:lnTo>
                    <a:lnTo>
                      <a:pt x="0" y="5"/>
                    </a:lnTo>
                    <a:lnTo>
                      <a:pt x="14" y="10"/>
                    </a:lnTo>
                    <a:lnTo>
                      <a:pt x="15" y="7"/>
                    </a:lnTo>
                    <a:lnTo>
                      <a:pt x="9" y="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05" name="Freeform 435">
                <a:extLst>
                  <a:ext uri="{FF2B5EF4-FFF2-40B4-BE49-F238E27FC236}">
                    <a16:creationId xmlns:a16="http://schemas.microsoft.com/office/drawing/2014/main" id="{2D7CDA30-FCF2-9D71-58BD-C9F8888A68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37" y="3140"/>
                <a:ext cx="3" cy="3"/>
              </a:xfrm>
              <a:custGeom>
                <a:avLst/>
                <a:gdLst>
                  <a:gd name="T0" fmla="*/ 0 w 7"/>
                  <a:gd name="T1" fmla="*/ 3 h 5"/>
                  <a:gd name="T2" fmla="*/ 3 w 7"/>
                  <a:gd name="T3" fmla="*/ 1 h 5"/>
                  <a:gd name="T4" fmla="*/ 0 w 7"/>
                  <a:gd name="T5" fmla="*/ 0 h 5"/>
                  <a:gd name="T6" fmla="*/ 0 w 7"/>
                  <a:gd name="T7" fmla="*/ 3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1" y="5"/>
                    </a:moveTo>
                    <a:lnTo>
                      <a:pt x="7" y="2"/>
                    </a:lnTo>
                    <a:lnTo>
                      <a:pt x="0" y="0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06" name="Freeform 436">
                <a:extLst>
                  <a:ext uri="{FF2B5EF4-FFF2-40B4-BE49-F238E27FC236}">
                    <a16:creationId xmlns:a16="http://schemas.microsoft.com/office/drawing/2014/main" id="{88B50BD7-4F71-4F95-A18A-01309FFCC6B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47" y="3166"/>
                <a:ext cx="3" cy="3"/>
              </a:xfrm>
              <a:custGeom>
                <a:avLst/>
                <a:gdLst>
                  <a:gd name="T0" fmla="*/ 3 w 6"/>
                  <a:gd name="T1" fmla="*/ 2 h 7"/>
                  <a:gd name="T2" fmla="*/ 1 w 6"/>
                  <a:gd name="T3" fmla="*/ 0 h 7"/>
                  <a:gd name="T4" fmla="*/ 0 w 6"/>
                  <a:gd name="T5" fmla="*/ 3 h 7"/>
                  <a:gd name="T6" fmla="*/ 3 w 6"/>
                  <a:gd name="T7" fmla="*/ 2 h 7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6" y="5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07" name="Freeform 437">
                <a:extLst>
                  <a:ext uri="{FF2B5EF4-FFF2-40B4-BE49-F238E27FC236}">
                    <a16:creationId xmlns:a16="http://schemas.microsoft.com/office/drawing/2014/main" id="{D7DF6B35-D43B-6EC4-53FD-20AD92FEBE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88" y="3262"/>
                <a:ext cx="3" cy="0"/>
              </a:xfrm>
              <a:custGeom>
                <a:avLst/>
                <a:gdLst>
                  <a:gd name="T0" fmla="*/ 3 w 4"/>
                  <a:gd name="T1" fmla="*/ 0 h 1"/>
                  <a:gd name="T2" fmla="*/ 0 w 4"/>
                  <a:gd name="T3" fmla="*/ 0 h 1"/>
                  <a:gd name="T4" fmla="*/ 0 w 4"/>
                  <a:gd name="T5" fmla="*/ 0 h 1"/>
                  <a:gd name="T6" fmla="*/ 3 w 4"/>
                  <a:gd name="T7" fmla="*/ 1 h 1"/>
                  <a:gd name="T8" fmla="*/ 3 w 4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4" y="0"/>
                    </a:moveTo>
                    <a:lnTo>
                      <a:pt x="0" y="0"/>
                    </a:lnTo>
                    <a:lnTo>
                      <a:pt x="4" y="1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08" name="Freeform 438">
                <a:extLst>
                  <a:ext uri="{FF2B5EF4-FFF2-40B4-BE49-F238E27FC236}">
                    <a16:creationId xmlns:a16="http://schemas.microsoft.com/office/drawing/2014/main" id="{9285129F-5D6F-157C-16AB-959E25046AD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07" y="3266"/>
                <a:ext cx="24" cy="45"/>
              </a:xfrm>
              <a:custGeom>
                <a:avLst/>
                <a:gdLst>
                  <a:gd name="T0" fmla="*/ 10 w 54"/>
                  <a:gd name="T1" fmla="*/ 0 h 101"/>
                  <a:gd name="T2" fmla="*/ 6 w 54"/>
                  <a:gd name="T3" fmla="*/ 1 h 101"/>
                  <a:gd name="T4" fmla="*/ 6 w 54"/>
                  <a:gd name="T5" fmla="*/ 11 h 101"/>
                  <a:gd name="T6" fmla="*/ 4 w 54"/>
                  <a:gd name="T7" fmla="*/ 18 h 101"/>
                  <a:gd name="T8" fmla="*/ 1 w 54"/>
                  <a:gd name="T9" fmla="*/ 25 h 101"/>
                  <a:gd name="T10" fmla="*/ 0 w 54"/>
                  <a:gd name="T11" fmla="*/ 30 h 101"/>
                  <a:gd name="T12" fmla="*/ 3 w 54"/>
                  <a:gd name="T13" fmla="*/ 33 h 101"/>
                  <a:gd name="T14" fmla="*/ 4 w 54"/>
                  <a:gd name="T15" fmla="*/ 33 h 101"/>
                  <a:gd name="T16" fmla="*/ 4 w 54"/>
                  <a:gd name="T17" fmla="*/ 45 h 101"/>
                  <a:gd name="T18" fmla="*/ 15 w 54"/>
                  <a:gd name="T19" fmla="*/ 45 h 101"/>
                  <a:gd name="T20" fmla="*/ 14 w 54"/>
                  <a:gd name="T21" fmla="*/ 41 h 101"/>
                  <a:gd name="T22" fmla="*/ 18 w 54"/>
                  <a:gd name="T23" fmla="*/ 37 h 101"/>
                  <a:gd name="T24" fmla="*/ 16 w 54"/>
                  <a:gd name="T25" fmla="*/ 34 h 101"/>
                  <a:gd name="T26" fmla="*/ 18 w 54"/>
                  <a:gd name="T27" fmla="*/ 29 h 101"/>
                  <a:gd name="T28" fmla="*/ 15 w 54"/>
                  <a:gd name="T29" fmla="*/ 22 h 101"/>
                  <a:gd name="T30" fmla="*/ 18 w 54"/>
                  <a:gd name="T31" fmla="*/ 21 h 101"/>
                  <a:gd name="T32" fmla="*/ 20 w 54"/>
                  <a:gd name="T33" fmla="*/ 11 h 101"/>
                  <a:gd name="T34" fmla="*/ 24 w 54"/>
                  <a:gd name="T35" fmla="*/ 6 h 101"/>
                  <a:gd name="T36" fmla="*/ 23 w 54"/>
                  <a:gd name="T37" fmla="*/ 2 h 101"/>
                  <a:gd name="T38" fmla="*/ 14 w 54"/>
                  <a:gd name="T39" fmla="*/ 2 h 101"/>
                  <a:gd name="T40" fmla="*/ 10 w 54"/>
                  <a:gd name="T41" fmla="*/ 0 h 10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54" h="101">
                    <a:moveTo>
                      <a:pt x="23" y="0"/>
                    </a:moveTo>
                    <a:lnTo>
                      <a:pt x="14" y="2"/>
                    </a:lnTo>
                    <a:lnTo>
                      <a:pt x="14" y="25"/>
                    </a:lnTo>
                    <a:lnTo>
                      <a:pt x="9" y="40"/>
                    </a:lnTo>
                    <a:lnTo>
                      <a:pt x="3" y="55"/>
                    </a:lnTo>
                    <a:lnTo>
                      <a:pt x="0" y="68"/>
                    </a:lnTo>
                    <a:lnTo>
                      <a:pt x="7" y="73"/>
                    </a:lnTo>
                    <a:lnTo>
                      <a:pt x="10" y="73"/>
                    </a:lnTo>
                    <a:lnTo>
                      <a:pt x="9" y="101"/>
                    </a:lnTo>
                    <a:lnTo>
                      <a:pt x="34" y="100"/>
                    </a:lnTo>
                    <a:lnTo>
                      <a:pt x="32" y="93"/>
                    </a:lnTo>
                    <a:lnTo>
                      <a:pt x="40" y="82"/>
                    </a:lnTo>
                    <a:lnTo>
                      <a:pt x="37" y="77"/>
                    </a:lnTo>
                    <a:lnTo>
                      <a:pt x="40" y="65"/>
                    </a:lnTo>
                    <a:lnTo>
                      <a:pt x="34" y="50"/>
                    </a:lnTo>
                    <a:lnTo>
                      <a:pt x="40" y="48"/>
                    </a:lnTo>
                    <a:lnTo>
                      <a:pt x="45" y="24"/>
                    </a:lnTo>
                    <a:lnTo>
                      <a:pt x="54" y="14"/>
                    </a:lnTo>
                    <a:lnTo>
                      <a:pt x="51" y="4"/>
                    </a:lnTo>
                    <a:lnTo>
                      <a:pt x="31" y="4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09" name="Freeform 439">
                <a:extLst>
                  <a:ext uri="{FF2B5EF4-FFF2-40B4-BE49-F238E27FC236}">
                    <a16:creationId xmlns:a16="http://schemas.microsoft.com/office/drawing/2014/main" id="{75956A02-322B-7B59-B541-7EFA16D8A6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12" y="3251"/>
                <a:ext cx="90" cy="68"/>
              </a:xfrm>
              <a:custGeom>
                <a:avLst/>
                <a:gdLst>
                  <a:gd name="T0" fmla="*/ 19 w 203"/>
                  <a:gd name="T1" fmla="*/ 17 h 155"/>
                  <a:gd name="T2" fmla="*/ 9 w 203"/>
                  <a:gd name="T3" fmla="*/ 17 h 155"/>
                  <a:gd name="T4" fmla="*/ 6 w 203"/>
                  <a:gd name="T5" fmla="*/ 15 h 155"/>
                  <a:gd name="T6" fmla="*/ 2 w 203"/>
                  <a:gd name="T7" fmla="*/ 16 h 155"/>
                  <a:gd name="T8" fmla="*/ 2 w 203"/>
                  <a:gd name="T9" fmla="*/ 13 h 155"/>
                  <a:gd name="T10" fmla="*/ 1 w 203"/>
                  <a:gd name="T11" fmla="*/ 11 h 155"/>
                  <a:gd name="T12" fmla="*/ 1 w 203"/>
                  <a:gd name="T13" fmla="*/ 11 h 155"/>
                  <a:gd name="T14" fmla="*/ 0 w 203"/>
                  <a:gd name="T15" fmla="*/ 8 h 155"/>
                  <a:gd name="T16" fmla="*/ 0 w 203"/>
                  <a:gd name="T17" fmla="*/ 4 h 155"/>
                  <a:gd name="T18" fmla="*/ 11 w 203"/>
                  <a:gd name="T19" fmla="*/ 0 h 155"/>
                  <a:gd name="T20" fmla="*/ 20 w 203"/>
                  <a:gd name="T21" fmla="*/ 2 h 155"/>
                  <a:gd name="T22" fmla="*/ 28 w 203"/>
                  <a:gd name="T23" fmla="*/ 2 h 155"/>
                  <a:gd name="T24" fmla="*/ 36 w 203"/>
                  <a:gd name="T25" fmla="*/ 2 h 155"/>
                  <a:gd name="T26" fmla="*/ 45 w 203"/>
                  <a:gd name="T27" fmla="*/ 3 h 155"/>
                  <a:gd name="T28" fmla="*/ 54 w 203"/>
                  <a:gd name="T29" fmla="*/ 3 h 155"/>
                  <a:gd name="T30" fmla="*/ 57 w 203"/>
                  <a:gd name="T31" fmla="*/ 6 h 155"/>
                  <a:gd name="T32" fmla="*/ 77 w 203"/>
                  <a:gd name="T33" fmla="*/ 11 h 155"/>
                  <a:gd name="T34" fmla="*/ 77 w 203"/>
                  <a:gd name="T35" fmla="*/ 11 h 155"/>
                  <a:gd name="T36" fmla="*/ 79 w 203"/>
                  <a:gd name="T37" fmla="*/ 11 h 155"/>
                  <a:gd name="T38" fmla="*/ 90 w 203"/>
                  <a:gd name="T39" fmla="*/ 13 h 155"/>
                  <a:gd name="T40" fmla="*/ 88 w 203"/>
                  <a:gd name="T41" fmla="*/ 18 h 155"/>
                  <a:gd name="T42" fmla="*/ 81 w 203"/>
                  <a:gd name="T43" fmla="*/ 23 h 155"/>
                  <a:gd name="T44" fmla="*/ 72 w 203"/>
                  <a:gd name="T45" fmla="*/ 26 h 155"/>
                  <a:gd name="T46" fmla="*/ 68 w 203"/>
                  <a:gd name="T47" fmla="*/ 33 h 155"/>
                  <a:gd name="T48" fmla="*/ 64 w 203"/>
                  <a:gd name="T49" fmla="*/ 39 h 155"/>
                  <a:gd name="T50" fmla="*/ 67 w 203"/>
                  <a:gd name="T51" fmla="*/ 45 h 155"/>
                  <a:gd name="T52" fmla="*/ 61 w 203"/>
                  <a:gd name="T53" fmla="*/ 53 h 155"/>
                  <a:gd name="T54" fmla="*/ 59 w 203"/>
                  <a:gd name="T55" fmla="*/ 55 h 155"/>
                  <a:gd name="T56" fmla="*/ 53 w 203"/>
                  <a:gd name="T57" fmla="*/ 58 h 155"/>
                  <a:gd name="T58" fmla="*/ 49 w 203"/>
                  <a:gd name="T59" fmla="*/ 62 h 155"/>
                  <a:gd name="T60" fmla="*/ 41 w 203"/>
                  <a:gd name="T61" fmla="*/ 64 h 155"/>
                  <a:gd name="T62" fmla="*/ 32 w 203"/>
                  <a:gd name="T63" fmla="*/ 64 h 155"/>
                  <a:gd name="T64" fmla="*/ 26 w 203"/>
                  <a:gd name="T65" fmla="*/ 68 h 155"/>
                  <a:gd name="T66" fmla="*/ 20 w 203"/>
                  <a:gd name="T67" fmla="*/ 67 h 155"/>
                  <a:gd name="T68" fmla="*/ 19 w 203"/>
                  <a:gd name="T69" fmla="*/ 61 h 155"/>
                  <a:gd name="T70" fmla="*/ 13 w 203"/>
                  <a:gd name="T71" fmla="*/ 58 h 155"/>
                  <a:gd name="T72" fmla="*/ 11 w 203"/>
                  <a:gd name="T73" fmla="*/ 58 h 155"/>
                  <a:gd name="T74" fmla="*/ 10 w 203"/>
                  <a:gd name="T75" fmla="*/ 55 h 155"/>
                  <a:gd name="T76" fmla="*/ 13 w 203"/>
                  <a:gd name="T77" fmla="*/ 51 h 155"/>
                  <a:gd name="T78" fmla="*/ 12 w 203"/>
                  <a:gd name="T79" fmla="*/ 49 h 155"/>
                  <a:gd name="T80" fmla="*/ 13 w 203"/>
                  <a:gd name="T81" fmla="*/ 44 h 155"/>
                  <a:gd name="T82" fmla="*/ 11 w 203"/>
                  <a:gd name="T83" fmla="*/ 36 h 155"/>
                  <a:gd name="T84" fmla="*/ 13 w 203"/>
                  <a:gd name="T85" fmla="*/ 36 h 155"/>
                  <a:gd name="T86" fmla="*/ 16 w 203"/>
                  <a:gd name="T87" fmla="*/ 25 h 155"/>
                  <a:gd name="T88" fmla="*/ 20 w 203"/>
                  <a:gd name="T89" fmla="*/ 21 h 155"/>
                  <a:gd name="T90" fmla="*/ 19 w 203"/>
                  <a:gd name="T91" fmla="*/ 17 h 15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203" h="155">
                    <a:moveTo>
                      <a:pt x="42" y="39"/>
                    </a:moveTo>
                    <a:lnTo>
                      <a:pt x="21" y="39"/>
                    </a:lnTo>
                    <a:lnTo>
                      <a:pt x="14" y="35"/>
                    </a:lnTo>
                    <a:lnTo>
                      <a:pt x="5" y="37"/>
                    </a:lnTo>
                    <a:lnTo>
                      <a:pt x="5" y="30"/>
                    </a:lnTo>
                    <a:lnTo>
                      <a:pt x="2" y="25"/>
                    </a:lnTo>
                    <a:lnTo>
                      <a:pt x="2" y="24"/>
                    </a:lnTo>
                    <a:lnTo>
                      <a:pt x="0" y="19"/>
                    </a:lnTo>
                    <a:lnTo>
                      <a:pt x="0" y="10"/>
                    </a:lnTo>
                    <a:lnTo>
                      <a:pt x="25" y="0"/>
                    </a:lnTo>
                    <a:lnTo>
                      <a:pt x="45" y="5"/>
                    </a:lnTo>
                    <a:lnTo>
                      <a:pt x="64" y="5"/>
                    </a:lnTo>
                    <a:lnTo>
                      <a:pt x="82" y="5"/>
                    </a:lnTo>
                    <a:lnTo>
                      <a:pt x="101" y="7"/>
                    </a:lnTo>
                    <a:lnTo>
                      <a:pt x="121" y="7"/>
                    </a:lnTo>
                    <a:lnTo>
                      <a:pt x="129" y="14"/>
                    </a:lnTo>
                    <a:lnTo>
                      <a:pt x="174" y="24"/>
                    </a:lnTo>
                    <a:lnTo>
                      <a:pt x="174" y="25"/>
                    </a:lnTo>
                    <a:lnTo>
                      <a:pt x="178" y="25"/>
                    </a:lnTo>
                    <a:lnTo>
                      <a:pt x="203" y="29"/>
                    </a:lnTo>
                    <a:lnTo>
                      <a:pt x="199" y="42"/>
                    </a:lnTo>
                    <a:lnTo>
                      <a:pt x="182" y="52"/>
                    </a:lnTo>
                    <a:lnTo>
                      <a:pt x="163" y="60"/>
                    </a:lnTo>
                    <a:lnTo>
                      <a:pt x="154" y="75"/>
                    </a:lnTo>
                    <a:lnTo>
                      <a:pt x="144" y="90"/>
                    </a:lnTo>
                    <a:lnTo>
                      <a:pt x="151" y="103"/>
                    </a:lnTo>
                    <a:lnTo>
                      <a:pt x="137" y="121"/>
                    </a:lnTo>
                    <a:lnTo>
                      <a:pt x="134" y="125"/>
                    </a:lnTo>
                    <a:lnTo>
                      <a:pt x="120" y="133"/>
                    </a:lnTo>
                    <a:lnTo>
                      <a:pt x="110" y="141"/>
                    </a:lnTo>
                    <a:lnTo>
                      <a:pt x="92" y="145"/>
                    </a:lnTo>
                    <a:lnTo>
                      <a:pt x="72" y="146"/>
                    </a:lnTo>
                    <a:lnTo>
                      <a:pt x="59" y="155"/>
                    </a:lnTo>
                    <a:lnTo>
                      <a:pt x="45" y="153"/>
                    </a:lnTo>
                    <a:lnTo>
                      <a:pt x="42" y="140"/>
                    </a:lnTo>
                    <a:lnTo>
                      <a:pt x="30" y="133"/>
                    </a:lnTo>
                    <a:lnTo>
                      <a:pt x="24" y="133"/>
                    </a:lnTo>
                    <a:lnTo>
                      <a:pt x="22" y="126"/>
                    </a:lnTo>
                    <a:lnTo>
                      <a:pt x="30" y="117"/>
                    </a:lnTo>
                    <a:lnTo>
                      <a:pt x="28" y="112"/>
                    </a:lnTo>
                    <a:lnTo>
                      <a:pt x="30" y="100"/>
                    </a:lnTo>
                    <a:lnTo>
                      <a:pt x="24" y="83"/>
                    </a:lnTo>
                    <a:lnTo>
                      <a:pt x="30" y="83"/>
                    </a:lnTo>
                    <a:lnTo>
                      <a:pt x="36" y="57"/>
                    </a:lnTo>
                    <a:lnTo>
                      <a:pt x="45" y="49"/>
                    </a:lnTo>
                    <a:lnTo>
                      <a:pt x="42" y="3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10" name="Freeform 440">
                <a:extLst>
                  <a:ext uri="{FF2B5EF4-FFF2-40B4-BE49-F238E27FC236}">
                    <a16:creationId xmlns:a16="http://schemas.microsoft.com/office/drawing/2014/main" id="{A2A7075F-808F-D07F-CFE3-69B44AF0E7B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96" y="3286"/>
                <a:ext cx="8" cy="4"/>
              </a:xfrm>
              <a:custGeom>
                <a:avLst/>
                <a:gdLst>
                  <a:gd name="T0" fmla="*/ 8 w 17"/>
                  <a:gd name="T1" fmla="*/ 2 h 10"/>
                  <a:gd name="T2" fmla="*/ 4 w 17"/>
                  <a:gd name="T3" fmla="*/ 4 h 10"/>
                  <a:gd name="T4" fmla="*/ 0 w 17"/>
                  <a:gd name="T5" fmla="*/ 2 h 10"/>
                  <a:gd name="T6" fmla="*/ 6 w 17"/>
                  <a:gd name="T7" fmla="*/ 0 h 10"/>
                  <a:gd name="T8" fmla="*/ 8 w 17"/>
                  <a:gd name="T9" fmla="*/ 2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" h="10">
                    <a:moveTo>
                      <a:pt x="17" y="4"/>
                    </a:moveTo>
                    <a:lnTo>
                      <a:pt x="8" y="10"/>
                    </a:lnTo>
                    <a:lnTo>
                      <a:pt x="0" y="4"/>
                    </a:lnTo>
                    <a:lnTo>
                      <a:pt x="12" y="0"/>
                    </a:lnTo>
                    <a:lnTo>
                      <a:pt x="17" y="4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11" name="Freeform 441">
                <a:extLst>
                  <a:ext uri="{FF2B5EF4-FFF2-40B4-BE49-F238E27FC236}">
                    <a16:creationId xmlns:a16="http://schemas.microsoft.com/office/drawing/2014/main" id="{C737A262-8246-EB9B-8EBA-BE7F9A506DB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1" y="3202"/>
                <a:ext cx="437" cy="216"/>
              </a:xfrm>
              <a:custGeom>
                <a:avLst/>
                <a:gdLst>
                  <a:gd name="T0" fmla="*/ 432 w 987"/>
                  <a:gd name="T1" fmla="*/ 19 h 494"/>
                  <a:gd name="T2" fmla="*/ 409 w 987"/>
                  <a:gd name="T3" fmla="*/ 35 h 494"/>
                  <a:gd name="T4" fmla="*/ 362 w 987"/>
                  <a:gd name="T5" fmla="*/ 51 h 494"/>
                  <a:gd name="T6" fmla="*/ 328 w 987"/>
                  <a:gd name="T7" fmla="*/ 63 h 494"/>
                  <a:gd name="T8" fmla="*/ 323 w 987"/>
                  <a:gd name="T9" fmla="*/ 52 h 494"/>
                  <a:gd name="T10" fmla="*/ 318 w 987"/>
                  <a:gd name="T11" fmla="*/ 29 h 494"/>
                  <a:gd name="T12" fmla="*/ 294 w 987"/>
                  <a:gd name="T13" fmla="*/ 10 h 494"/>
                  <a:gd name="T14" fmla="*/ 254 w 987"/>
                  <a:gd name="T15" fmla="*/ 6 h 494"/>
                  <a:gd name="T16" fmla="*/ 215 w 987"/>
                  <a:gd name="T17" fmla="*/ 3 h 494"/>
                  <a:gd name="T18" fmla="*/ 154 w 987"/>
                  <a:gd name="T19" fmla="*/ 3 h 494"/>
                  <a:gd name="T20" fmla="*/ 94 w 987"/>
                  <a:gd name="T21" fmla="*/ 3 h 494"/>
                  <a:gd name="T22" fmla="*/ 51 w 987"/>
                  <a:gd name="T23" fmla="*/ 17 h 494"/>
                  <a:gd name="T24" fmla="*/ 46 w 987"/>
                  <a:gd name="T25" fmla="*/ 17 h 494"/>
                  <a:gd name="T26" fmla="*/ 38 w 987"/>
                  <a:gd name="T27" fmla="*/ 21 h 494"/>
                  <a:gd name="T28" fmla="*/ 33 w 987"/>
                  <a:gd name="T29" fmla="*/ 28 h 494"/>
                  <a:gd name="T30" fmla="*/ 13 w 987"/>
                  <a:gd name="T31" fmla="*/ 56 h 494"/>
                  <a:gd name="T32" fmla="*/ 0 w 987"/>
                  <a:gd name="T33" fmla="*/ 88 h 494"/>
                  <a:gd name="T34" fmla="*/ 4 w 987"/>
                  <a:gd name="T35" fmla="*/ 101 h 494"/>
                  <a:gd name="T36" fmla="*/ 4 w 987"/>
                  <a:gd name="T37" fmla="*/ 111 h 494"/>
                  <a:gd name="T38" fmla="*/ 8 w 987"/>
                  <a:gd name="T39" fmla="*/ 132 h 494"/>
                  <a:gd name="T40" fmla="*/ 43 w 987"/>
                  <a:gd name="T41" fmla="*/ 150 h 494"/>
                  <a:gd name="T42" fmla="*/ 77 w 987"/>
                  <a:gd name="T43" fmla="*/ 161 h 494"/>
                  <a:gd name="T44" fmla="*/ 112 w 987"/>
                  <a:gd name="T45" fmla="*/ 174 h 494"/>
                  <a:gd name="T46" fmla="*/ 140 w 987"/>
                  <a:gd name="T47" fmla="*/ 184 h 494"/>
                  <a:gd name="T48" fmla="*/ 161 w 987"/>
                  <a:gd name="T49" fmla="*/ 199 h 494"/>
                  <a:gd name="T50" fmla="*/ 165 w 987"/>
                  <a:gd name="T51" fmla="*/ 191 h 494"/>
                  <a:gd name="T52" fmla="*/ 174 w 987"/>
                  <a:gd name="T53" fmla="*/ 186 h 494"/>
                  <a:gd name="T54" fmla="*/ 189 w 987"/>
                  <a:gd name="T55" fmla="*/ 177 h 494"/>
                  <a:gd name="T56" fmla="*/ 208 w 987"/>
                  <a:gd name="T57" fmla="*/ 175 h 494"/>
                  <a:gd name="T58" fmla="*/ 222 w 987"/>
                  <a:gd name="T59" fmla="*/ 177 h 494"/>
                  <a:gd name="T60" fmla="*/ 229 w 987"/>
                  <a:gd name="T61" fmla="*/ 174 h 494"/>
                  <a:gd name="T62" fmla="*/ 240 w 987"/>
                  <a:gd name="T63" fmla="*/ 171 h 494"/>
                  <a:gd name="T64" fmla="*/ 248 w 987"/>
                  <a:gd name="T65" fmla="*/ 170 h 494"/>
                  <a:gd name="T66" fmla="*/ 260 w 987"/>
                  <a:gd name="T67" fmla="*/ 173 h 494"/>
                  <a:gd name="T68" fmla="*/ 279 w 987"/>
                  <a:gd name="T69" fmla="*/ 183 h 494"/>
                  <a:gd name="T70" fmla="*/ 278 w 987"/>
                  <a:gd name="T71" fmla="*/ 197 h 494"/>
                  <a:gd name="T72" fmla="*/ 282 w 987"/>
                  <a:gd name="T73" fmla="*/ 205 h 494"/>
                  <a:gd name="T74" fmla="*/ 296 w 987"/>
                  <a:gd name="T75" fmla="*/ 200 h 494"/>
                  <a:gd name="T76" fmla="*/ 293 w 987"/>
                  <a:gd name="T77" fmla="*/ 178 h 494"/>
                  <a:gd name="T78" fmla="*/ 299 w 987"/>
                  <a:gd name="T79" fmla="*/ 156 h 494"/>
                  <a:gd name="T80" fmla="*/ 315 w 987"/>
                  <a:gd name="T81" fmla="*/ 143 h 494"/>
                  <a:gd name="T82" fmla="*/ 335 w 987"/>
                  <a:gd name="T83" fmla="*/ 127 h 494"/>
                  <a:gd name="T84" fmla="*/ 347 w 987"/>
                  <a:gd name="T85" fmla="*/ 120 h 494"/>
                  <a:gd name="T86" fmla="*/ 346 w 987"/>
                  <a:gd name="T87" fmla="*/ 117 h 494"/>
                  <a:gd name="T88" fmla="*/ 343 w 987"/>
                  <a:gd name="T89" fmla="*/ 109 h 494"/>
                  <a:gd name="T90" fmla="*/ 343 w 987"/>
                  <a:gd name="T91" fmla="*/ 100 h 494"/>
                  <a:gd name="T92" fmla="*/ 344 w 987"/>
                  <a:gd name="T93" fmla="*/ 97 h 494"/>
                  <a:gd name="T94" fmla="*/ 356 w 987"/>
                  <a:gd name="T95" fmla="*/ 87 h 494"/>
                  <a:gd name="T96" fmla="*/ 352 w 987"/>
                  <a:gd name="T97" fmla="*/ 101 h 494"/>
                  <a:gd name="T98" fmla="*/ 358 w 987"/>
                  <a:gd name="T99" fmla="*/ 87 h 494"/>
                  <a:gd name="T100" fmla="*/ 370 w 987"/>
                  <a:gd name="T101" fmla="*/ 84 h 494"/>
                  <a:gd name="T102" fmla="*/ 377 w 987"/>
                  <a:gd name="T103" fmla="*/ 75 h 494"/>
                  <a:gd name="T104" fmla="*/ 399 w 987"/>
                  <a:gd name="T105" fmla="*/ 70 h 494"/>
                  <a:gd name="T106" fmla="*/ 402 w 987"/>
                  <a:gd name="T107" fmla="*/ 65 h 494"/>
                  <a:gd name="T108" fmla="*/ 415 w 987"/>
                  <a:gd name="T109" fmla="*/ 49 h 494"/>
                  <a:gd name="T110" fmla="*/ 437 w 987"/>
                  <a:gd name="T111" fmla="*/ 40 h 49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987" h="494">
                    <a:moveTo>
                      <a:pt x="986" y="91"/>
                    </a:moveTo>
                    <a:lnTo>
                      <a:pt x="984" y="85"/>
                    </a:lnTo>
                    <a:lnTo>
                      <a:pt x="980" y="73"/>
                    </a:lnTo>
                    <a:lnTo>
                      <a:pt x="987" y="47"/>
                    </a:lnTo>
                    <a:lnTo>
                      <a:pt x="975" y="43"/>
                    </a:lnTo>
                    <a:lnTo>
                      <a:pt x="969" y="43"/>
                    </a:lnTo>
                    <a:lnTo>
                      <a:pt x="966" y="40"/>
                    </a:lnTo>
                    <a:lnTo>
                      <a:pt x="952" y="55"/>
                    </a:lnTo>
                    <a:lnTo>
                      <a:pt x="938" y="68"/>
                    </a:lnTo>
                    <a:lnTo>
                      <a:pt x="924" y="81"/>
                    </a:lnTo>
                    <a:lnTo>
                      <a:pt x="913" y="88"/>
                    </a:lnTo>
                    <a:lnTo>
                      <a:pt x="881" y="90"/>
                    </a:lnTo>
                    <a:lnTo>
                      <a:pt x="850" y="91"/>
                    </a:lnTo>
                    <a:lnTo>
                      <a:pt x="833" y="105"/>
                    </a:lnTo>
                    <a:lnTo>
                      <a:pt x="817" y="116"/>
                    </a:lnTo>
                    <a:lnTo>
                      <a:pt x="797" y="118"/>
                    </a:lnTo>
                    <a:lnTo>
                      <a:pt x="775" y="119"/>
                    </a:lnTo>
                    <a:lnTo>
                      <a:pt x="775" y="133"/>
                    </a:lnTo>
                    <a:lnTo>
                      <a:pt x="757" y="138"/>
                    </a:lnTo>
                    <a:lnTo>
                      <a:pt x="740" y="144"/>
                    </a:lnTo>
                    <a:lnTo>
                      <a:pt x="723" y="151"/>
                    </a:lnTo>
                    <a:lnTo>
                      <a:pt x="706" y="156"/>
                    </a:lnTo>
                    <a:lnTo>
                      <a:pt x="701" y="148"/>
                    </a:lnTo>
                    <a:lnTo>
                      <a:pt x="720" y="129"/>
                    </a:lnTo>
                    <a:lnTo>
                      <a:pt x="729" y="118"/>
                    </a:lnTo>
                    <a:lnTo>
                      <a:pt x="732" y="100"/>
                    </a:lnTo>
                    <a:lnTo>
                      <a:pt x="737" y="81"/>
                    </a:lnTo>
                    <a:lnTo>
                      <a:pt x="723" y="73"/>
                    </a:lnTo>
                    <a:lnTo>
                      <a:pt x="726" y="66"/>
                    </a:lnTo>
                    <a:lnTo>
                      <a:pt x="718" y="66"/>
                    </a:lnTo>
                    <a:lnTo>
                      <a:pt x="717" y="58"/>
                    </a:lnTo>
                    <a:lnTo>
                      <a:pt x="703" y="50"/>
                    </a:lnTo>
                    <a:lnTo>
                      <a:pt x="689" y="40"/>
                    </a:lnTo>
                    <a:lnTo>
                      <a:pt x="675" y="32"/>
                    </a:lnTo>
                    <a:lnTo>
                      <a:pt x="664" y="23"/>
                    </a:lnTo>
                    <a:lnTo>
                      <a:pt x="641" y="28"/>
                    </a:lnTo>
                    <a:lnTo>
                      <a:pt x="627" y="23"/>
                    </a:lnTo>
                    <a:lnTo>
                      <a:pt x="615" y="25"/>
                    </a:lnTo>
                    <a:lnTo>
                      <a:pt x="590" y="17"/>
                    </a:lnTo>
                    <a:lnTo>
                      <a:pt x="573" y="13"/>
                    </a:lnTo>
                    <a:lnTo>
                      <a:pt x="573" y="0"/>
                    </a:lnTo>
                    <a:lnTo>
                      <a:pt x="567" y="8"/>
                    </a:lnTo>
                    <a:lnTo>
                      <a:pt x="539" y="8"/>
                    </a:lnTo>
                    <a:lnTo>
                      <a:pt x="512" y="8"/>
                    </a:lnTo>
                    <a:lnTo>
                      <a:pt x="486" y="8"/>
                    </a:lnTo>
                    <a:lnTo>
                      <a:pt x="458" y="8"/>
                    </a:lnTo>
                    <a:lnTo>
                      <a:pt x="432" y="8"/>
                    </a:lnTo>
                    <a:lnTo>
                      <a:pt x="404" y="8"/>
                    </a:lnTo>
                    <a:lnTo>
                      <a:pt x="376" y="8"/>
                    </a:lnTo>
                    <a:lnTo>
                      <a:pt x="348" y="8"/>
                    </a:lnTo>
                    <a:lnTo>
                      <a:pt x="321" y="8"/>
                    </a:lnTo>
                    <a:lnTo>
                      <a:pt x="294" y="8"/>
                    </a:lnTo>
                    <a:lnTo>
                      <a:pt x="266" y="8"/>
                    </a:lnTo>
                    <a:lnTo>
                      <a:pt x="239" y="8"/>
                    </a:lnTo>
                    <a:lnTo>
                      <a:pt x="212" y="8"/>
                    </a:lnTo>
                    <a:lnTo>
                      <a:pt x="184" y="8"/>
                    </a:lnTo>
                    <a:lnTo>
                      <a:pt x="157" y="8"/>
                    </a:lnTo>
                    <a:lnTo>
                      <a:pt x="129" y="8"/>
                    </a:lnTo>
                    <a:lnTo>
                      <a:pt x="124" y="25"/>
                    </a:lnTo>
                    <a:lnTo>
                      <a:pt x="116" y="40"/>
                    </a:lnTo>
                    <a:lnTo>
                      <a:pt x="104" y="47"/>
                    </a:lnTo>
                    <a:lnTo>
                      <a:pt x="105" y="42"/>
                    </a:lnTo>
                    <a:lnTo>
                      <a:pt x="107" y="45"/>
                    </a:lnTo>
                    <a:lnTo>
                      <a:pt x="119" y="30"/>
                    </a:lnTo>
                    <a:lnTo>
                      <a:pt x="105" y="40"/>
                    </a:lnTo>
                    <a:lnTo>
                      <a:pt x="104" y="42"/>
                    </a:lnTo>
                    <a:lnTo>
                      <a:pt x="113" y="33"/>
                    </a:lnTo>
                    <a:lnTo>
                      <a:pt x="118" y="25"/>
                    </a:lnTo>
                    <a:lnTo>
                      <a:pt x="93" y="22"/>
                    </a:lnTo>
                    <a:lnTo>
                      <a:pt x="85" y="47"/>
                    </a:lnTo>
                    <a:lnTo>
                      <a:pt x="82" y="50"/>
                    </a:lnTo>
                    <a:lnTo>
                      <a:pt x="82" y="55"/>
                    </a:lnTo>
                    <a:lnTo>
                      <a:pt x="81" y="58"/>
                    </a:lnTo>
                    <a:lnTo>
                      <a:pt x="79" y="55"/>
                    </a:lnTo>
                    <a:lnTo>
                      <a:pt x="75" y="63"/>
                    </a:lnTo>
                    <a:lnTo>
                      <a:pt x="87" y="65"/>
                    </a:lnTo>
                    <a:lnTo>
                      <a:pt x="76" y="65"/>
                    </a:lnTo>
                    <a:lnTo>
                      <a:pt x="68" y="75"/>
                    </a:lnTo>
                    <a:lnTo>
                      <a:pt x="50" y="101"/>
                    </a:lnTo>
                    <a:lnTo>
                      <a:pt x="30" y="129"/>
                    </a:lnTo>
                    <a:lnTo>
                      <a:pt x="23" y="146"/>
                    </a:lnTo>
                    <a:lnTo>
                      <a:pt x="17" y="161"/>
                    </a:lnTo>
                    <a:lnTo>
                      <a:pt x="2" y="181"/>
                    </a:lnTo>
                    <a:lnTo>
                      <a:pt x="2" y="187"/>
                    </a:lnTo>
                    <a:lnTo>
                      <a:pt x="0" y="202"/>
                    </a:lnTo>
                    <a:lnTo>
                      <a:pt x="2" y="217"/>
                    </a:lnTo>
                    <a:lnTo>
                      <a:pt x="3" y="229"/>
                    </a:lnTo>
                    <a:lnTo>
                      <a:pt x="2" y="227"/>
                    </a:lnTo>
                    <a:lnTo>
                      <a:pt x="2" y="231"/>
                    </a:lnTo>
                    <a:lnTo>
                      <a:pt x="10" y="231"/>
                    </a:lnTo>
                    <a:lnTo>
                      <a:pt x="14" y="231"/>
                    </a:lnTo>
                    <a:lnTo>
                      <a:pt x="11" y="240"/>
                    </a:lnTo>
                    <a:lnTo>
                      <a:pt x="6" y="237"/>
                    </a:lnTo>
                    <a:lnTo>
                      <a:pt x="3" y="240"/>
                    </a:lnTo>
                    <a:lnTo>
                      <a:pt x="10" y="254"/>
                    </a:lnTo>
                    <a:lnTo>
                      <a:pt x="3" y="259"/>
                    </a:lnTo>
                    <a:lnTo>
                      <a:pt x="8" y="272"/>
                    </a:lnTo>
                    <a:lnTo>
                      <a:pt x="13" y="282"/>
                    </a:lnTo>
                    <a:lnTo>
                      <a:pt x="10" y="300"/>
                    </a:lnTo>
                    <a:lnTo>
                      <a:pt x="19" y="303"/>
                    </a:lnTo>
                    <a:lnTo>
                      <a:pt x="37" y="312"/>
                    </a:lnTo>
                    <a:lnTo>
                      <a:pt x="53" y="327"/>
                    </a:lnTo>
                    <a:lnTo>
                      <a:pt x="53" y="343"/>
                    </a:lnTo>
                    <a:lnTo>
                      <a:pt x="76" y="342"/>
                    </a:lnTo>
                    <a:lnTo>
                      <a:pt x="96" y="342"/>
                    </a:lnTo>
                    <a:lnTo>
                      <a:pt x="110" y="348"/>
                    </a:lnTo>
                    <a:lnTo>
                      <a:pt x="124" y="355"/>
                    </a:lnTo>
                    <a:lnTo>
                      <a:pt x="136" y="361"/>
                    </a:lnTo>
                    <a:lnTo>
                      <a:pt x="150" y="368"/>
                    </a:lnTo>
                    <a:lnTo>
                      <a:pt x="175" y="368"/>
                    </a:lnTo>
                    <a:lnTo>
                      <a:pt x="200" y="368"/>
                    </a:lnTo>
                    <a:lnTo>
                      <a:pt x="205" y="360"/>
                    </a:lnTo>
                    <a:lnTo>
                      <a:pt x="232" y="360"/>
                    </a:lnTo>
                    <a:lnTo>
                      <a:pt x="248" y="378"/>
                    </a:lnTo>
                    <a:lnTo>
                      <a:pt x="252" y="398"/>
                    </a:lnTo>
                    <a:lnTo>
                      <a:pt x="262" y="406"/>
                    </a:lnTo>
                    <a:lnTo>
                      <a:pt x="274" y="416"/>
                    </a:lnTo>
                    <a:lnTo>
                      <a:pt x="287" y="401"/>
                    </a:lnTo>
                    <a:lnTo>
                      <a:pt x="310" y="403"/>
                    </a:lnTo>
                    <a:lnTo>
                      <a:pt x="317" y="421"/>
                    </a:lnTo>
                    <a:lnTo>
                      <a:pt x="327" y="441"/>
                    </a:lnTo>
                    <a:lnTo>
                      <a:pt x="331" y="464"/>
                    </a:lnTo>
                    <a:lnTo>
                      <a:pt x="344" y="474"/>
                    </a:lnTo>
                    <a:lnTo>
                      <a:pt x="364" y="478"/>
                    </a:lnTo>
                    <a:lnTo>
                      <a:pt x="364" y="454"/>
                    </a:lnTo>
                    <a:lnTo>
                      <a:pt x="362" y="453"/>
                    </a:lnTo>
                    <a:lnTo>
                      <a:pt x="361" y="448"/>
                    </a:lnTo>
                    <a:lnTo>
                      <a:pt x="367" y="449"/>
                    </a:lnTo>
                    <a:lnTo>
                      <a:pt x="369" y="439"/>
                    </a:lnTo>
                    <a:lnTo>
                      <a:pt x="373" y="436"/>
                    </a:lnTo>
                    <a:lnTo>
                      <a:pt x="384" y="429"/>
                    </a:lnTo>
                    <a:lnTo>
                      <a:pt x="387" y="426"/>
                    </a:lnTo>
                    <a:lnTo>
                      <a:pt x="387" y="424"/>
                    </a:lnTo>
                    <a:lnTo>
                      <a:pt x="398" y="424"/>
                    </a:lnTo>
                    <a:lnTo>
                      <a:pt x="392" y="426"/>
                    </a:lnTo>
                    <a:lnTo>
                      <a:pt x="401" y="421"/>
                    </a:lnTo>
                    <a:lnTo>
                      <a:pt x="399" y="421"/>
                    </a:lnTo>
                    <a:lnTo>
                      <a:pt x="420" y="406"/>
                    </a:lnTo>
                    <a:lnTo>
                      <a:pt x="421" y="401"/>
                    </a:lnTo>
                    <a:lnTo>
                      <a:pt x="427" y="405"/>
                    </a:lnTo>
                    <a:lnTo>
                      <a:pt x="424" y="406"/>
                    </a:lnTo>
                    <a:lnTo>
                      <a:pt x="438" y="398"/>
                    </a:lnTo>
                    <a:lnTo>
                      <a:pt x="441" y="398"/>
                    </a:lnTo>
                    <a:lnTo>
                      <a:pt x="455" y="401"/>
                    </a:lnTo>
                    <a:lnTo>
                      <a:pt x="469" y="401"/>
                    </a:lnTo>
                    <a:lnTo>
                      <a:pt x="478" y="401"/>
                    </a:lnTo>
                    <a:lnTo>
                      <a:pt x="483" y="408"/>
                    </a:lnTo>
                    <a:lnTo>
                      <a:pt x="494" y="411"/>
                    </a:lnTo>
                    <a:lnTo>
                      <a:pt x="503" y="411"/>
                    </a:lnTo>
                    <a:lnTo>
                      <a:pt x="502" y="405"/>
                    </a:lnTo>
                    <a:lnTo>
                      <a:pt x="517" y="413"/>
                    </a:lnTo>
                    <a:lnTo>
                      <a:pt x="512" y="416"/>
                    </a:lnTo>
                    <a:lnTo>
                      <a:pt x="519" y="411"/>
                    </a:lnTo>
                    <a:lnTo>
                      <a:pt x="512" y="401"/>
                    </a:lnTo>
                    <a:lnTo>
                      <a:pt x="517" y="398"/>
                    </a:lnTo>
                    <a:lnTo>
                      <a:pt x="516" y="396"/>
                    </a:lnTo>
                    <a:lnTo>
                      <a:pt x="512" y="393"/>
                    </a:lnTo>
                    <a:lnTo>
                      <a:pt x="502" y="391"/>
                    </a:lnTo>
                    <a:lnTo>
                      <a:pt x="512" y="390"/>
                    </a:lnTo>
                    <a:lnTo>
                      <a:pt x="543" y="390"/>
                    </a:lnTo>
                    <a:lnTo>
                      <a:pt x="546" y="380"/>
                    </a:lnTo>
                    <a:lnTo>
                      <a:pt x="545" y="390"/>
                    </a:lnTo>
                    <a:lnTo>
                      <a:pt x="553" y="390"/>
                    </a:lnTo>
                    <a:lnTo>
                      <a:pt x="563" y="385"/>
                    </a:lnTo>
                    <a:lnTo>
                      <a:pt x="559" y="388"/>
                    </a:lnTo>
                    <a:lnTo>
                      <a:pt x="576" y="388"/>
                    </a:lnTo>
                    <a:lnTo>
                      <a:pt x="570" y="388"/>
                    </a:lnTo>
                    <a:lnTo>
                      <a:pt x="580" y="390"/>
                    </a:lnTo>
                    <a:lnTo>
                      <a:pt x="585" y="390"/>
                    </a:lnTo>
                    <a:lnTo>
                      <a:pt x="587" y="395"/>
                    </a:lnTo>
                    <a:lnTo>
                      <a:pt x="584" y="391"/>
                    </a:lnTo>
                    <a:lnTo>
                      <a:pt x="587" y="401"/>
                    </a:lnTo>
                    <a:lnTo>
                      <a:pt x="613" y="393"/>
                    </a:lnTo>
                    <a:lnTo>
                      <a:pt x="621" y="406"/>
                    </a:lnTo>
                    <a:lnTo>
                      <a:pt x="630" y="419"/>
                    </a:lnTo>
                    <a:lnTo>
                      <a:pt x="624" y="444"/>
                    </a:lnTo>
                    <a:lnTo>
                      <a:pt x="624" y="439"/>
                    </a:lnTo>
                    <a:lnTo>
                      <a:pt x="627" y="443"/>
                    </a:lnTo>
                    <a:lnTo>
                      <a:pt x="628" y="438"/>
                    </a:lnTo>
                    <a:lnTo>
                      <a:pt x="627" y="451"/>
                    </a:lnTo>
                    <a:lnTo>
                      <a:pt x="632" y="458"/>
                    </a:lnTo>
                    <a:lnTo>
                      <a:pt x="635" y="459"/>
                    </a:lnTo>
                    <a:lnTo>
                      <a:pt x="635" y="466"/>
                    </a:lnTo>
                    <a:lnTo>
                      <a:pt x="638" y="463"/>
                    </a:lnTo>
                    <a:lnTo>
                      <a:pt x="636" y="468"/>
                    </a:lnTo>
                    <a:lnTo>
                      <a:pt x="638" y="481"/>
                    </a:lnTo>
                    <a:lnTo>
                      <a:pt x="645" y="494"/>
                    </a:lnTo>
                    <a:lnTo>
                      <a:pt x="658" y="491"/>
                    </a:lnTo>
                    <a:lnTo>
                      <a:pt x="664" y="474"/>
                    </a:lnTo>
                    <a:lnTo>
                      <a:pt x="669" y="458"/>
                    </a:lnTo>
                    <a:lnTo>
                      <a:pt x="666" y="439"/>
                    </a:lnTo>
                    <a:lnTo>
                      <a:pt x="664" y="424"/>
                    </a:lnTo>
                    <a:lnTo>
                      <a:pt x="666" y="439"/>
                    </a:lnTo>
                    <a:lnTo>
                      <a:pt x="664" y="421"/>
                    </a:lnTo>
                    <a:lnTo>
                      <a:pt x="662" y="406"/>
                    </a:lnTo>
                    <a:lnTo>
                      <a:pt x="662" y="390"/>
                    </a:lnTo>
                    <a:lnTo>
                      <a:pt x="661" y="373"/>
                    </a:lnTo>
                    <a:lnTo>
                      <a:pt x="666" y="370"/>
                    </a:lnTo>
                    <a:lnTo>
                      <a:pt x="666" y="366"/>
                    </a:lnTo>
                    <a:lnTo>
                      <a:pt x="675" y="357"/>
                    </a:lnTo>
                    <a:lnTo>
                      <a:pt x="680" y="348"/>
                    </a:lnTo>
                    <a:lnTo>
                      <a:pt x="680" y="347"/>
                    </a:lnTo>
                    <a:lnTo>
                      <a:pt x="686" y="345"/>
                    </a:lnTo>
                    <a:lnTo>
                      <a:pt x="710" y="328"/>
                    </a:lnTo>
                    <a:lnTo>
                      <a:pt x="712" y="327"/>
                    </a:lnTo>
                    <a:lnTo>
                      <a:pt x="729" y="315"/>
                    </a:lnTo>
                    <a:lnTo>
                      <a:pt x="738" y="313"/>
                    </a:lnTo>
                    <a:lnTo>
                      <a:pt x="749" y="300"/>
                    </a:lnTo>
                    <a:lnTo>
                      <a:pt x="771" y="292"/>
                    </a:lnTo>
                    <a:lnTo>
                      <a:pt x="757" y="290"/>
                    </a:lnTo>
                    <a:lnTo>
                      <a:pt x="766" y="290"/>
                    </a:lnTo>
                    <a:lnTo>
                      <a:pt x="768" y="285"/>
                    </a:lnTo>
                    <a:lnTo>
                      <a:pt x="760" y="282"/>
                    </a:lnTo>
                    <a:lnTo>
                      <a:pt x="780" y="282"/>
                    </a:lnTo>
                    <a:lnTo>
                      <a:pt x="783" y="274"/>
                    </a:lnTo>
                    <a:lnTo>
                      <a:pt x="780" y="277"/>
                    </a:lnTo>
                    <a:lnTo>
                      <a:pt x="774" y="272"/>
                    </a:lnTo>
                    <a:lnTo>
                      <a:pt x="769" y="269"/>
                    </a:lnTo>
                    <a:lnTo>
                      <a:pt x="775" y="270"/>
                    </a:lnTo>
                    <a:lnTo>
                      <a:pt x="782" y="267"/>
                    </a:lnTo>
                    <a:lnTo>
                      <a:pt x="785" y="270"/>
                    </a:lnTo>
                    <a:lnTo>
                      <a:pt x="786" y="257"/>
                    </a:lnTo>
                    <a:lnTo>
                      <a:pt x="789" y="277"/>
                    </a:lnTo>
                    <a:lnTo>
                      <a:pt x="782" y="254"/>
                    </a:lnTo>
                    <a:lnTo>
                      <a:pt x="775" y="250"/>
                    </a:lnTo>
                    <a:lnTo>
                      <a:pt x="771" y="244"/>
                    </a:lnTo>
                    <a:lnTo>
                      <a:pt x="782" y="250"/>
                    </a:lnTo>
                    <a:lnTo>
                      <a:pt x="777" y="240"/>
                    </a:lnTo>
                    <a:lnTo>
                      <a:pt x="785" y="244"/>
                    </a:lnTo>
                    <a:lnTo>
                      <a:pt x="775" y="229"/>
                    </a:lnTo>
                    <a:lnTo>
                      <a:pt x="786" y="235"/>
                    </a:lnTo>
                    <a:lnTo>
                      <a:pt x="777" y="222"/>
                    </a:lnTo>
                    <a:lnTo>
                      <a:pt x="774" y="222"/>
                    </a:lnTo>
                    <a:lnTo>
                      <a:pt x="780" y="214"/>
                    </a:lnTo>
                    <a:lnTo>
                      <a:pt x="777" y="222"/>
                    </a:lnTo>
                    <a:lnTo>
                      <a:pt x="789" y="227"/>
                    </a:lnTo>
                    <a:lnTo>
                      <a:pt x="785" y="217"/>
                    </a:lnTo>
                    <a:lnTo>
                      <a:pt x="789" y="224"/>
                    </a:lnTo>
                    <a:lnTo>
                      <a:pt x="791" y="206"/>
                    </a:lnTo>
                    <a:lnTo>
                      <a:pt x="803" y="199"/>
                    </a:lnTo>
                    <a:lnTo>
                      <a:pt x="796" y="212"/>
                    </a:lnTo>
                    <a:lnTo>
                      <a:pt x="794" y="217"/>
                    </a:lnTo>
                    <a:lnTo>
                      <a:pt x="791" y="224"/>
                    </a:lnTo>
                    <a:lnTo>
                      <a:pt x="797" y="227"/>
                    </a:lnTo>
                    <a:lnTo>
                      <a:pt x="794" y="232"/>
                    </a:lnTo>
                    <a:lnTo>
                      <a:pt x="796" y="235"/>
                    </a:lnTo>
                    <a:lnTo>
                      <a:pt x="792" y="239"/>
                    </a:lnTo>
                    <a:lnTo>
                      <a:pt x="789" y="245"/>
                    </a:lnTo>
                    <a:lnTo>
                      <a:pt x="811" y="222"/>
                    </a:lnTo>
                    <a:lnTo>
                      <a:pt x="808" y="199"/>
                    </a:lnTo>
                    <a:lnTo>
                      <a:pt x="817" y="192"/>
                    </a:lnTo>
                    <a:lnTo>
                      <a:pt x="809" y="197"/>
                    </a:lnTo>
                    <a:lnTo>
                      <a:pt x="817" y="206"/>
                    </a:lnTo>
                    <a:lnTo>
                      <a:pt x="816" y="212"/>
                    </a:lnTo>
                    <a:lnTo>
                      <a:pt x="836" y="192"/>
                    </a:lnTo>
                    <a:lnTo>
                      <a:pt x="836" y="194"/>
                    </a:lnTo>
                    <a:lnTo>
                      <a:pt x="840" y="181"/>
                    </a:lnTo>
                    <a:lnTo>
                      <a:pt x="847" y="166"/>
                    </a:lnTo>
                    <a:lnTo>
                      <a:pt x="845" y="173"/>
                    </a:lnTo>
                    <a:lnTo>
                      <a:pt x="851" y="171"/>
                    </a:lnTo>
                    <a:lnTo>
                      <a:pt x="870" y="166"/>
                    </a:lnTo>
                    <a:lnTo>
                      <a:pt x="888" y="161"/>
                    </a:lnTo>
                    <a:lnTo>
                      <a:pt x="891" y="156"/>
                    </a:lnTo>
                    <a:lnTo>
                      <a:pt x="895" y="156"/>
                    </a:lnTo>
                    <a:lnTo>
                      <a:pt x="901" y="161"/>
                    </a:lnTo>
                    <a:lnTo>
                      <a:pt x="905" y="161"/>
                    </a:lnTo>
                    <a:lnTo>
                      <a:pt x="918" y="156"/>
                    </a:lnTo>
                    <a:lnTo>
                      <a:pt x="915" y="148"/>
                    </a:lnTo>
                    <a:lnTo>
                      <a:pt x="918" y="153"/>
                    </a:lnTo>
                    <a:lnTo>
                      <a:pt x="907" y="149"/>
                    </a:lnTo>
                    <a:lnTo>
                      <a:pt x="909" y="138"/>
                    </a:lnTo>
                    <a:lnTo>
                      <a:pt x="910" y="134"/>
                    </a:lnTo>
                    <a:lnTo>
                      <a:pt x="929" y="114"/>
                    </a:lnTo>
                    <a:lnTo>
                      <a:pt x="935" y="111"/>
                    </a:lnTo>
                    <a:lnTo>
                      <a:pt x="938" y="111"/>
                    </a:lnTo>
                    <a:lnTo>
                      <a:pt x="952" y="98"/>
                    </a:lnTo>
                    <a:lnTo>
                      <a:pt x="952" y="101"/>
                    </a:lnTo>
                    <a:lnTo>
                      <a:pt x="956" y="100"/>
                    </a:lnTo>
                    <a:lnTo>
                      <a:pt x="966" y="101"/>
                    </a:lnTo>
                    <a:lnTo>
                      <a:pt x="986" y="9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12" name="Freeform 442">
                <a:extLst>
                  <a:ext uri="{FF2B5EF4-FFF2-40B4-BE49-F238E27FC236}">
                    <a16:creationId xmlns:a16="http://schemas.microsoft.com/office/drawing/2014/main" id="{99082C81-F182-1172-52E8-13916616E6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" y="3022"/>
                <a:ext cx="278" cy="132"/>
              </a:xfrm>
              <a:custGeom>
                <a:avLst/>
                <a:gdLst>
                  <a:gd name="T0" fmla="*/ 224 w 626"/>
                  <a:gd name="T1" fmla="*/ 115 h 301"/>
                  <a:gd name="T2" fmla="*/ 215 w 626"/>
                  <a:gd name="T3" fmla="*/ 93 h 301"/>
                  <a:gd name="T4" fmla="*/ 203 w 626"/>
                  <a:gd name="T5" fmla="*/ 88 h 301"/>
                  <a:gd name="T6" fmla="*/ 214 w 626"/>
                  <a:gd name="T7" fmla="*/ 68 h 301"/>
                  <a:gd name="T8" fmla="*/ 256 w 626"/>
                  <a:gd name="T9" fmla="*/ 30 h 301"/>
                  <a:gd name="T10" fmla="*/ 253 w 626"/>
                  <a:gd name="T11" fmla="*/ 7 h 301"/>
                  <a:gd name="T12" fmla="*/ 216 w 626"/>
                  <a:gd name="T13" fmla="*/ 4 h 301"/>
                  <a:gd name="T14" fmla="*/ 209 w 626"/>
                  <a:gd name="T15" fmla="*/ 0 h 301"/>
                  <a:gd name="T16" fmla="*/ 179 w 626"/>
                  <a:gd name="T17" fmla="*/ 5 h 301"/>
                  <a:gd name="T18" fmla="*/ 163 w 626"/>
                  <a:gd name="T19" fmla="*/ 7 h 301"/>
                  <a:gd name="T20" fmla="*/ 116 w 626"/>
                  <a:gd name="T21" fmla="*/ 21 h 301"/>
                  <a:gd name="T22" fmla="*/ 126 w 626"/>
                  <a:gd name="T23" fmla="*/ 36 h 301"/>
                  <a:gd name="T24" fmla="*/ 122 w 626"/>
                  <a:gd name="T25" fmla="*/ 38 h 301"/>
                  <a:gd name="T26" fmla="*/ 112 w 626"/>
                  <a:gd name="T27" fmla="*/ 36 h 301"/>
                  <a:gd name="T28" fmla="*/ 78 w 626"/>
                  <a:gd name="T29" fmla="*/ 46 h 301"/>
                  <a:gd name="T30" fmla="*/ 111 w 626"/>
                  <a:gd name="T31" fmla="*/ 49 h 301"/>
                  <a:gd name="T32" fmla="*/ 91 w 626"/>
                  <a:gd name="T33" fmla="*/ 61 h 301"/>
                  <a:gd name="T34" fmla="*/ 65 w 626"/>
                  <a:gd name="T35" fmla="*/ 68 h 301"/>
                  <a:gd name="T36" fmla="*/ 48 w 626"/>
                  <a:gd name="T37" fmla="*/ 74 h 301"/>
                  <a:gd name="T38" fmla="*/ 54 w 626"/>
                  <a:gd name="T39" fmla="*/ 76 h 301"/>
                  <a:gd name="T40" fmla="*/ 52 w 626"/>
                  <a:gd name="T41" fmla="*/ 82 h 301"/>
                  <a:gd name="T42" fmla="*/ 41 w 626"/>
                  <a:gd name="T43" fmla="*/ 85 h 301"/>
                  <a:gd name="T44" fmla="*/ 54 w 626"/>
                  <a:gd name="T45" fmla="*/ 89 h 301"/>
                  <a:gd name="T46" fmla="*/ 58 w 626"/>
                  <a:gd name="T47" fmla="*/ 97 h 301"/>
                  <a:gd name="T48" fmla="*/ 71 w 626"/>
                  <a:gd name="T49" fmla="*/ 97 h 301"/>
                  <a:gd name="T50" fmla="*/ 68 w 626"/>
                  <a:gd name="T51" fmla="*/ 104 h 301"/>
                  <a:gd name="T52" fmla="*/ 58 w 626"/>
                  <a:gd name="T53" fmla="*/ 110 h 301"/>
                  <a:gd name="T54" fmla="*/ 25 w 626"/>
                  <a:gd name="T55" fmla="*/ 123 h 301"/>
                  <a:gd name="T56" fmla="*/ 0 w 626"/>
                  <a:gd name="T57" fmla="*/ 132 h 301"/>
                  <a:gd name="T58" fmla="*/ 7 w 626"/>
                  <a:gd name="T59" fmla="*/ 130 h 301"/>
                  <a:gd name="T60" fmla="*/ 24 w 626"/>
                  <a:gd name="T61" fmla="*/ 125 h 301"/>
                  <a:gd name="T62" fmla="*/ 43 w 626"/>
                  <a:gd name="T63" fmla="*/ 122 h 301"/>
                  <a:gd name="T64" fmla="*/ 101 w 626"/>
                  <a:gd name="T65" fmla="*/ 98 h 301"/>
                  <a:gd name="T66" fmla="*/ 117 w 626"/>
                  <a:gd name="T67" fmla="*/ 87 h 301"/>
                  <a:gd name="T68" fmla="*/ 144 w 626"/>
                  <a:gd name="T69" fmla="*/ 79 h 301"/>
                  <a:gd name="T70" fmla="*/ 119 w 626"/>
                  <a:gd name="T71" fmla="*/ 92 h 301"/>
                  <a:gd name="T72" fmla="*/ 129 w 626"/>
                  <a:gd name="T73" fmla="*/ 91 h 301"/>
                  <a:gd name="T74" fmla="*/ 132 w 626"/>
                  <a:gd name="T75" fmla="*/ 89 h 301"/>
                  <a:gd name="T76" fmla="*/ 149 w 626"/>
                  <a:gd name="T77" fmla="*/ 86 h 301"/>
                  <a:gd name="T78" fmla="*/ 152 w 626"/>
                  <a:gd name="T79" fmla="*/ 81 h 301"/>
                  <a:gd name="T80" fmla="*/ 157 w 626"/>
                  <a:gd name="T81" fmla="*/ 81 h 301"/>
                  <a:gd name="T82" fmla="*/ 162 w 626"/>
                  <a:gd name="T83" fmla="*/ 83 h 301"/>
                  <a:gd name="T84" fmla="*/ 166 w 626"/>
                  <a:gd name="T85" fmla="*/ 86 h 301"/>
                  <a:gd name="T86" fmla="*/ 181 w 626"/>
                  <a:gd name="T87" fmla="*/ 88 h 301"/>
                  <a:gd name="T88" fmla="*/ 203 w 626"/>
                  <a:gd name="T89" fmla="*/ 91 h 301"/>
                  <a:gd name="T90" fmla="*/ 201 w 626"/>
                  <a:gd name="T91" fmla="*/ 97 h 301"/>
                  <a:gd name="T92" fmla="*/ 210 w 626"/>
                  <a:gd name="T93" fmla="*/ 98 h 301"/>
                  <a:gd name="T94" fmla="*/ 213 w 626"/>
                  <a:gd name="T95" fmla="*/ 102 h 301"/>
                  <a:gd name="T96" fmla="*/ 220 w 626"/>
                  <a:gd name="T97" fmla="*/ 104 h 301"/>
                  <a:gd name="T98" fmla="*/ 225 w 626"/>
                  <a:gd name="T99" fmla="*/ 106 h 301"/>
                  <a:gd name="T100" fmla="*/ 220 w 626"/>
                  <a:gd name="T101" fmla="*/ 111 h 301"/>
                  <a:gd name="T102" fmla="*/ 222 w 626"/>
                  <a:gd name="T103" fmla="*/ 121 h 301"/>
                  <a:gd name="T104" fmla="*/ 225 w 626"/>
                  <a:gd name="T105" fmla="*/ 121 h 301"/>
                  <a:gd name="T106" fmla="*/ 219 w 626"/>
                  <a:gd name="T107" fmla="*/ 130 h 30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626" h="301">
                    <a:moveTo>
                      <a:pt x="509" y="293"/>
                    </a:moveTo>
                    <a:lnTo>
                      <a:pt x="520" y="281"/>
                    </a:lnTo>
                    <a:lnTo>
                      <a:pt x="510" y="272"/>
                    </a:lnTo>
                    <a:lnTo>
                      <a:pt x="504" y="263"/>
                    </a:lnTo>
                    <a:lnTo>
                      <a:pt x="507" y="245"/>
                    </a:lnTo>
                    <a:lnTo>
                      <a:pt x="510" y="227"/>
                    </a:lnTo>
                    <a:lnTo>
                      <a:pt x="506" y="207"/>
                    </a:lnTo>
                    <a:lnTo>
                      <a:pt x="485" y="213"/>
                    </a:lnTo>
                    <a:lnTo>
                      <a:pt x="473" y="218"/>
                    </a:lnTo>
                    <a:lnTo>
                      <a:pt x="462" y="223"/>
                    </a:lnTo>
                    <a:lnTo>
                      <a:pt x="462" y="204"/>
                    </a:lnTo>
                    <a:lnTo>
                      <a:pt x="458" y="200"/>
                    </a:lnTo>
                    <a:lnTo>
                      <a:pt x="464" y="197"/>
                    </a:lnTo>
                    <a:lnTo>
                      <a:pt x="436" y="197"/>
                    </a:lnTo>
                    <a:lnTo>
                      <a:pt x="459" y="175"/>
                    </a:lnTo>
                    <a:lnTo>
                      <a:pt x="482" y="154"/>
                    </a:lnTo>
                    <a:lnTo>
                      <a:pt x="506" y="132"/>
                    </a:lnTo>
                    <a:lnTo>
                      <a:pt x="529" y="111"/>
                    </a:lnTo>
                    <a:lnTo>
                      <a:pt x="552" y="91"/>
                    </a:lnTo>
                    <a:lnTo>
                      <a:pt x="577" y="69"/>
                    </a:lnTo>
                    <a:lnTo>
                      <a:pt x="602" y="49"/>
                    </a:lnTo>
                    <a:lnTo>
                      <a:pt x="626" y="28"/>
                    </a:lnTo>
                    <a:lnTo>
                      <a:pt x="597" y="20"/>
                    </a:lnTo>
                    <a:lnTo>
                      <a:pt x="569" y="16"/>
                    </a:lnTo>
                    <a:lnTo>
                      <a:pt x="540" y="13"/>
                    </a:lnTo>
                    <a:lnTo>
                      <a:pt x="504" y="11"/>
                    </a:lnTo>
                    <a:lnTo>
                      <a:pt x="501" y="10"/>
                    </a:lnTo>
                    <a:lnTo>
                      <a:pt x="487" y="8"/>
                    </a:lnTo>
                    <a:lnTo>
                      <a:pt x="479" y="6"/>
                    </a:lnTo>
                    <a:lnTo>
                      <a:pt x="475" y="5"/>
                    </a:lnTo>
                    <a:lnTo>
                      <a:pt x="462" y="6"/>
                    </a:lnTo>
                    <a:lnTo>
                      <a:pt x="470" y="1"/>
                    </a:lnTo>
                    <a:lnTo>
                      <a:pt x="462" y="0"/>
                    </a:lnTo>
                    <a:lnTo>
                      <a:pt x="424" y="8"/>
                    </a:lnTo>
                    <a:lnTo>
                      <a:pt x="417" y="8"/>
                    </a:lnTo>
                    <a:lnTo>
                      <a:pt x="403" y="11"/>
                    </a:lnTo>
                    <a:lnTo>
                      <a:pt x="402" y="13"/>
                    </a:lnTo>
                    <a:lnTo>
                      <a:pt x="394" y="18"/>
                    </a:lnTo>
                    <a:lnTo>
                      <a:pt x="399" y="11"/>
                    </a:lnTo>
                    <a:lnTo>
                      <a:pt x="368" y="16"/>
                    </a:lnTo>
                    <a:lnTo>
                      <a:pt x="335" y="29"/>
                    </a:lnTo>
                    <a:lnTo>
                      <a:pt x="304" y="39"/>
                    </a:lnTo>
                    <a:lnTo>
                      <a:pt x="278" y="41"/>
                    </a:lnTo>
                    <a:lnTo>
                      <a:pt x="261" y="49"/>
                    </a:lnTo>
                    <a:lnTo>
                      <a:pt x="270" y="68"/>
                    </a:lnTo>
                    <a:lnTo>
                      <a:pt x="267" y="73"/>
                    </a:lnTo>
                    <a:lnTo>
                      <a:pt x="289" y="76"/>
                    </a:lnTo>
                    <a:lnTo>
                      <a:pt x="284" y="83"/>
                    </a:lnTo>
                    <a:lnTo>
                      <a:pt x="301" y="83"/>
                    </a:lnTo>
                    <a:lnTo>
                      <a:pt x="278" y="83"/>
                    </a:lnTo>
                    <a:lnTo>
                      <a:pt x="278" y="76"/>
                    </a:lnTo>
                    <a:lnTo>
                      <a:pt x="274" y="86"/>
                    </a:lnTo>
                    <a:lnTo>
                      <a:pt x="280" y="91"/>
                    </a:lnTo>
                    <a:lnTo>
                      <a:pt x="269" y="91"/>
                    </a:lnTo>
                    <a:lnTo>
                      <a:pt x="238" y="88"/>
                    </a:lnTo>
                    <a:lnTo>
                      <a:pt x="252" y="83"/>
                    </a:lnTo>
                    <a:lnTo>
                      <a:pt x="216" y="88"/>
                    </a:lnTo>
                    <a:lnTo>
                      <a:pt x="171" y="99"/>
                    </a:lnTo>
                    <a:lnTo>
                      <a:pt x="187" y="106"/>
                    </a:lnTo>
                    <a:lnTo>
                      <a:pt x="176" y="106"/>
                    </a:lnTo>
                    <a:lnTo>
                      <a:pt x="173" y="117"/>
                    </a:lnTo>
                    <a:lnTo>
                      <a:pt x="210" y="117"/>
                    </a:lnTo>
                    <a:lnTo>
                      <a:pt x="216" y="121"/>
                    </a:lnTo>
                    <a:lnTo>
                      <a:pt x="250" y="111"/>
                    </a:lnTo>
                    <a:lnTo>
                      <a:pt x="243" y="119"/>
                    </a:lnTo>
                    <a:lnTo>
                      <a:pt x="236" y="121"/>
                    </a:lnTo>
                    <a:lnTo>
                      <a:pt x="229" y="132"/>
                    </a:lnTo>
                    <a:lnTo>
                      <a:pt x="204" y="139"/>
                    </a:lnTo>
                    <a:lnTo>
                      <a:pt x="170" y="147"/>
                    </a:lnTo>
                    <a:lnTo>
                      <a:pt x="176" y="142"/>
                    </a:lnTo>
                    <a:lnTo>
                      <a:pt x="164" y="146"/>
                    </a:lnTo>
                    <a:lnTo>
                      <a:pt x="147" y="154"/>
                    </a:lnTo>
                    <a:lnTo>
                      <a:pt x="148" y="154"/>
                    </a:lnTo>
                    <a:lnTo>
                      <a:pt x="140" y="157"/>
                    </a:lnTo>
                    <a:lnTo>
                      <a:pt x="116" y="167"/>
                    </a:lnTo>
                    <a:lnTo>
                      <a:pt x="109" y="169"/>
                    </a:lnTo>
                    <a:lnTo>
                      <a:pt x="111" y="172"/>
                    </a:lnTo>
                    <a:lnTo>
                      <a:pt x="102" y="174"/>
                    </a:lnTo>
                    <a:lnTo>
                      <a:pt x="103" y="180"/>
                    </a:lnTo>
                    <a:lnTo>
                      <a:pt x="122" y="174"/>
                    </a:lnTo>
                    <a:lnTo>
                      <a:pt x="106" y="180"/>
                    </a:lnTo>
                    <a:lnTo>
                      <a:pt x="106" y="184"/>
                    </a:lnTo>
                    <a:lnTo>
                      <a:pt x="122" y="185"/>
                    </a:lnTo>
                    <a:lnTo>
                      <a:pt x="117" y="187"/>
                    </a:lnTo>
                    <a:lnTo>
                      <a:pt x="120" y="189"/>
                    </a:lnTo>
                    <a:lnTo>
                      <a:pt x="109" y="189"/>
                    </a:lnTo>
                    <a:lnTo>
                      <a:pt x="103" y="187"/>
                    </a:lnTo>
                    <a:lnTo>
                      <a:pt x="92" y="194"/>
                    </a:lnTo>
                    <a:lnTo>
                      <a:pt x="97" y="207"/>
                    </a:lnTo>
                    <a:lnTo>
                      <a:pt x="122" y="199"/>
                    </a:lnTo>
                    <a:lnTo>
                      <a:pt x="139" y="190"/>
                    </a:lnTo>
                    <a:lnTo>
                      <a:pt x="122" y="202"/>
                    </a:lnTo>
                    <a:lnTo>
                      <a:pt x="113" y="213"/>
                    </a:lnTo>
                    <a:lnTo>
                      <a:pt x="108" y="220"/>
                    </a:lnTo>
                    <a:lnTo>
                      <a:pt x="99" y="228"/>
                    </a:lnTo>
                    <a:lnTo>
                      <a:pt x="130" y="222"/>
                    </a:lnTo>
                    <a:lnTo>
                      <a:pt x="136" y="223"/>
                    </a:lnTo>
                    <a:lnTo>
                      <a:pt x="136" y="232"/>
                    </a:lnTo>
                    <a:lnTo>
                      <a:pt x="156" y="222"/>
                    </a:lnTo>
                    <a:lnTo>
                      <a:pt x="159" y="222"/>
                    </a:lnTo>
                    <a:lnTo>
                      <a:pt x="150" y="225"/>
                    </a:lnTo>
                    <a:lnTo>
                      <a:pt x="153" y="230"/>
                    </a:lnTo>
                    <a:lnTo>
                      <a:pt x="179" y="222"/>
                    </a:lnTo>
                    <a:lnTo>
                      <a:pt x="154" y="237"/>
                    </a:lnTo>
                    <a:lnTo>
                      <a:pt x="159" y="237"/>
                    </a:lnTo>
                    <a:lnTo>
                      <a:pt x="154" y="237"/>
                    </a:lnTo>
                    <a:lnTo>
                      <a:pt x="139" y="248"/>
                    </a:lnTo>
                    <a:lnTo>
                      <a:pt x="131" y="250"/>
                    </a:lnTo>
                    <a:lnTo>
                      <a:pt x="106" y="263"/>
                    </a:lnTo>
                    <a:lnTo>
                      <a:pt x="66" y="275"/>
                    </a:lnTo>
                    <a:lnTo>
                      <a:pt x="62" y="281"/>
                    </a:lnTo>
                    <a:lnTo>
                      <a:pt x="57" y="281"/>
                    </a:lnTo>
                    <a:lnTo>
                      <a:pt x="52" y="285"/>
                    </a:lnTo>
                    <a:lnTo>
                      <a:pt x="52" y="281"/>
                    </a:lnTo>
                    <a:lnTo>
                      <a:pt x="41" y="281"/>
                    </a:lnTo>
                    <a:lnTo>
                      <a:pt x="0" y="300"/>
                    </a:lnTo>
                    <a:lnTo>
                      <a:pt x="1" y="296"/>
                    </a:lnTo>
                    <a:lnTo>
                      <a:pt x="4" y="300"/>
                    </a:lnTo>
                    <a:lnTo>
                      <a:pt x="14" y="295"/>
                    </a:lnTo>
                    <a:lnTo>
                      <a:pt x="15" y="296"/>
                    </a:lnTo>
                    <a:lnTo>
                      <a:pt x="34" y="288"/>
                    </a:lnTo>
                    <a:lnTo>
                      <a:pt x="43" y="288"/>
                    </a:lnTo>
                    <a:lnTo>
                      <a:pt x="37" y="288"/>
                    </a:lnTo>
                    <a:lnTo>
                      <a:pt x="55" y="286"/>
                    </a:lnTo>
                    <a:lnTo>
                      <a:pt x="69" y="285"/>
                    </a:lnTo>
                    <a:lnTo>
                      <a:pt x="72" y="283"/>
                    </a:lnTo>
                    <a:lnTo>
                      <a:pt x="89" y="278"/>
                    </a:lnTo>
                    <a:lnTo>
                      <a:pt x="96" y="278"/>
                    </a:lnTo>
                    <a:lnTo>
                      <a:pt x="99" y="273"/>
                    </a:lnTo>
                    <a:lnTo>
                      <a:pt x="148" y="255"/>
                    </a:lnTo>
                    <a:lnTo>
                      <a:pt x="190" y="240"/>
                    </a:lnTo>
                    <a:lnTo>
                      <a:pt x="227" y="223"/>
                    </a:lnTo>
                    <a:lnTo>
                      <a:pt x="219" y="220"/>
                    </a:lnTo>
                    <a:lnTo>
                      <a:pt x="252" y="207"/>
                    </a:lnTo>
                    <a:lnTo>
                      <a:pt x="258" y="204"/>
                    </a:lnTo>
                    <a:lnTo>
                      <a:pt x="264" y="199"/>
                    </a:lnTo>
                    <a:lnTo>
                      <a:pt x="291" y="187"/>
                    </a:lnTo>
                    <a:lnTo>
                      <a:pt x="318" y="179"/>
                    </a:lnTo>
                    <a:lnTo>
                      <a:pt x="338" y="174"/>
                    </a:lnTo>
                    <a:lnTo>
                      <a:pt x="325" y="180"/>
                    </a:lnTo>
                    <a:lnTo>
                      <a:pt x="328" y="185"/>
                    </a:lnTo>
                    <a:lnTo>
                      <a:pt x="321" y="184"/>
                    </a:lnTo>
                    <a:lnTo>
                      <a:pt x="294" y="189"/>
                    </a:lnTo>
                    <a:lnTo>
                      <a:pt x="267" y="209"/>
                    </a:lnTo>
                    <a:lnTo>
                      <a:pt x="280" y="207"/>
                    </a:lnTo>
                    <a:lnTo>
                      <a:pt x="260" y="213"/>
                    </a:lnTo>
                    <a:lnTo>
                      <a:pt x="270" y="217"/>
                    </a:lnTo>
                    <a:lnTo>
                      <a:pt x="291" y="207"/>
                    </a:lnTo>
                    <a:lnTo>
                      <a:pt x="284" y="212"/>
                    </a:lnTo>
                    <a:lnTo>
                      <a:pt x="291" y="207"/>
                    </a:lnTo>
                    <a:lnTo>
                      <a:pt x="297" y="209"/>
                    </a:lnTo>
                    <a:lnTo>
                      <a:pt x="298" y="204"/>
                    </a:lnTo>
                    <a:lnTo>
                      <a:pt x="298" y="207"/>
                    </a:lnTo>
                    <a:lnTo>
                      <a:pt x="309" y="202"/>
                    </a:lnTo>
                    <a:lnTo>
                      <a:pt x="317" y="204"/>
                    </a:lnTo>
                    <a:lnTo>
                      <a:pt x="335" y="195"/>
                    </a:lnTo>
                    <a:lnTo>
                      <a:pt x="334" y="194"/>
                    </a:lnTo>
                    <a:lnTo>
                      <a:pt x="338" y="190"/>
                    </a:lnTo>
                    <a:lnTo>
                      <a:pt x="335" y="189"/>
                    </a:lnTo>
                    <a:lnTo>
                      <a:pt x="343" y="185"/>
                    </a:lnTo>
                    <a:lnTo>
                      <a:pt x="359" y="179"/>
                    </a:lnTo>
                    <a:lnTo>
                      <a:pt x="348" y="185"/>
                    </a:lnTo>
                    <a:lnTo>
                      <a:pt x="354" y="184"/>
                    </a:lnTo>
                    <a:lnTo>
                      <a:pt x="354" y="185"/>
                    </a:lnTo>
                    <a:lnTo>
                      <a:pt x="376" y="180"/>
                    </a:lnTo>
                    <a:lnTo>
                      <a:pt x="369" y="184"/>
                    </a:lnTo>
                    <a:lnTo>
                      <a:pt x="369" y="187"/>
                    </a:lnTo>
                    <a:lnTo>
                      <a:pt x="365" y="189"/>
                    </a:lnTo>
                    <a:lnTo>
                      <a:pt x="373" y="189"/>
                    </a:lnTo>
                    <a:lnTo>
                      <a:pt x="368" y="194"/>
                    </a:lnTo>
                    <a:lnTo>
                      <a:pt x="373" y="197"/>
                    </a:lnTo>
                    <a:lnTo>
                      <a:pt x="388" y="190"/>
                    </a:lnTo>
                    <a:lnTo>
                      <a:pt x="382" y="195"/>
                    </a:lnTo>
                    <a:lnTo>
                      <a:pt x="385" y="199"/>
                    </a:lnTo>
                    <a:lnTo>
                      <a:pt x="407" y="200"/>
                    </a:lnTo>
                    <a:lnTo>
                      <a:pt x="425" y="202"/>
                    </a:lnTo>
                    <a:lnTo>
                      <a:pt x="427" y="207"/>
                    </a:lnTo>
                    <a:lnTo>
                      <a:pt x="448" y="204"/>
                    </a:lnTo>
                    <a:lnTo>
                      <a:pt x="456" y="207"/>
                    </a:lnTo>
                    <a:lnTo>
                      <a:pt x="448" y="209"/>
                    </a:lnTo>
                    <a:lnTo>
                      <a:pt x="451" y="204"/>
                    </a:lnTo>
                    <a:lnTo>
                      <a:pt x="442" y="210"/>
                    </a:lnTo>
                    <a:lnTo>
                      <a:pt x="453" y="222"/>
                    </a:lnTo>
                    <a:lnTo>
                      <a:pt x="462" y="235"/>
                    </a:lnTo>
                    <a:lnTo>
                      <a:pt x="472" y="233"/>
                    </a:lnTo>
                    <a:lnTo>
                      <a:pt x="467" y="222"/>
                    </a:lnTo>
                    <a:lnTo>
                      <a:pt x="473" y="223"/>
                    </a:lnTo>
                    <a:lnTo>
                      <a:pt x="481" y="222"/>
                    </a:lnTo>
                    <a:lnTo>
                      <a:pt x="482" y="223"/>
                    </a:lnTo>
                    <a:lnTo>
                      <a:pt x="478" y="230"/>
                    </a:lnTo>
                    <a:lnTo>
                      <a:pt x="479" y="232"/>
                    </a:lnTo>
                    <a:lnTo>
                      <a:pt x="481" y="237"/>
                    </a:lnTo>
                    <a:lnTo>
                      <a:pt x="496" y="217"/>
                    </a:lnTo>
                    <a:lnTo>
                      <a:pt x="493" y="228"/>
                    </a:lnTo>
                    <a:lnTo>
                      <a:pt x="496" y="237"/>
                    </a:lnTo>
                    <a:lnTo>
                      <a:pt x="499" y="235"/>
                    </a:lnTo>
                    <a:lnTo>
                      <a:pt x="501" y="240"/>
                    </a:lnTo>
                    <a:lnTo>
                      <a:pt x="496" y="242"/>
                    </a:lnTo>
                    <a:lnTo>
                      <a:pt x="506" y="242"/>
                    </a:lnTo>
                    <a:lnTo>
                      <a:pt x="499" y="242"/>
                    </a:lnTo>
                    <a:lnTo>
                      <a:pt x="499" y="248"/>
                    </a:lnTo>
                    <a:lnTo>
                      <a:pt x="496" y="247"/>
                    </a:lnTo>
                    <a:lnTo>
                      <a:pt x="496" y="253"/>
                    </a:lnTo>
                    <a:lnTo>
                      <a:pt x="490" y="255"/>
                    </a:lnTo>
                    <a:lnTo>
                      <a:pt x="492" y="258"/>
                    </a:lnTo>
                    <a:lnTo>
                      <a:pt x="495" y="265"/>
                    </a:lnTo>
                    <a:lnTo>
                      <a:pt x="501" y="275"/>
                    </a:lnTo>
                    <a:lnTo>
                      <a:pt x="496" y="275"/>
                    </a:lnTo>
                    <a:lnTo>
                      <a:pt x="479" y="288"/>
                    </a:lnTo>
                    <a:lnTo>
                      <a:pt x="487" y="285"/>
                    </a:lnTo>
                    <a:lnTo>
                      <a:pt x="507" y="276"/>
                    </a:lnTo>
                    <a:lnTo>
                      <a:pt x="495" y="293"/>
                    </a:lnTo>
                    <a:lnTo>
                      <a:pt x="490" y="295"/>
                    </a:lnTo>
                    <a:lnTo>
                      <a:pt x="501" y="291"/>
                    </a:lnTo>
                    <a:lnTo>
                      <a:pt x="493" y="296"/>
                    </a:lnTo>
                    <a:lnTo>
                      <a:pt x="490" y="301"/>
                    </a:lnTo>
                    <a:lnTo>
                      <a:pt x="509" y="29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13" name="Freeform 443">
                <a:extLst>
                  <a:ext uri="{FF2B5EF4-FFF2-40B4-BE49-F238E27FC236}">
                    <a16:creationId xmlns:a16="http://schemas.microsoft.com/office/drawing/2014/main" id="{CCE3635C-5BF1-6283-7FA0-E8ADE4E4E4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" y="3128"/>
                <a:ext cx="18" cy="10"/>
              </a:xfrm>
              <a:custGeom>
                <a:avLst/>
                <a:gdLst>
                  <a:gd name="T0" fmla="*/ 18 w 43"/>
                  <a:gd name="T1" fmla="*/ 3 h 25"/>
                  <a:gd name="T2" fmla="*/ 17 w 43"/>
                  <a:gd name="T3" fmla="*/ 2 h 25"/>
                  <a:gd name="T4" fmla="*/ 18 w 43"/>
                  <a:gd name="T5" fmla="*/ 1 h 25"/>
                  <a:gd name="T6" fmla="*/ 16 w 43"/>
                  <a:gd name="T7" fmla="*/ 1 h 25"/>
                  <a:gd name="T8" fmla="*/ 14 w 43"/>
                  <a:gd name="T9" fmla="*/ 0 h 25"/>
                  <a:gd name="T10" fmla="*/ 14 w 43"/>
                  <a:gd name="T11" fmla="*/ 2 h 25"/>
                  <a:gd name="T12" fmla="*/ 11 w 43"/>
                  <a:gd name="T13" fmla="*/ 2 h 25"/>
                  <a:gd name="T14" fmla="*/ 8 w 43"/>
                  <a:gd name="T15" fmla="*/ 2 h 25"/>
                  <a:gd name="T16" fmla="*/ 6 w 43"/>
                  <a:gd name="T17" fmla="*/ 5 h 25"/>
                  <a:gd name="T18" fmla="*/ 6 w 43"/>
                  <a:gd name="T19" fmla="*/ 3 h 25"/>
                  <a:gd name="T20" fmla="*/ 1 w 43"/>
                  <a:gd name="T21" fmla="*/ 5 h 25"/>
                  <a:gd name="T22" fmla="*/ 1 w 43"/>
                  <a:gd name="T23" fmla="*/ 9 h 25"/>
                  <a:gd name="T24" fmla="*/ 1 w 43"/>
                  <a:gd name="T25" fmla="*/ 7 h 25"/>
                  <a:gd name="T26" fmla="*/ 3 w 43"/>
                  <a:gd name="T27" fmla="*/ 7 h 25"/>
                  <a:gd name="T28" fmla="*/ 0 w 43"/>
                  <a:gd name="T29" fmla="*/ 10 h 25"/>
                  <a:gd name="T30" fmla="*/ 4 w 43"/>
                  <a:gd name="T31" fmla="*/ 7 h 25"/>
                  <a:gd name="T32" fmla="*/ 12 w 43"/>
                  <a:gd name="T33" fmla="*/ 5 h 25"/>
                  <a:gd name="T34" fmla="*/ 13 w 43"/>
                  <a:gd name="T35" fmla="*/ 4 h 25"/>
                  <a:gd name="T36" fmla="*/ 18 w 43"/>
                  <a:gd name="T37" fmla="*/ 3 h 2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3" h="25">
                    <a:moveTo>
                      <a:pt x="43" y="8"/>
                    </a:moveTo>
                    <a:lnTo>
                      <a:pt x="40" y="5"/>
                    </a:lnTo>
                    <a:lnTo>
                      <a:pt x="42" y="3"/>
                    </a:lnTo>
                    <a:lnTo>
                      <a:pt x="39" y="2"/>
                    </a:lnTo>
                    <a:lnTo>
                      <a:pt x="34" y="0"/>
                    </a:lnTo>
                    <a:lnTo>
                      <a:pt x="33" y="5"/>
                    </a:lnTo>
                    <a:lnTo>
                      <a:pt x="26" y="5"/>
                    </a:lnTo>
                    <a:lnTo>
                      <a:pt x="20" y="5"/>
                    </a:lnTo>
                    <a:lnTo>
                      <a:pt x="14" y="13"/>
                    </a:lnTo>
                    <a:lnTo>
                      <a:pt x="14" y="8"/>
                    </a:lnTo>
                    <a:lnTo>
                      <a:pt x="2" y="13"/>
                    </a:lnTo>
                    <a:lnTo>
                      <a:pt x="2" y="22"/>
                    </a:lnTo>
                    <a:lnTo>
                      <a:pt x="2" y="17"/>
                    </a:lnTo>
                    <a:lnTo>
                      <a:pt x="8" y="18"/>
                    </a:lnTo>
                    <a:lnTo>
                      <a:pt x="0" y="25"/>
                    </a:lnTo>
                    <a:lnTo>
                      <a:pt x="9" y="18"/>
                    </a:lnTo>
                    <a:lnTo>
                      <a:pt x="28" y="13"/>
                    </a:lnTo>
                    <a:lnTo>
                      <a:pt x="31" y="10"/>
                    </a:lnTo>
                    <a:lnTo>
                      <a:pt x="43" y="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14" name="Freeform 444">
                <a:extLst>
                  <a:ext uri="{FF2B5EF4-FFF2-40B4-BE49-F238E27FC236}">
                    <a16:creationId xmlns:a16="http://schemas.microsoft.com/office/drawing/2014/main" id="{552B1C6B-7621-FFC1-2B24-976E46086F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6" y="3081"/>
                <a:ext cx="17" cy="6"/>
              </a:xfrm>
              <a:custGeom>
                <a:avLst/>
                <a:gdLst>
                  <a:gd name="T0" fmla="*/ 17 w 39"/>
                  <a:gd name="T1" fmla="*/ 4 h 13"/>
                  <a:gd name="T2" fmla="*/ 8 w 39"/>
                  <a:gd name="T3" fmla="*/ 6 h 13"/>
                  <a:gd name="T4" fmla="*/ 5 w 39"/>
                  <a:gd name="T5" fmla="*/ 2 h 13"/>
                  <a:gd name="T6" fmla="*/ 6 w 39"/>
                  <a:gd name="T7" fmla="*/ 4 h 13"/>
                  <a:gd name="T8" fmla="*/ 0 w 39"/>
                  <a:gd name="T9" fmla="*/ 4 h 13"/>
                  <a:gd name="T10" fmla="*/ 2 w 39"/>
                  <a:gd name="T11" fmla="*/ 0 h 13"/>
                  <a:gd name="T12" fmla="*/ 8 w 39"/>
                  <a:gd name="T13" fmla="*/ 0 h 13"/>
                  <a:gd name="T14" fmla="*/ 17 w 39"/>
                  <a:gd name="T15" fmla="*/ 4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9" h="13">
                    <a:moveTo>
                      <a:pt x="39" y="8"/>
                    </a:moveTo>
                    <a:lnTo>
                      <a:pt x="19" y="13"/>
                    </a:lnTo>
                    <a:lnTo>
                      <a:pt x="11" y="5"/>
                    </a:lnTo>
                    <a:lnTo>
                      <a:pt x="14" y="8"/>
                    </a:lnTo>
                    <a:lnTo>
                      <a:pt x="0" y="8"/>
                    </a:lnTo>
                    <a:lnTo>
                      <a:pt x="5" y="0"/>
                    </a:lnTo>
                    <a:lnTo>
                      <a:pt x="19" y="0"/>
                    </a:lnTo>
                    <a:lnTo>
                      <a:pt x="39" y="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15" name="Freeform 445">
                <a:extLst>
                  <a:ext uri="{FF2B5EF4-FFF2-40B4-BE49-F238E27FC236}">
                    <a16:creationId xmlns:a16="http://schemas.microsoft.com/office/drawing/2014/main" id="{32F6AB33-9477-4483-C411-50B9F0BC7B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" y="3143"/>
                <a:ext cx="7" cy="12"/>
              </a:xfrm>
              <a:custGeom>
                <a:avLst/>
                <a:gdLst>
                  <a:gd name="T0" fmla="*/ 5 w 19"/>
                  <a:gd name="T1" fmla="*/ 11 h 30"/>
                  <a:gd name="T2" fmla="*/ 3 w 19"/>
                  <a:gd name="T3" fmla="*/ 12 h 30"/>
                  <a:gd name="T4" fmla="*/ 3 w 19"/>
                  <a:gd name="T5" fmla="*/ 9 h 30"/>
                  <a:gd name="T6" fmla="*/ 0 w 19"/>
                  <a:gd name="T7" fmla="*/ 7 h 30"/>
                  <a:gd name="T8" fmla="*/ 2 w 19"/>
                  <a:gd name="T9" fmla="*/ 7 h 30"/>
                  <a:gd name="T10" fmla="*/ 4 w 19"/>
                  <a:gd name="T11" fmla="*/ 5 h 30"/>
                  <a:gd name="T12" fmla="*/ 2 w 19"/>
                  <a:gd name="T13" fmla="*/ 5 h 30"/>
                  <a:gd name="T14" fmla="*/ 5 w 19"/>
                  <a:gd name="T15" fmla="*/ 3 h 30"/>
                  <a:gd name="T16" fmla="*/ 4 w 19"/>
                  <a:gd name="T17" fmla="*/ 1 h 30"/>
                  <a:gd name="T18" fmla="*/ 6 w 19"/>
                  <a:gd name="T19" fmla="*/ 0 h 30"/>
                  <a:gd name="T20" fmla="*/ 7 w 19"/>
                  <a:gd name="T21" fmla="*/ 5 h 30"/>
                  <a:gd name="T22" fmla="*/ 6 w 19"/>
                  <a:gd name="T23" fmla="*/ 5 h 30"/>
                  <a:gd name="T24" fmla="*/ 6 w 19"/>
                  <a:gd name="T25" fmla="*/ 7 h 30"/>
                  <a:gd name="T26" fmla="*/ 5 w 19"/>
                  <a:gd name="T27" fmla="*/ 11 h 3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30">
                    <a:moveTo>
                      <a:pt x="13" y="27"/>
                    </a:moveTo>
                    <a:lnTo>
                      <a:pt x="8" y="30"/>
                    </a:lnTo>
                    <a:lnTo>
                      <a:pt x="8" y="23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11" y="13"/>
                    </a:lnTo>
                    <a:lnTo>
                      <a:pt x="5" y="13"/>
                    </a:lnTo>
                    <a:lnTo>
                      <a:pt x="13" y="8"/>
                    </a:lnTo>
                    <a:lnTo>
                      <a:pt x="11" y="2"/>
                    </a:lnTo>
                    <a:lnTo>
                      <a:pt x="17" y="0"/>
                    </a:lnTo>
                    <a:lnTo>
                      <a:pt x="19" y="13"/>
                    </a:lnTo>
                    <a:lnTo>
                      <a:pt x="16" y="13"/>
                    </a:lnTo>
                    <a:lnTo>
                      <a:pt x="16" y="17"/>
                    </a:lnTo>
                    <a:lnTo>
                      <a:pt x="13" y="27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16" name="Freeform 446">
                <a:extLst>
                  <a:ext uri="{FF2B5EF4-FFF2-40B4-BE49-F238E27FC236}">
                    <a16:creationId xmlns:a16="http://schemas.microsoft.com/office/drawing/2014/main" id="{79A1443C-C1B2-1877-65AA-040DBE6B269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4" y="3126"/>
                <a:ext cx="9" cy="9"/>
              </a:xfrm>
              <a:custGeom>
                <a:avLst/>
                <a:gdLst>
                  <a:gd name="T0" fmla="*/ 8 w 20"/>
                  <a:gd name="T1" fmla="*/ 5 h 21"/>
                  <a:gd name="T2" fmla="*/ 7 w 20"/>
                  <a:gd name="T3" fmla="*/ 6 h 21"/>
                  <a:gd name="T4" fmla="*/ 0 w 20"/>
                  <a:gd name="T5" fmla="*/ 9 h 21"/>
                  <a:gd name="T6" fmla="*/ 1 w 20"/>
                  <a:gd name="T7" fmla="*/ 8 h 21"/>
                  <a:gd name="T8" fmla="*/ 7 w 20"/>
                  <a:gd name="T9" fmla="*/ 0 h 21"/>
                  <a:gd name="T10" fmla="*/ 9 w 20"/>
                  <a:gd name="T11" fmla="*/ 0 h 21"/>
                  <a:gd name="T12" fmla="*/ 8 w 20"/>
                  <a:gd name="T13" fmla="*/ 5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21">
                    <a:moveTo>
                      <a:pt x="18" y="11"/>
                    </a:moveTo>
                    <a:lnTo>
                      <a:pt x="15" y="13"/>
                    </a:lnTo>
                    <a:lnTo>
                      <a:pt x="0" y="21"/>
                    </a:lnTo>
                    <a:lnTo>
                      <a:pt x="3" y="18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18" y="11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17" name="Freeform 447">
                <a:extLst>
                  <a:ext uri="{FF2B5EF4-FFF2-40B4-BE49-F238E27FC236}">
                    <a16:creationId xmlns:a16="http://schemas.microsoft.com/office/drawing/2014/main" id="{9DFAC459-2EC2-8534-25C6-62B3C1B17A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8" y="3107"/>
                <a:ext cx="10" cy="5"/>
              </a:xfrm>
              <a:custGeom>
                <a:avLst/>
                <a:gdLst>
                  <a:gd name="T0" fmla="*/ 9 w 23"/>
                  <a:gd name="T1" fmla="*/ 4 h 10"/>
                  <a:gd name="T2" fmla="*/ 6 w 23"/>
                  <a:gd name="T3" fmla="*/ 5 h 10"/>
                  <a:gd name="T4" fmla="*/ 0 w 23"/>
                  <a:gd name="T5" fmla="*/ 3 h 10"/>
                  <a:gd name="T6" fmla="*/ 10 w 23"/>
                  <a:gd name="T7" fmla="*/ 0 h 10"/>
                  <a:gd name="T8" fmla="*/ 9 w 23"/>
                  <a:gd name="T9" fmla="*/ 4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3" h="10">
                    <a:moveTo>
                      <a:pt x="21" y="8"/>
                    </a:moveTo>
                    <a:lnTo>
                      <a:pt x="14" y="10"/>
                    </a:lnTo>
                    <a:lnTo>
                      <a:pt x="0" y="5"/>
                    </a:lnTo>
                    <a:lnTo>
                      <a:pt x="23" y="0"/>
                    </a:lnTo>
                    <a:lnTo>
                      <a:pt x="21" y="8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18" name="Freeform 448">
                <a:extLst>
                  <a:ext uri="{FF2B5EF4-FFF2-40B4-BE49-F238E27FC236}">
                    <a16:creationId xmlns:a16="http://schemas.microsoft.com/office/drawing/2014/main" id="{94818782-0587-D88F-B706-3ED792CB4A3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8" y="3126"/>
                <a:ext cx="8" cy="7"/>
              </a:xfrm>
              <a:custGeom>
                <a:avLst/>
                <a:gdLst>
                  <a:gd name="T0" fmla="*/ 6 w 20"/>
                  <a:gd name="T1" fmla="*/ 6 h 17"/>
                  <a:gd name="T2" fmla="*/ 6 w 20"/>
                  <a:gd name="T3" fmla="*/ 5 h 17"/>
                  <a:gd name="T4" fmla="*/ 4 w 20"/>
                  <a:gd name="T5" fmla="*/ 2 h 17"/>
                  <a:gd name="T6" fmla="*/ 8 w 20"/>
                  <a:gd name="T7" fmla="*/ 4 h 17"/>
                  <a:gd name="T8" fmla="*/ 7 w 20"/>
                  <a:gd name="T9" fmla="*/ 3 h 17"/>
                  <a:gd name="T10" fmla="*/ 6 w 20"/>
                  <a:gd name="T11" fmla="*/ 2 h 17"/>
                  <a:gd name="T12" fmla="*/ 6 w 20"/>
                  <a:gd name="T13" fmla="*/ 0 h 17"/>
                  <a:gd name="T14" fmla="*/ 2 w 20"/>
                  <a:gd name="T15" fmla="*/ 2 h 17"/>
                  <a:gd name="T16" fmla="*/ 2 w 20"/>
                  <a:gd name="T17" fmla="*/ 3 h 17"/>
                  <a:gd name="T18" fmla="*/ 0 w 20"/>
                  <a:gd name="T19" fmla="*/ 3 h 17"/>
                  <a:gd name="T20" fmla="*/ 2 w 20"/>
                  <a:gd name="T21" fmla="*/ 7 h 17"/>
                  <a:gd name="T22" fmla="*/ 2 w 20"/>
                  <a:gd name="T23" fmla="*/ 4 h 17"/>
                  <a:gd name="T24" fmla="*/ 6 w 20"/>
                  <a:gd name="T25" fmla="*/ 6 h 1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0" h="17">
                    <a:moveTo>
                      <a:pt x="15" y="15"/>
                    </a:moveTo>
                    <a:lnTo>
                      <a:pt x="15" y="12"/>
                    </a:lnTo>
                    <a:lnTo>
                      <a:pt x="9" y="5"/>
                    </a:lnTo>
                    <a:lnTo>
                      <a:pt x="20" y="10"/>
                    </a:lnTo>
                    <a:lnTo>
                      <a:pt x="18" y="7"/>
                    </a:lnTo>
                    <a:lnTo>
                      <a:pt x="14" y="5"/>
                    </a:lnTo>
                    <a:lnTo>
                      <a:pt x="15" y="0"/>
                    </a:lnTo>
                    <a:lnTo>
                      <a:pt x="6" y="5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4" y="17"/>
                    </a:lnTo>
                    <a:lnTo>
                      <a:pt x="6" y="10"/>
                    </a:lnTo>
                    <a:lnTo>
                      <a:pt x="15" y="1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19" name="Freeform 449">
                <a:extLst>
                  <a:ext uri="{FF2B5EF4-FFF2-40B4-BE49-F238E27FC236}">
                    <a16:creationId xmlns:a16="http://schemas.microsoft.com/office/drawing/2014/main" id="{C00E90FF-C394-D985-451B-B6CCC83042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7" y="3132"/>
                <a:ext cx="6" cy="11"/>
              </a:xfrm>
              <a:custGeom>
                <a:avLst/>
                <a:gdLst>
                  <a:gd name="T0" fmla="*/ 0 w 13"/>
                  <a:gd name="T1" fmla="*/ 11 h 23"/>
                  <a:gd name="T2" fmla="*/ 6 w 13"/>
                  <a:gd name="T3" fmla="*/ 0 h 23"/>
                  <a:gd name="T4" fmla="*/ 2 w 13"/>
                  <a:gd name="T5" fmla="*/ 2 h 23"/>
                  <a:gd name="T6" fmla="*/ 0 w 13"/>
                  <a:gd name="T7" fmla="*/ 11 h 2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3">
                    <a:moveTo>
                      <a:pt x="0" y="23"/>
                    </a:moveTo>
                    <a:lnTo>
                      <a:pt x="13" y="0"/>
                    </a:lnTo>
                    <a:lnTo>
                      <a:pt x="4" y="5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20" name="Freeform 450">
                <a:extLst>
                  <a:ext uri="{FF2B5EF4-FFF2-40B4-BE49-F238E27FC236}">
                    <a16:creationId xmlns:a16="http://schemas.microsoft.com/office/drawing/2014/main" id="{E9DE1EF1-CE54-A7FC-ACE4-EB4BB27BC7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6" y="3135"/>
                <a:ext cx="6" cy="6"/>
              </a:xfrm>
              <a:custGeom>
                <a:avLst/>
                <a:gdLst>
                  <a:gd name="T0" fmla="*/ 5 w 13"/>
                  <a:gd name="T1" fmla="*/ 4 h 14"/>
                  <a:gd name="T2" fmla="*/ 6 w 13"/>
                  <a:gd name="T3" fmla="*/ 2 h 14"/>
                  <a:gd name="T4" fmla="*/ 2 w 13"/>
                  <a:gd name="T5" fmla="*/ 0 h 14"/>
                  <a:gd name="T6" fmla="*/ 0 w 13"/>
                  <a:gd name="T7" fmla="*/ 4 h 14"/>
                  <a:gd name="T8" fmla="*/ 2 w 13"/>
                  <a:gd name="T9" fmla="*/ 6 h 14"/>
                  <a:gd name="T10" fmla="*/ 4 w 13"/>
                  <a:gd name="T11" fmla="*/ 3 h 14"/>
                  <a:gd name="T12" fmla="*/ 5 w 13"/>
                  <a:gd name="T13" fmla="*/ 4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4">
                    <a:moveTo>
                      <a:pt x="11" y="9"/>
                    </a:moveTo>
                    <a:lnTo>
                      <a:pt x="13" y="5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9" y="7"/>
                    </a:lnTo>
                    <a:lnTo>
                      <a:pt x="11" y="9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21" name="Freeform 451">
                <a:extLst>
                  <a:ext uri="{FF2B5EF4-FFF2-40B4-BE49-F238E27FC236}">
                    <a16:creationId xmlns:a16="http://schemas.microsoft.com/office/drawing/2014/main" id="{E00E4696-4800-1736-2EE1-2157DD66976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0" y="3138"/>
                <a:ext cx="6" cy="5"/>
              </a:xfrm>
              <a:custGeom>
                <a:avLst/>
                <a:gdLst>
                  <a:gd name="T0" fmla="*/ 6 w 13"/>
                  <a:gd name="T1" fmla="*/ 2 h 12"/>
                  <a:gd name="T2" fmla="*/ 0 w 13"/>
                  <a:gd name="T3" fmla="*/ 5 h 12"/>
                  <a:gd name="T4" fmla="*/ 3 w 13"/>
                  <a:gd name="T5" fmla="*/ 0 h 12"/>
                  <a:gd name="T6" fmla="*/ 6 w 13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12">
                    <a:moveTo>
                      <a:pt x="13" y="5"/>
                    </a:moveTo>
                    <a:lnTo>
                      <a:pt x="0" y="12"/>
                    </a:lnTo>
                    <a:lnTo>
                      <a:pt x="6" y="0"/>
                    </a:lnTo>
                    <a:lnTo>
                      <a:pt x="13" y="5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22" name="Freeform 452">
                <a:extLst>
                  <a:ext uri="{FF2B5EF4-FFF2-40B4-BE49-F238E27FC236}">
                    <a16:creationId xmlns:a16="http://schemas.microsoft.com/office/drawing/2014/main" id="{F96342C4-17AC-685B-F92A-17BFAC76D4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32" y="3274"/>
                <a:ext cx="18" cy="4"/>
              </a:xfrm>
              <a:custGeom>
                <a:avLst/>
                <a:gdLst>
                  <a:gd name="T0" fmla="*/ 18 w 42"/>
                  <a:gd name="T1" fmla="*/ 1 h 10"/>
                  <a:gd name="T2" fmla="*/ 12 w 42"/>
                  <a:gd name="T3" fmla="*/ 2 h 10"/>
                  <a:gd name="T4" fmla="*/ 14 w 42"/>
                  <a:gd name="T5" fmla="*/ 0 h 10"/>
                  <a:gd name="T6" fmla="*/ 0 w 42"/>
                  <a:gd name="T7" fmla="*/ 4 h 10"/>
                  <a:gd name="T8" fmla="*/ 9 w 42"/>
                  <a:gd name="T9" fmla="*/ 2 h 10"/>
                  <a:gd name="T10" fmla="*/ 18 w 42"/>
                  <a:gd name="T11" fmla="*/ 1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2" h="10">
                    <a:moveTo>
                      <a:pt x="42" y="2"/>
                    </a:moveTo>
                    <a:lnTo>
                      <a:pt x="29" y="5"/>
                    </a:lnTo>
                    <a:lnTo>
                      <a:pt x="32" y="0"/>
                    </a:lnTo>
                    <a:lnTo>
                      <a:pt x="0" y="10"/>
                    </a:lnTo>
                    <a:lnTo>
                      <a:pt x="22" y="5"/>
                    </a:lnTo>
                    <a:lnTo>
                      <a:pt x="42" y="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23" name="Freeform 453">
                <a:extLst>
                  <a:ext uri="{FF2B5EF4-FFF2-40B4-BE49-F238E27FC236}">
                    <a16:creationId xmlns:a16="http://schemas.microsoft.com/office/drawing/2014/main" id="{EBE63DF9-0599-68D6-B6A8-6C2DB40279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44" y="3395"/>
                <a:ext cx="67" cy="62"/>
              </a:xfrm>
              <a:custGeom>
                <a:avLst/>
                <a:gdLst>
                  <a:gd name="T0" fmla="*/ 1 w 152"/>
                  <a:gd name="T1" fmla="*/ 58 h 142"/>
                  <a:gd name="T2" fmla="*/ 0 w 152"/>
                  <a:gd name="T3" fmla="*/ 62 h 142"/>
                  <a:gd name="T4" fmla="*/ 0 w 152"/>
                  <a:gd name="T5" fmla="*/ 58 h 142"/>
                  <a:gd name="T6" fmla="*/ 6 w 152"/>
                  <a:gd name="T7" fmla="*/ 45 h 142"/>
                  <a:gd name="T8" fmla="*/ 11 w 152"/>
                  <a:gd name="T9" fmla="*/ 34 h 142"/>
                  <a:gd name="T10" fmla="*/ 10 w 152"/>
                  <a:gd name="T11" fmla="*/ 36 h 142"/>
                  <a:gd name="T12" fmla="*/ 16 w 152"/>
                  <a:gd name="T13" fmla="*/ 29 h 142"/>
                  <a:gd name="T14" fmla="*/ 19 w 152"/>
                  <a:gd name="T15" fmla="*/ 21 h 142"/>
                  <a:gd name="T16" fmla="*/ 22 w 152"/>
                  <a:gd name="T17" fmla="*/ 15 h 142"/>
                  <a:gd name="T18" fmla="*/ 27 w 152"/>
                  <a:gd name="T19" fmla="*/ 9 h 142"/>
                  <a:gd name="T20" fmla="*/ 32 w 152"/>
                  <a:gd name="T21" fmla="*/ 0 h 142"/>
                  <a:gd name="T22" fmla="*/ 41 w 152"/>
                  <a:gd name="T23" fmla="*/ 0 h 142"/>
                  <a:gd name="T24" fmla="*/ 49 w 152"/>
                  <a:gd name="T25" fmla="*/ 0 h 142"/>
                  <a:gd name="T26" fmla="*/ 57 w 152"/>
                  <a:gd name="T27" fmla="*/ 0 h 142"/>
                  <a:gd name="T28" fmla="*/ 67 w 152"/>
                  <a:gd name="T29" fmla="*/ 0 h 142"/>
                  <a:gd name="T30" fmla="*/ 67 w 152"/>
                  <a:gd name="T31" fmla="*/ 3 h 142"/>
                  <a:gd name="T32" fmla="*/ 66 w 152"/>
                  <a:gd name="T33" fmla="*/ 15 h 142"/>
                  <a:gd name="T34" fmla="*/ 60 w 152"/>
                  <a:gd name="T35" fmla="*/ 15 h 142"/>
                  <a:gd name="T36" fmla="*/ 53 w 152"/>
                  <a:gd name="T37" fmla="*/ 15 h 142"/>
                  <a:gd name="T38" fmla="*/ 47 w 152"/>
                  <a:gd name="T39" fmla="*/ 15 h 142"/>
                  <a:gd name="T40" fmla="*/ 41 w 152"/>
                  <a:gd name="T41" fmla="*/ 15 h 142"/>
                  <a:gd name="T42" fmla="*/ 41 w 152"/>
                  <a:gd name="T43" fmla="*/ 27 h 142"/>
                  <a:gd name="T44" fmla="*/ 41 w 152"/>
                  <a:gd name="T45" fmla="*/ 38 h 142"/>
                  <a:gd name="T46" fmla="*/ 32 w 152"/>
                  <a:gd name="T47" fmla="*/ 43 h 142"/>
                  <a:gd name="T48" fmla="*/ 32 w 152"/>
                  <a:gd name="T49" fmla="*/ 50 h 142"/>
                  <a:gd name="T50" fmla="*/ 32 w 152"/>
                  <a:gd name="T51" fmla="*/ 58 h 142"/>
                  <a:gd name="T52" fmla="*/ 24 w 152"/>
                  <a:gd name="T53" fmla="*/ 58 h 142"/>
                  <a:gd name="T54" fmla="*/ 16 w 152"/>
                  <a:gd name="T55" fmla="*/ 58 h 142"/>
                  <a:gd name="T56" fmla="*/ 8 w 152"/>
                  <a:gd name="T57" fmla="*/ 58 h 142"/>
                  <a:gd name="T58" fmla="*/ 1 w 152"/>
                  <a:gd name="T59" fmla="*/ 58 h 14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52" h="142">
                    <a:moveTo>
                      <a:pt x="2" y="132"/>
                    </a:moveTo>
                    <a:lnTo>
                      <a:pt x="0" y="142"/>
                    </a:lnTo>
                    <a:lnTo>
                      <a:pt x="0" y="132"/>
                    </a:lnTo>
                    <a:lnTo>
                      <a:pt x="13" y="104"/>
                    </a:lnTo>
                    <a:lnTo>
                      <a:pt x="24" y="79"/>
                    </a:lnTo>
                    <a:lnTo>
                      <a:pt x="22" y="83"/>
                    </a:lnTo>
                    <a:lnTo>
                      <a:pt x="36" y="66"/>
                    </a:lnTo>
                    <a:lnTo>
                      <a:pt x="42" y="49"/>
                    </a:lnTo>
                    <a:lnTo>
                      <a:pt x="50" y="35"/>
                    </a:lnTo>
                    <a:lnTo>
                      <a:pt x="62" y="21"/>
                    </a:lnTo>
                    <a:lnTo>
                      <a:pt x="73" y="0"/>
                    </a:lnTo>
                    <a:lnTo>
                      <a:pt x="93" y="0"/>
                    </a:lnTo>
                    <a:lnTo>
                      <a:pt x="112" y="0"/>
                    </a:lnTo>
                    <a:lnTo>
                      <a:pt x="130" y="0"/>
                    </a:lnTo>
                    <a:lnTo>
                      <a:pt x="152" y="0"/>
                    </a:lnTo>
                    <a:lnTo>
                      <a:pt x="152" y="8"/>
                    </a:lnTo>
                    <a:lnTo>
                      <a:pt x="150" y="35"/>
                    </a:lnTo>
                    <a:lnTo>
                      <a:pt x="136" y="35"/>
                    </a:lnTo>
                    <a:lnTo>
                      <a:pt x="121" y="35"/>
                    </a:lnTo>
                    <a:lnTo>
                      <a:pt x="107" y="35"/>
                    </a:lnTo>
                    <a:lnTo>
                      <a:pt x="93" y="35"/>
                    </a:lnTo>
                    <a:lnTo>
                      <a:pt x="92" y="61"/>
                    </a:lnTo>
                    <a:lnTo>
                      <a:pt x="92" y="86"/>
                    </a:lnTo>
                    <a:lnTo>
                      <a:pt x="73" y="98"/>
                    </a:lnTo>
                    <a:lnTo>
                      <a:pt x="73" y="114"/>
                    </a:lnTo>
                    <a:lnTo>
                      <a:pt x="73" y="132"/>
                    </a:lnTo>
                    <a:lnTo>
                      <a:pt x="54" y="132"/>
                    </a:lnTo>
                    <a:lnTo>
                      <a:pt x="37" y="132"/>
                    </a:lnTo>
                    <a:lnTo>
                      <a:pt x="19" y="132"/>
                    </a:lnTo>
                    <a:lnTo>
                      <a:pt x="2" y="132"/>
                    </a:lnTo>
                    <a:close/>
                  </a:path>
                </a:pathLst>
              </a:custGeom>
              <a:grpFill/>
              <a:ln w="1588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24" name="Freeform 454">
                <a:extLst>
                  <a:ext uri="{FF2B5EF4-FFF2-40B4-BE49-F238E27FC236}">
                    <a16:creationId xmlns:a16="http://schemas.microsoft.com/office/drawing/2014/main" id="{D6E8F619-F499-7C65-50F7-483422996D4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513" y="3231"/>
                <a:ext cx="31" cy="35"/>
              </a:xfrm>
              <a:custGeom>
                <a:avLst/>
                <a:gdLst>
                  <a:gd name="T0" fmla="*/ 5 w 141"/>
                  <a:gd name="T1" fmla="*/ 7 h 161"/>
                  <a:gd name="T2" fmla="*/ 5 w 141"/>
                  <a:gd name="T3" fmla="*/ 7 h 161"/>
                  <a:gd name="T4" fmla="*/ 3 w 141"/>
                  <a:gd name="T5" fmla="*/ 8 h 161"/>
                  <a:gd name="T6" fmla="*/ 2 w 141"/>
                  <a:gd name="T7" fmla="*/ 10 h 161"/>
                  <a:gd name="T8" fmla="*/ 4 w 141"/>
                  <a:gd name="T9" fmla="*/ 10 h 161"/>
                  <a:gd name="T10" fmla="*/ 5 w 141"/>
                  <a:gd name="T11" fmla="*/ 12 h 161"/>
                  <a:gd name="T12" fmla="*/ 4 w 141"/>
                  <a:gd name="T13" fmla="*/ 13 h 161"/>
                  <a:gd name="T14" fmla="*/ 3 w 141"/>
                  <a:gd name="T15" fmla="*/ 15 h 161"/>
                  <a:gd name="T16" fmla="*/ 3 w 141"/>
                  <a:gd name="T17" fmla="*/ 15 h 161"/>
                  <a:gd name="T18" fmla="*/ 4 w 141"/>
                  <a:gd name="T19" fmla="*/ 17 h 161"/>
                  <a:gd name="T20" fmla="*/ 7 w 141"/>
                  <a:gd name="T21" fmla="*/ 18 h 161"/>
                  <a:gd name="T22" fmla="*/ 5 w 141"/>
                  <a:gd name="T23" fmla="*/ 19 h 161"/>
                  <a:gd name="T24" fmla="*/ 6 w 141"/>
                  <a:gd name="T25" fmla="*/ 20 h 161"/>
                  <a:gd name="T26" fmla="*/ 6 w 141"/>
                  <a:gd name="T27" fmla="*/ 22 h 161"/>
                  <a:gd name="T28" fmla="*/ 13 w 141"/>
                  <a:gd name="T29" fmla="*/ 29 h 161"/>
                  <a:gd name="T30" fmla="*/ 17 w 141"/>
                  <a:gd name="T31" fmla="*/ 27 h 161"/>
                  <a:gd name="T32" fmla="*/ 21 w 141"/>
                  <a:gd name="T33" fmla="*/ 32 h 161"/>
                  <a:gd name="T34" fmla="*/ 21 w 141"/>
                  <a:gd name="T35" fmla="*/ 30 h 161"/>
                  <a:gd name="T36" fmla="*/ 21 w 141"/>
                  <a:gd name="T37" fmla="*/ 33 h 161"/>
                  <a:gd name="T38" fmla="*/ 22 w 141"/>
                  <a:gd name="T39" fmla="*/ 34 h 161"/>
                  <a:gd name="T40" fmla="*/ 24 w 141"/>
                  <a:gd name="T41" fmla="*/ 34 h 161"/>
                  <a:gd name="T42" fmla="*/ 25 w 141"/>
                  <a:gd name="T43" fmla="*/ 33 h 161"/>
                  <a:gd name="T44" fmla="*/ 27 w 141"/>
                  <a:gd name="T45" fmla="*/ 33 h 161"/>
                  <a:gd name="T46" fmla="*/ 29 w 141"/>
                  <a:gd name="T47" fmla="*/ 35 h 161"/>
                  <a:gd name="T48" fmla="*/ 30 w 141"/>
                  <a:gd name="T49" fmla="*/ 34 h 161"/>
                  <a:gd name="T50" fmla="*/ 27 w 141"/>
                  <a:gd name="T51" fmla="*/ 31 h 161"/>
                  <a:gd name="T52" fmla="*/ 31 w 141"/>
                  <a:gd name="T53" fmla="*/ 27 h 161"/>
                  <a:gd name="T54" fmla="*/ 27 w 141"/>
                  <a:gd name="T55" fmla="*/ 21 h 161"/>
                  <a:gd name="T56" fmla="*/ 28 w 141"/>
                  <a:gd name="T57" fmla="*/ 17 h 161"/>
                  <a:gd name="T58" fmla="*/ 27 w 141"/>
                  <a:gd name="T59" fmla="*/ 13 h 161"/>
                  <a:gd name="T60" fmla="*/ 26 w 141"/>
                  <a:gd name="T61" fmla="*/ 13 h 161"/>
                  <a:gd name="T62" fmla="*/ 23 w 141"/>
                  <a:gd name="T63" fmla="*/ 13 h 161"/>
                  <a:gd name="T64" fmla="*/ 20 w 141"/>
                  <a:gd name="T65" fmla="*/ 10 h 161"/>
                  <a:gd name="T66" fmla="*/ 10 w 141"/>
                  <a:gd name="T67" fmla="*/ 0 h 161"/>
                  <a:gd name="T68" fmla="*/ 0 w 141"/>
                  <a:gd name="T69" fmla="*/ 2 h 161"/>
                  <a:gd name="T70" fmla="*/ 1 w 141"/>
                  <a:gd name="T71" fmla="*/ 4 h 161"/>
                  <a:gd name="T72" fmla="*/ 2 w 141"/>
                  <a:gd name="T73" fmla="*/ 5 h 161"/>
                  <a:gd name="T74" fmla="*/ 1 w 141"/>
                  <a:gd name="T75" fmla="*/ 6 h 161"/>
                  <a:gd name="T76" fmla="*/ 2 w 141"/>
                  <a:gd name="T77" fmla="*/ 6 h 161"/>
                  <a:gd name="T78" fmla="*/ 5 w 141"/>
                  <a:gd name="T79" fmla="*/ 7 h 16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41" h="161">
                    <a:moveTo>
                      <a:pt x="22" y="33"/>
                    </a:moveTo>
                    <a:lnTo>
                      <a:pt x="22" y="33"/>
                    </a:lnTo>
                    <a:lnTo>
                      <a:pt x="12" y="39"/>
                    </a:lnTo>
                    <a:lnTo>
                      <a:pt x="8" y="47"/>
                    </a:lnTo>
                    <a:lnTo>
                      <a:pt x="18" y="47"/>
                    </a:lnTo>
                    <a:lnTo>
                      <a:pt x="22" y="53"/>
                    </a:lnTo>
                    <a:lnTo>
                      <a:pt x="18" y="59"/>
                    </a:lnTo>
                    <a:lnTo>
                      <a:pt x="12" y="67"/>
                    </a:lnTo>
                    <a:lnTo>
                      <a:pt x="12" y="69"/>
                    </a:lnTo>
                    <a:lnTo>
                      <a:pt x="18" y="77"/>
                    </a:lnTo>
                    <a:lnTo>
                      <a:pt x="34" y="83"/>
                    </a:lnTo>
                    <a:lnTo>
                      <a:pt x="22" y="88"/>
                    </a:lnTo>
                    <a:lnTo>
                      <a:pt x="28" y="94"/>
                    </a:lnTo>
                    <a:lnTo>
                      <a:pt x="28" y="102"/>
                    </a:lnTo>
                    <a:lnTo>
                      <a:pt x="61" y="132"/>
                    </a:lnTo>
                    <a:lnTo>
                      <a:pt x="78" y="123"/>
                    </a:lnTo>
                    <a:lnTo>
                      <a:pt x="97" y="145"/>
                    </a:lnTo>
                    <a:lnTo>
                      <a:pt x="94" y="136"/>
                    </a:lnTo>
                    <a:lnTo>
                      <a:pt x="97" y="153"/>
                    </a:lnTo>
                    <a:lnTo>
                      <a:pt x="101" y="157"/>
                    </a:lnTo>
                    <a:lnTo>
                      <a:pt x="107" y="157"/>
                    </a:lnTo>
                    <a:lnTo>
                      <a:pt x="113" y="153"/>
                    </a:lnTo>
                    <a:lnTo>
                      <a:pt x="125" y="151"/>
                    </a:lnTo>
                    <a:lnTo>
                      <a:pt x="131" y="161"/>
                    </a:lnTo>
                    <a:lnTo>
                      <a:pt x="137" y="157"/>
                    </a:lnTo>
                    <a:lnTo>
                      <a:pt x="125" y="143"/>
                    </a:lnTo>
                    <a:lnTo>
                      <a:pt x="141" y="124"/>
                    </a:lnTo>
                    <a:lnTo>
                      <a:pt x="125" y="98"/>
                    </a:lnTo>
                    <a:lnTo>
                      <a:pt x="129" y="77"/>
                    </a:lnTo>
                    <a:lnTo>
                      <a:pt x="125" y="59"/>
                    </a:lnTo>
                    <a:lnTo>
                      <a:pt x="117" y="59"/>
                    </a:lnTo>
                    <a:lnTo>
                      <a:pt x="103" y="59"/>
                    </a:lnTo>
                    <a:lnTo>
                      <a:pt x="91" y="47"/>
                    </a:lnTo>
                    <a:lnTo>
                      <a:pt x="46" y="0"/>
                    </a:lnTo>
                    <a:lnTo>
                      <a:pt x="0" y="8"/>
                    </a:lnTo>
                    <a:lnTo>
                      <a:pt x="6" y="20"/>
                    </a:lnTo>
                    <a:lnTo>
                      <a:pt x="8" y="24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22" y="33"/>
                    </a:lnTo>
                    <a:close/>
                  </a:path>
                </a:pathLst>
              </a:custGeom>
              <a:grpFill/>
              <a:ln w="1651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25" name="Freeform 455">
                <a:extLst>
                  <a:ext uri="{FF2B5EF4-FFF2-40B4-BE49-F238E27FC236}">
                    <a16:creationId xmlns:a16="http://schemas.microsoft.com/office/drawing/2014/main" id="{4B1C689C-F17E-588A-AEFE-8CD6EA4B4B0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512" y="3254"/>
                <a:ext cx="13" cy="15"/>
              </a:xfrm>
              <a:custGeom>
                <a:avLst/>
                <a:gdLst>
                  <a:gd name="T0" fmla="*/ 13 w 60"/>
                  <a:gd name="T1" fmla="*/ 9 h 65"/>
                  <a:gd name="T2" fmla="*/ 11 w 60"/>
                  <a:gd name="T3" fmla="*/ 9 h 65"/>
                  <a:gd name="T4" fmla="*/ 10 w 60"/>
                  <a:gd name="T5" fmla="*/ 9 h 65"/>
                  <a:gd name="T6" fmla="*/ 9 w 60"/>
                  <a:gd name="T7" fmla="*/ 12 h 65"/>
                  <a:gd name="T8" fmla="*/ 8 w 60"/>
                  <a:gd name="T9" fmla="*/ 15 h 65"/>
                  <a:gd name="T10" fmla="*/ 0 w 60"/>
                  <a:gd name="T11" fmla="*/ 9 h 65"/>
                  <a:gd name="T12" fmla="*/ 3 w 60"/>
                  <a:gd name="T13" fmla="*/ 9 h 65"/>
                  <a:gd name="T14" fmla="*/ 0 w 60"/>
                  <a:gd name="T15" fmla="*/ 4 h 65"/>
                  <a:gd name="T16" fmla="*/ 3 w 60"/>
                  <a:gd name="T17" fmla="*/ 0 h 65"/>
                  <a:gd name="T18" fmla="*/ 7 w 60"/>
                  <a:gd name="T19" fmla="*/ 0 h 65"/>
                  <a:gd name="T20" fmla="*/ 9 w 60"/>
                  <a:gd name="T21" fmla="*/ 2 h 65"/>
                  <a:gd name="T22" fmla="*/ 13 w 60"/>
                  <a:gd name="T23" fmla="*/ 6 h 65"/>
                  <a:gd name="T24" fmla="*/ 13 w 60"/>
                  <a:gd name="T25" fmla="*/ 9 h 6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0" h="65">
                    <a:moveTo>
                      <a:pt x="60" y="39"/>
                    </a:moveTo>
                    <a:lnTo>
                      <a:pt x="49" y="37"/>
                    </a:lnTo>
                    <a:lnTo>
                      <a:pt x="44" y="41"/>
                    </a:lnTo>
                    <a:lnTo>
                      <a:pt x="41" y="54"/>
                    </a:lnTo>
                    <a:lnTo>
                      <a:pt x="35" y="65"/>
                    </a:lnTo>
                    <a:lnTo>
                      <a:pt x="0" y="40"/>
                    </a:lnTo>
                    <a:lnTo>
                      <a:pt x="12" y="37"/>
                    </a:lnTo>
                    <a:lnTo>
                      <a:pt x="1" y="16"/>
                    </a:lnTo>
                    <a:lnTo>
                      <a:pt x="15" y="0"/>
                    </a:lnTo>
                    <a:lnTo>
                      <a:pt x="30" y="0"/>
                    </a:lnTo>
                    <a:lnTo>
                      <a:pt x="43" y="10"/>
                    </a:lnTo>
                    <a:lnTo>
                      <a:pt x="58" y="24"/>
                    </a:lnTo>
                    <a:lnTo>
                      <a:pt x="60" y="39"/>
                    </a:lnTo>
                    <a:close/>
                  </a:path>
                </a:pathLst>
              </a:custGeom>
              <a:grpFill/>
              <a:ln w="4826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26" name="Freeform 456">
                <a:extLst>
                  <a:ext uri="{FF2B5EF4-FFF2-40B4-BE49-F238E27FC236}">
                    <a16:creationId xmlns:a16="http://schemas.microsoft.com/office/drawing/2014/main" id="{2EB8B345-B9B2-2DF9-3AB4-F5F147F4A9C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524" y="3259"/>
                <a:ext cx="10" cy="10"/>
              </a:xfrm>
              <a:custGeom>
                <a:avLst/>
                <a:gdLst>
                  <a:gd name="T0" fmla="*/ 2 w 45"/>
                  <a:gd name="T1" fmla="*/ 1 h 44"/>
                  <a:gd name="T2" fmla="*/ 5 w 45"/>
                  <a:gd name="T3" fmla="*/ 1 h 44"/>
                  <a:gd name="T4" fmla="*/ 6 w 45"/>
                  <a:gd name="T5" fmla="*/ 0 h 44"/>
                  <a:gd name="T6" fmla="*/ 8 w 45"/>
                  <a:gd name="T7" fmla="*/ 2 h 44"/>
                  <a:gd name="T8" fmla="*/ 9 w 45"/>
                  <a:gd name="T9" fmla="*/ 4 h 44"/>
                  <a:gd name="T10" fmla="*/ 10 w 45"/>
                  <a:gd name="T11" fmla="*/ 7 h 44"/>
                  <a:gd name="T12" fmla="*/ 10 w 45"/>
                  <a:gd name="T13" fmla="*/ 7 h 44"/>
                  <a:gd name="T14" fmla="*/ 8 w 45"/>
                  <a:gd name="T15" fmla="*/ 8 h 44"/>
                  <a:gd name="T16" fmla="*/ 6 w 45"/>
                  <a:gd name="T17" fmla="*/ 8 h 44"/>
                  <a:gd name="T18" fmla="*/ 2 w 45"/>
                  <a:gd name="T19" fmla="*/ 10 h 44"/>
                  <a:gd name="T20" fmla="*/ 2 w 45"/>
                  <a:gd name="T21" fmla="*/ 6 h 44"/>
                  <a:gd name="T22" fmla="*/ 0 w 45"/>
                  <a:gd name="T23" fmla="*/ 4 h 44"/>
                  <a:gd name="T24" fmla="*/ 0 w 45"/>
                  <a:gd name="T25" fmla="*/ 4 h 44"/>
                  <a:gd name="T26" fmla="*/ 2 w 45"/>
                  <a:gd name="T27" fmla="*/ 4 h 44"/>
                  <a:gd name="T28" fmla="*/ 2 w 45"/>
                  <a:gd name="T29" fmla="*/ 1 h 4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5" h="44">
                    <a:moveTo>
                      <a:pt x="10" y="6"/>
                    </a:moveTo>
                    <a:lnTo>
                      <a:pt x="21" y="3"/>
                    </a:lnTo>
                    <a:lnTo>
                      <a:pt x="28" y="0"/>
                    </a:lnTo>
                    <a:lnTo>
                      <a:pt x="36" y="9"/>
                    </a:lnTo>
                    <a:lnTo>
                      <a:pt x="42" y="16"/>
                    </a:lnTo>
                    <a:lnTo>
                      <a:pt x="44" y="31"/>
                    </a:lnTo>
                    <a:lnTo>
                      <a:pt x="45" y="31"/>
                    </a:lnTo>
                    <a:lnTo>
                      <a:pt x="35" y="33"/>
                    </a:lnTo>
                    <a:lnTo>
                      <a:pt x="25" y="35"/>
                    </a:lnTo>
                    <a:lnTo>
                      <a:pt x="10" y="44"/>
                    </a:lnTo>
                    <a:lnTo>
                      <a:pt x="11" y="26"/>
                    </a:lnTo>
                    <a:lnTo>
                      <a:pt x="0" y="19"/>
                    </a:lnTo>
                    <a:lnTo>
                      <a:pt x="1" y="18"/>
                    </a:lnTo>
                    <a:lnTo>
                      <a:pt x="9" y="16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 w="4826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</p:grpSp>
        <p:pic>
          <p:nvPicPr>
            <p:cNvPr id="727" name="Picture 31">
              <a:extLst>
                <a:ext uri="{FF2B5EF4-FFF2-40B4-BE49-F238E27FC236}">
                  <a16:creationId xmlns:a16="http://schemas.microsoft.com/office/drawing/2014/main" id="{A095F289-2045-493D-7232-F6A04631F5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419722" y="1542738"/>
              <a:ext cx="756671" cy="1790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8" name="Picture 32">
              <a:extLst>
                <a:ext uri="{FF2B5EF4-FFF2-40B4-BE49-F238E27FC236}">
                  <a16:creationId xmlns:a16="http://schemas.microsoft.com/office/drawing/2014/main" id="{36D63C56-B583-12F7-C4A2-E23C507716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87081" y="2337456"/>
              <a:ext cx="503322" cy="1500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9" name="Picture 33">
              <a:extLst>
                <a:ext uri="{FF2B5EF4-FFF2-40B4-BE49-F238E27FC236}">
                  <a16:creationId xmlns:a16="http://schemas.microsoft.com/office/drawing/2014/main" id="{82BEF2C2-1E33-D3DE-5972-F55831EF58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76378" y="2751770"/>
              <a:ext cx="623714" cy="2120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0" name="Picture 34">
              <a:extLst>
                <a:ext uri="{FF2B5EF4-FFF2-40B4-BE49-F238E27FC236}">
                  <a16:creationId xmlns:a16="http://schemas.microsoft.com/office/drawing/2014/main" id="{BBE5271C-1FB6-03F9-0CC3-5A6E6766DB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2481" y="1624339"/>
              <a:ext cx="651047" cy="197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1" name="Picture 35">
              <a:extLst>
                <a:ext uri="{FF2B5EF4-FFF2-40B4-BE49-F238E27FC236}">
                  <a16:creationId xmlns:a16="http://schemas.microsoft.com/office/drawing/2014/main" id="{8C18F528-2573-B542-BA2D-A53CE8E689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28993" y="2964565"/>
              <a:ext cx="668017" cy="936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2" name="Picture 37">
              <a:extLst>
                <a:ext uri="{FF2B5EF4-FFF2-40B4-BE49-F238E27FC236}">
                  <a16:creationId xmlns:a16="http://schemas.microsoft.com/office/drawing/2014/main" id="{E72A1480-2075-9864-2122-D3D9898B06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263604" y="2001521"/>
              <a:ext cx="755346" cy="970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3" name="Picture 38">
              <a:extLst>
                <a:ext uri="{FF2B5EF4-FFF2-40B4-BE49-F238E27FC236}">
                  <a16:creationId xmlns:a16="http://schemas.microsoft.com/office/drawing/2014/main" id="{F1375FB5-79A4-4FA2-0FE2-9953D9A525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96345" y="1313342"/>
              <a:ext cx="377201" cy="2173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4" name="Picture 40">
              <a:extLst>
                <a:ext uri="{FF2B5EF4-FFF2-40B4-BE49-F238E27FC236}">
                  <a16:creationId xmlns:a16="http://schemas.microsoft.com/office/drawing/2014/main" id="{A0A8EB99-F5A6-42A8-3EFA-E9A4F0523B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218700" y="2063423"/>
              <a:ext cx="471055" cy="157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5" name="Picture 41">
              <a:extLst>
                <a:ext uri="{FF2B5EF4-FFF2-40B4-BE49-F238E27FC236}">
                  <a16:creationId xmlns:a16="http://schemas.microsoft.com/office/drawing/2014/main" id="{E9F6E37A-8506-1B01-A888-95238E6D65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423225" y="1852451"/>
              <a:ext cx="341279" cy="1763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6" name="Picture 42">
              <a:extLst>
                <a:ext uri="{FF2B5EF4-FFF2-40B4-BE49-F238E27FC236}">
                  <a16:creationId xmlns:a16="http://schemas.microsoft.com/office/drawing/2014/main" id="{7D276028-1F76-6867-F802-B747FD6BC3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51037" y="3072069"/>
              <a:ext cx="649055" cy="1477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7" name="Picture 44">
              <a:extLst>
                <a:ext uri="{FF2B5EF4-FFF2-40B4-BE49-F238E27FC236}">
                  <a16:creationId xmlns:a16="http://schemas.microsoft.com/office/drawing/2014/main" id="{70F9A837-B046-2C98-A67A-1DD6F5E386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758119" y="2413563"/>
              <a:ext cx="744845" cy="191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8" name="Picture 45">
              <a:extLst>
                <a:ext uri="{FF2B5EF4-FFF2-40B4-BE49-F238E27FC236}">
                  <a16:creationId xmlns:a16="http://schemas.microsoft.com/office/drawing/2014/main" id="{62022302-5857-5CE2-2148-19E91944AB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449020" y="2213520"/>
              <a:ext cx="579711" cy="187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9" name="Picture 46">
              <a:extLst>
                <a:ext uri="{FF2B5EF4-FFF2-40B4-BE49-F238E27FC236}">
                  <a16:creationId xmlns:a16="http://schemas.microsoft.com/office/drawing/2014/main" id="{F4B83BE0-FBC2-1326-97C9-7621596836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176049" y="2014567"/>
              <a:ext cx="713395" cy="153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0" name="Picture 67">
              <a:extLst>
                <a:ext uri="{FF2B5EF4-FFF2-40B4-BE49-F238E27FC236}">
                  <a16:creationId xmlns:a16="http://schemas.microsoft.com/office/drawing/2014/main" id="{20F25A6A-0C37-F62A-F9DA-F57DEA31AE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232115" y="2301521"/>
              <a:ext cx="480407" cy="2702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1" name="Picture 54">
              <a:extLst>
                <a:ext uri="{FF2B5EF4-FFF2-40B4-BE49-F238E27FC236}">
                  <a16:creationId xmlns:a16="http://schemas.microsoft.com/office/drawing/2014/main" id="{A2D68367-E27C-853C-D1D1-A2B947ECE8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633206" y="2173677"/>
              <a:ext cx="520052" cy="76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2" name="Picture 69">
              <a:extLst>
                <a:ext uri="{FF2B5EF4-FFF2-40B4-BE49-F238E27FC236}">
                  <a16:creationId xmlns:a16="http://schemas.microsoft.com/office/drawing/2014/main" id="{06F4CFEE-BF17-06D5-4A4D-E52195BC41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521977" y="2504886"/>
              <a:ext cx="601083" cy="1717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3" name="Picture 73">
              <a:extLst>
                <a:ext uri="{FF2B5EF4-FFF2-40B4-BE49-F238E27FC236}">
                  <a16:creationId xmlns:a16="http://schemas.microsoft.com/office/drawing/2014/main" id="{830C1FF5-7100-F977-280D-BDD7672801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724327" y="3599840"/>
              <a:ext cx="239095" cy="1366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4" name="Picture 77">
              <a:extLst>
                <a:ext uri="{FF2B5EF4-FFF2-40B4-BE49-F238E27FC236}">
                  <a16:creationId xmlns:a16="http://schemas.microsoft.com/office/drawing/2014/main" id="{348D98ED-DE0A-DAE8-FD61-879A266145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537594" y="3380533"/>
              <a:ext cx="342218" cy="913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5" name="Picture 81">
              <a:extLst>
                <a:ext uri="{FF2B5EF4-FFF2-40B4-BE49-F238E27FC236}">
                  <a16:creationId xmlns:a16="http://schemas.microsoft.com/office/drawing/2014/main" id="{7270C701-D3FD-6698-E425-9F6C02871D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22969" y="4161101"/>
              <a:ext cx="386185" cy="1549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6" name="Rechteck 745">
              <a:extLst>
                <a:ext uri="{FF2B5EF4-FFF2-40B4-BE49-F238E27FC236}">
                  <a16:creationId xmlns:a16="http://schemas.microsoft.com/office/drawing/2014/main" id="{B890CF1A-C7B5-13A7-22A5-648E93E8A57C}"/>
                </a:ext>
              </a:extLst>
            </p:cNvPr>
            <p:cNvSpPr/>
            <p:nvPr/>
          </p:nvSpPr>
          <p:spPr bwMode="gray">
            <a:xfrm>
              <a:off x="6227190" y="2865822"/>
              <a:ext cx="2521274" cy="193817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BDB9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/>
            </a:p>
          </p:txBody>
        </p:sp>
        <p:grpSp>
          <p:nvGrpSpPr>
            <p:cNvPr id="747" name="Gruppieren 746">
              <a:extLst>
                <a:ext uri="{FF2B5EF4-FFF2-40B4-BE49-F238E27FC236}">
                  <a16:creationId xmlns:a16="http://schemas.microsoft.com/office/drawing/2014/main" id="{F378B6C3-4A99-F479-F2DA-37AD89FBDA23}"/>
                </a:ext>
              </a:extLst>
            </p:cNvPr>
            <p:cNvGrpSpPr/>
            <p:nvPr/>
          </p:nvGrpSpPr>
          <p:grpSpPr bwMode="gray">
            <a:xfrm>
              <a:off x="6592733" y="2884279"/>
              <a:ext cx="2133894" cy="1805903"/>
              <a:chOff x="5245893" y="1395244"/>
              <a:chExt cx="1944292" cy="1645444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748" name="Freeform 34">
                <a:extLst>
                  <a:ext uri="{FF2B5EF4-FFF2-40B4-BE49-F238E27FC236}">
                    <a16:creationId xmlns:a16="http://schemas.microsoft.com/office/drawing/2014/main" id="{6ADBE2CD-530C-79F1-1E33-9238B30DD5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61547" y="1400007"/>
                <a:ext cx="528638" cy="1187053"/>
              </a:xfrm>
              <a:custGeom>
                <a:avLst/>
                <a:gdLst>
                  <a:gd name="T0" fmla="*/ 636745 w 1066"/>
                  <a:gd name="T1" fmla="*/ 27118 h 2393"/>
                  <a:gd name="T2" fmla="*/ 605007 w 1066"/>
                  <a:gd name="T3" fmla="*/ 131619 h 2393"/>
                  <a:gd name="T4" fmla="*/ 546160 w 1066"/>
                  <a:gd name="T5" fmla="*/ 158075 h 2393"/>
                  <a:gd name="T6" fmla="*/ 591783 w 1066"/>
                  <a:gd name="T7" fmla="*/ 235459 h 2393"/>
                  <a:gd name="T8" fmla="*/ 427803 w 1066"/>
                  <a:gd name="T9" fmla="*/ 64156 h 2393"/>
                  <a:gd name="T10" fmla="*/ 177204 w 1066"/>
                  <a:gd name="T11" fmla="*/ 1984 h 2393"/>
                  <a:gd name="T12" fmla="*/ 219522 w 1066"/>
                  <a:gd name="T13" fmla="*/ 163367 h 2393"/>
                  <a:gd name="T14" fmla="*/ 278369 w 1066"/>
                  <a:gd name="T15" fmla="*/ 271837 h 2393"/>
                  <a:gd name="T16" fmla="*/ 267790 w 1066"/>
                  <a:gd name="T17" fmla="*/ 349221 h 2393"/>
                  <a:gd name="T18" fmla="*/ 206959 w 1066"/>
                  <a:gd name="T19" fmla="*/ 422636 h 2393"/>
                  <a:gd name="T20" fmla="*/ 206959 w 1066"/>
                  <a:gd name="T21" fmla="*/ 439833 h 2393"/>
                  <a:gd name="T22" fmla="*/ 228779 w 1066"/>
                  <a:gd name="T23" fmla="*/ 485470 h 2393"/>
                  <a:gd name="T24" fmla="*/ 286304 w 1066"/>
                  <a:gd name="T25" fmla="*/ 532429 h 2393"/>
                  <a:gd name="T26" fmla="*/ 230101 w 1066"/>
                  <a:gd name="T27" fmla="*/ 511264 h 2393"/>
                  <a:gd name="T28" fmla="*/ 205636 w 1066"/>
                  <a:gd name="T29" fmla="*/ 537059 h 2393"/>
                  <a:gd name="T30" fmla="*/ 165964 w 1066"/>
                  <a:gd name="T31" fmla="*/ 582696 h 2393"/>
                  <a:gd name="T32" fmla="*/ 204314 w 1066"/>
                  <a:gd name="T33" fmla="*/ 646191 h 2393"/>
                  <a:gd name="T34" fmla="*/ 219522 w 1066"/>
                  <a:gd name="T35" fmla="*/ 701087 h 2393"/>
                  <a:gd name="T36" fmla="*/ 235391 w 1066"/>
                  <a:gd name="T37" fmla="*/ 761936 h 2393"/>
                  <a:gd name="T38" fmla="*/ 184478 w 1066"/>
                  <a:gd name="T39" fmla="*/ 795006 h 2393"/>
                  <a:gd name="T40" fmla="*/ 171253 w 1066"/>
                  <a:gd name="T41" fmla="*/ 836013 h 2393"/>
                  <a:gd name="T42" fmla="*/ 146127 w 1066"/>
                  <a:gd name="T43" fmla="*/ 918027 h 2393"/>
                  <a:gd name="T44" fmla="*/ 89263 w 1066"/>
                  <a:gd name="T45" fmla="*/ 943822 h 2393"/>
                  <a:gd name="T46" fmla="*/ 62154 w 1066"/>
                  <a:gd name="T47" fmla="*/ 978876 h 2393"/>
                  <a:gd name="T48" fmla="*/ 48268 w 1066"/>
                  <a:gd name="T49" fmla="*/ 1080732 h 2393"/>
                  <a:gd name="T50" fmla="*/ 89263 w 1066"/>
                  <a:gd name="T51" fmla="*/ 1168037 h 2393"/>
                  <a:gd name="T52" fmla="*/ 13885 w 1066"/>
                  <a:gd name="T53" fmla="*/ 1302964 h 2393"/>
                  <a:gd name="T54" fmla="*/ 42979 w 1066"/>
                  <a:gd name="T55" fmla="*/ 1359844 h 2393"/>
                  <a:gd name="T56" fmla="*/ 99843 w 1066"/>
                  <a:gd name="T57" fmla="*/ 1357860 h 2393"/>
                  <a:gd name="T58" fmla="*/ 163980 w 1066"/>
                  <a:gd name="T59" fmla="*/ 1361828 h 2393"/>
                  <a:gd name="T60" fmla="*/ 239358 w 1066"/>
                  <a:gd name="T61" fmla="*/ 1336695 h 2393"/>
                  <a:gd name="T62" fmla="*/ 298867 w 1066"/>
                  <a:gd name="T63" fmla="*/ 1404158 h 2393"/>
                  <a:gd name="T64" fmla="*/ 318703 w 1066"/>
                  <a:gd name="T65" fmla="*/ 1471621 h 2393"/>
                  <a:gd name="T66" fmla="*/ 366972 w 1066"/>
                  <a:gd name="T67" fmla="*/ 1525195 h 2393"/>
                  <a:gd name="T68" fmla="*/ 417224 w 1066"/>
                  <a:gd name="T69" fmla="*/ 1501384 h 2393"/>
                  <a:gd name="T70" fmla="*/ 425158 w 1066"/>
                  <a:gd name="T71" fmla="*/ 1479558 h 2393"/>
                  <a:gd name="T72" fmla="*/ 454251 w 1066"/>
                  <a:gd name="T73" fmla="*/ 1455086 h 2393"/>
                  <a:gd name="T74" fmla="*/ 470120 w 1066"/>
                  <a:gd name="T75" fmla="*/ 1427969 h 2393"/>
                  <a:gd name="T76" fmla="*/ 513099 w 1066"/>
                  <a:gd name="T77" fmla="*/ 1425985 h 2393"/>
                  <a:gd name="T78" fmla="*/ 516405 w 1066"/>
                  <a:gd name="T79" fmla="*/ 1443181 h 2393"/>
                  <a:gd name="T80" fmla="*/ 572608 w 1066"/>
                  <a:gd name="T81" fmla="*/ 1435906 h 2393"/>
                  <a:gd name="T82" fmla="*/ 538886 w 1066"/>
                  <a:gd name="T83" fmla="*/ 1492786 h 2393"/>
                  <a:gd name="T84" fmla="*/ 577236 w 1066"/>
                  <a:gd name="T85" fmla="*/ 1517920 h 2393"/>
                  <a:gd name="T86" fmla="*/ 591122 w 1066"/>
                  <a:gd name="T87" fmla="*/ 1572816 h 2393"/>
                  <a:gd name="T88" fmla="*/ 640051 w 1066"/>
                  <a:gd name="T89" fmla="*/ 1545037 h 2393"/>
                  <a:gd name="T90" fmla="*/ 687659 w 1066"/>
                  <a:gd name="T91" fmla="*/ 1513290 h 2393"/>
                  <a:gd name="T92" fmla="*/ 677740 w 1066"/>
                  <a:gd name="T93" fmla="*/ 1493448 h 2393"/>
                  <a:gd name="T94" fmla="*/ 640051 w 1066"/>
                  <a:gd name="T95" fmla="*/ 1449134 h 2393"/>
                  <a:gd name="T96" fmla="*/ 585171 w 1066"/>
                  <a:gd name="T97" fmla="*/ 1422016 h 2393"/>
                  <a:gd name="T98" fmla="*/ 698899 w 1066"/>
                  <a:gd name="T99" fmla="*/ 1384978 h 2393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066" h="2393">
                    <a:moveTo>
                      <a:pt x="1060" y="2094"/>
                    </a:moveTo>
                    <a:lnTo>
                      <a:pt x="1063" y="0"/>
                    </a:lnTo>
                    <a:lnTo>
                      <a:pt x="1012" y="0"/>
                    </a:lnTo>
                    <a:lnTo>
                      <a:pt x="963" y="41"/>
                    </a:lnTo>
                    <a:lnTo>
                      <a:pt x="1058" y="165"/>
                    </a:lnTo>
                    <a:lnTo>
                      <a:pt x="1042" y="202"/>
                    </a:lnTo>
                    <a:lnTo>
                      <a:pt x="991" y="217"/>
                    </a:lnTo>
                    <a:lnTo>
                      <a:pt x="915" y="199"/>
                    </a:lnTo>
                    <a:lnTo>
                      <a:pt x="883" y="191"/>
                    </a:lnTo>
                    <a:lnTo>
                      <a:pt x="839" y="180"/>
                    </a:lnTo>
                    <a:lnTo>
                      <a:pt x="811" y="206"/>
                    </a:lnTo>
                    <a:lnTo>
                      <a:pt x="826" y="239"/>
                    </a:lnTo>
                    <a:lnTo>
                      <a:pt x="859" y="257"/>
                    </a:lnTo>
                    <a:lnTo>
                      <a:pt x="931" y="250"/>
                    </a:lnTo>
                    <a:lnTo>
                      <a:pt x="955" y="341"/>
                    </a:lnTo>
                    <a:lnTo>
                      <a:pt x="895" y="356"/>
                    </a:lnTo>
                    <a:lnTo>
                      <a:pt x="815" y="330"/>
                    </a:lnTo>
                    <a:lnTo>
                      <a:pt x="728" y="290"/>
                    </a:lnTo>
                    <a:lnTo>
                      <a:pt x="695" y="254"/>
                    </a:lnTo>
                    <a:lnTo>
                      <a:pt x="647" y="97"/>
                    </a:lnTo>
                    <a:lnTo>
                      <a:pt x="611" y="49"/>
                    </a:lnTo>
                    <a:lnTo>
                      <a:pt x="540" y="5"/>
                    </a:lnTo>
                    <a:lnTo>
                      <a:pt x="541" y="3"/>
                    </a:lnTo>
                    <a:lnTo>
                      <a:pt x="268" y="3"/>
                    </a:lnTo>
                    <a:lnTo>
                      <a:pt x="283" y="57"/>
                    </a:lnTo>
                    <a:lnTo>
                      <a:pt x="309" y="105"/>
                    </a:lnTo>
                    <a:lnTo>
                      <a:pt x="303" y="180"/>
                    </a:lnTo>
                    <a:lnTo>
                      <a:pt x="332" y="247"/>
                    </a:lnTo>
                    <a:lnTo>
                      <a:pt x="339" y="308"/>
                    </a:lnTo>
                    <a:lnTo>
                      <a:pt x="352" y="336"/>
                    </a:lnTo>
                    <a:lnTo>
                      <a:pt x="403" y="373"/>
                    </a:lnTo>
                    <a:lnTo>
                      <a:pt x="421" y="411"/>
                    </a:lnTo>
                    <a:lnTo>
                      <a:pt x="421" y="444"/>
                    </a:lnTo>
                    <a:lnTo>
                      <a:pt x="405" y="501"/>
                    </a:lnTo>
                    <a:lnTo>
                      <a:pt x="398" y="513"/>
                    </a:lnTo>
                    <a:lnTo>
                      <a:pt x="405" y="528"/>
                    </a:lnTo>
                    <a:lnTo>
                      <a:pt x="386" y="559"/>
                    </a:lnTo>
                    <a:lnTo>
                      <a:pt x="356" y="572"/>
                    </a:lnTo>
                    <a:lnTo>
                      <a:pt x="350" y="590"/>
                    </a:lnTo>
                    <a:lnTo>
                      <a:pt x="313" y="639"/>
                    </a:lnTo>
                    <a:lnTo>
                      <a:pt x="280" y="655"/>
                    </a:lnTo>
                    <a:lnTo>
                      <a:pt x="274" y="686"/>
                    </a:lnTo>
                    <a:lnTo>
                      <a:pt x="296" y="684"/>
                    </a:lnTo>
                    <a:lnTo>
                      <a:pt x="313" y="665"/>
                    </a:lnTo>
                    <a:lnTo>
                      <a:pt x="326" y="669"/>
                    </a:lnTo>
                    <a:lnTo>
                      <a:pt x="334" y="687"/>
                    </a:lnTo>
                    <a:lnTo>
                      <a:pt x="311" y="702"/>
                    </a:lnTo>
                    <a:lnTo>
                      <a:pt x="346" y="734"/>
                    </a:lnTo>
                    <a:lnTo>
                      <a:pt x="366" y="732"/>
                    </a:lnTo>
                    <a:lnTo>
                      <a:pt x="390" y="746"/>
                    </a:lnTo>
                    <a:lnTo>
                      <a:pt x="421" y="773"/>
                    </a:lnTo>
                    <a:lnTo>
                      <a:pt x="433" y="805"/>
                    </a:lnTo>
                    <a:lnTo>
                      <a:pt x="391" y="776"/>
                    </a:lnTo>
                    <a:lnTo>
                      <a:pt x="370" y="761"/>
                    </a:lnTo>
                    <a:lnTo>
                      <a:pt x="345" y="758"/>
                    </a:lnTo>
                    <a:lnTo>
                      <a:pt x="348" y="773"/>
                    </a:lnTo>
                    <a:lnTo>
                      <a:pt x="326" y="766"/>
                    </a:lnTo>
                    <a:lnTo>
                      <a:pt x="303" y="766"/>
                    </a:lnTo>
                    <a:lnTo>
                      <a:pt x="307" y="795"/>
                    </a:lnTo>
                    <a:lnTo>
                      <a:pt x="311" y="812"/>
                    </a:lnTo>
                    <a:lnTo>
                      <a:pt x="303" y="849"/>
                    </a:lnTo>
                    <a:lnTo>
                      <a:pt x="291" y="859"/>
                    </a:lnTo>
                    <a:lnTo>
                      <a:pt x="255" y="859"/>
                    </a:lnTo>
                    <a:lnTo>
                      <a:pt x="251" y="881"/>
                    </a:lnTo>
                    <a:lnTo>
                      <a:pt x="270" y="903"/>
                    </a:lnTo>
                    <a:lnTo>
                      <a:pt x="283" y="941"/>
                    </a:lnTo>
                    <a:lnTo>
                      <a:pt x="309" y="958"/>
                    </a:lnTo>
                    <a:lnTo>
                      <a:pt x="309" y="977"/>
                    </a:lnTo>
                    <a:lnTo>
                      <a:pt x="298" y="989"/>
                    </a:lnTo>
                    <a:lnTo>
                      <a:pt x="301" y="1002"/>
                    </a:lnTo>
                    <a:lnTo>
                      <a:pt x="311" y="1014"/>
                    </a:lnTo>
                    <a:lnTo>
                      <a:pt x="332" y="1060"/>
                    </a:lnTo>
                    <a:lnTo>
                      <a:pt x="353" y="1079"/>
                    </a:lnTo>
                    <a:lnTo>
                      <a:pt x="370" y="1086"/>
                    </a:lnTo>
                    <a:lnTo>
                      <a:pt x="376" y="1129"/>
                    </a:lnTo>
                    <a:lnTo>
                      <a:pt x="356" y="1152"/>
                    </a:lnTo>
                    <a:lnTo>
                      <a:pt x="329" y="1178"/>
                    </a:lnTo>
                    <a:lnTo>
                      <a:pt x="317" y="1197"/>
                    </a:lnTo>
                    <a:lnTo>
                      <a:pt x="303" y="1203"/>
                    </a:lnTo>
                    <a:lnTo>
                      <a:pt x="279" y="1202"/>
                    </a:lnTo>
                    <a:lnTo>
                      <a:pt x="269" y="1213"/>
                    </a:lnTo>
                    <a:lnTo>
                      <a:pt x="276" y="1222"/>
                    </a:lnTo>
                    <a:lnTo>
                      <a:pt x="280" y="1261"/>
                    </a:lnTo>
                    <a:lnTo>
                      <a:pt x="259" y="1264"/>
                    </a:lnTo>
                    <a:lnTo>
                      <a:pt x="239" y="1280"/>
                    </a:lnTo>
                    <a:lnTo>
                      <a:pt x="235" y="1305"/>
                    </a:lnTo>
                    <a:lnTo>
                      <a:pt x="227" y="1326"/>
                    </a:lnTo>
                    <a:lnTo>
                      <a:pt x="221" y="1388"/>
                    </a:lnTo>
                    <a:lnTo>
                      <a:pt x="194" y="1387"/>
                    </a:lnTo>
                    <a:lnTo>
                      <a:pt x="174" y="1393"/>
                    </a:lnTo>
                    <a:lnTo>
                      <a:pt x="157" y="1414"/>
                    </a:lnTo>
                    <a:lnTo>
                      <a:pt x="135" y="1427"/>
                    </a:lnTo>
                    <a:lnTo>
                      <a:pt x="111" y="1414"/>
                    </a:lnTo>
                    <a:lnTo>
                      <a:pt x="83" y="1419"/>
                    </a:lnTo>
                    <a:lnTo>
                      <a:pt x="80" y="1447"/>
                    </a:lnTo>
                    <a:lnTo>
                      <a:pt x="94" y="1480"/>
                    </a:lnTo>
                    <a:lnTo>
                      <a:pt x="101" y="1531"/>
                    </a:lnTo>
                    <a:lnTo>
                      <a:pt x="63" y="1579"/>
                    </a:lnTo>
                    <a:lnTo>
                      <a:pt x="80" y="1602"/>
                    </a:lnTo>
                    <a:lnTo>
                      <a:pt x="73" y="1634"/>
                    </a:lnTo>
                    <a:lnTo>
                      <a:pt x="75" y="1665"/>
                    </a:lnTo>
                    <a:lnTo>
                      <a:pt x="93" y="1678"/>
                    </a:lnTo>
                    <a:lnTo>
                      <a:pt x="118" y="1715"/>
                    </a:lnTo>
                    <a:lnTo>
                      <a:pt x="135" y="1766"/>
                    </a:lnTo>
                    <a:lnTo>
                      <a:pt x="132" y="1796"/>
                    </a:lnTo>
                    <a:lnTo>
                      <a:pt x="42" y="1873"/>
                    </a:lnTo>
                    <a:lnTo>
                      <a:pt x="60" y="1932"/>
                    </a:lnTo>
                    <a:lnTo>
                      <a:pt x="21" y="1970"/>
                    </a:lnTo>
                    <a:lnTo>
                      <a:pt x="0" y="1987"/>
                    </a:lnTo>
                    <a:lnTo>
                      <a:pt x="0" y="2011"/>
                    </a:lnTo>
                    <a:lnTo>
                      <a:pt x="29" y="2056"/>
                    </a:lnTo>
                    <a:lnTo>
                      <a:pt x="65" y="2056"/>
                    </a:lnTo>
                    <a:lnTo>
                      <a:pt x="79" y="2061"/>
                    </a:lnTo>
                    <a:lnTo>
                      <a:pt x="105" y="2047"/>
                    </a:lnTo>
                    <a:lnTo>
                      <a:pt x="132" y="2043"/>
                    </a:lnTo>
                    <a:lnTo>
                      <a:pt x="151" y="2053"/>
                    </a:lnTo>
                    <a:lnTo>
                      <a:pt x="177" y="2051"/>
                    </a:lnTo>
                    <a:lnTo>
                      <a:pt x="211" y="2040"/>
                    </a:lnTo>
                    <a:lnTo>
                      <a:pt x="231" y="2045"/>
                    </a:lnTo>
                    <a:lnTo>
                      <a:pt x="248" y="2059"/>
                    </a:lnTo>
                    <a:lnTo>
                      <a:pt x="273" y="2060"/>
                    </a:lnTo>
                    <a:lnTo>
                      <a:pt x="301" y="2041"/>
                    </a:lnTo>
                    <a:lnTo>
                      <a:pt x="343" y="2040"/>
                    </a:lnTo>
                    <a:lnTo>
                      <a:pt x="362" y="2021"/>
                    </a:lnTo>
                    <a:lnTo>
                      <a:pt x="388" y="2028"/>
                    </a:lnTo>
                    <a:lnTo>
                      <a:pt x="410" y="2070"/>
                    </a:lnTo>
                    <a:lnTo>
                      <a:pt x="438" y="2089"/>
                    </a:lnTo>
                    <a:lnTo>
                      <a:pt x="452" y="2123"/>
                    </a:lnTo>
                    <a:lnTo>
                      <a:pt x="477" y="2149"/>
                    </a:lnTo>
                    <a:lnTo>
                      <a:pt x="484" y="2171"/>
                    </a:lnTo>
                    <a:lnTo>
                      <a:pt x="482" y="2201"/>
                    </a:lnTo>
                    <a:lnTo>
                      <a:pt x="482" y="2225"/>
                    </a:lnTo>
                    <a:lnTo>
                      <a:pt x="502" y="2251"/>
                    </a:lnTo>
                    <a:lnTo>
                      <a:pt x="507" y="2295"/>
                    </a:lnTo>
                    <a:lnTo>
                      <a:pt x="524" y="2302"/>
                    </a:lnTo>
                    <a:lnTo>
                      <a:pt x="555" y="2306"/>
                    </a:lnTo>
                    <a:lnTo>
                      <a:pt x="595" y="2299"/>
                    </a:lnTo>
                    <a:lnTo>
                      <a:pt x="634" y="2306"/>
                    </a:lnTo>
                    <a:lnTo>
                      <a:pt x="660" y="2290"/>
                    </a:lnTo>
                    <a:lnTo>
                      <a:pt x="631" y="2270"/>
                    </a:lnTo>
                    <a:lnTo>
                      <a:pt x="621" y="2231"/>
                    </a:lnTo>
                    <a:lnTo>
                      <a:pt x="652" y="2266"/>
                    </a:lnTo>
                    <a:lnTo>
                      <a:pt x="662" y="2258"/>
                    </a:lnTo>
                    <a:lnTo>
                      <a:pt x="643" y="2237"/>
                    </a:lnTo>
                    <a:lnTo>
                      <a:pt x="667" y="2248"/>
                    </a:lnTo>
                    <a:lnTo>
                      <a:pt x="687" y="2235"/>
                    </a:lnTo>
                    <a:lnTo>
                      <a:pt x="697" y="2215"/>
                    </a:lnTo>
                    <a:lnTo>
                      <a:pt x="687" y="2200"/>
                    </a:lnTo>
                    <a:lnTo>
                      <a:pt x="662" y="2185"/>
                    </a:lnTo>
                    <a:lnTo>
                      <a:pt x="696" y="2188"/>
                    </a:lnTo>
                    <a:lnTo>
                      <a:pt x="695" y="2167"/>
                    </a:lnTo>
                    <a:lnTo>
                      <a:pt x="711" y="2159"/>
                    </a:lnTo>
                    <a:lnTo>
                      <a:pt x="730" y="2140"/>
                    </a:lnTo>
                    <a:lnTo>
                      <a:pt x="741" y="2138"/>
                    </a:lnTo>
                    <a:lnTo>
                      <a:pt x="759" y="2137"/>
                    </a:lnTo>
                    <a:lnTo>
                      <a:pt x="776" y="2156"/>
                    </a:lnTo>
                    <a:lnTo>
                      <a:pt x="741" y="2167"/>
                    </a:lnTo>
                    <a:lnTo>
                      <a:pt x="742" y="2180"/>
                    </a:lnTo>
                    <a:lnTo>
                      <a:pt x="777" y="2191"/>
                    </a:lnTo>
                    <a:lnTo>
                      <a:pt x="781" y="2182"/>
                    </a:lnTo>
                    <a:lnTo>
                      <a:pt x="801" y="2187"/>
                    </a:lnTo>
                    <a:lnTo>
                      <a:pt x="823" y="2181"/>
                    </a:lnTo>
                    <a:lnTo>
                      <a:pt x="849" y="2175"/>
                    </a:lnTo>
                    <a:lnTo>
                      <a:pt x="866" y="2171"/>
                    </a:lnTo>
                    <a:lnTo>
                      <a:pt x="873" y="2190"/>
                    </a:lnTo>
                    <a:lnTo>
                      <a:pt x="840" y="2211"/>
                    </a:lnTo>
                    <a:lnTo>
                      <a:pt x="831" y="2238"/>
                    </a:lnTo>
                    <a:lnTo>
                      <a:pt x="815" y="2257"/>
                    </a:lnTo>
                    <a:lnTo>
                      <a:pt x="811" y="2284"/>
                    </a:lnTo>
                    <a:lnTo>
                      <a:pt x="839" y="2293"/>
                    </a:lnTo>
                    <a:lnTo>
                      <a:pt x="854" y="2295"/>
                    </a:lnTo>
                    <a:lnTo>
                      <a:pt x="873" y="2295"/>
                    </a:lnTo>
                    <a:lnTo>
                      <a:pt x="887" y="2299"/>
                    </a:lnTo>
                    <a:lnTo>
                      <a:pt x="894" y="2320"/>
                    </a:lnTo>
                    <a:lnTo>
                      <a:pt x="902" y="2338"/>
                    </a:lnTo>
                    <a:lnTo>
                      <a:pt x="894" y="2378"/>
                    </a:lnTo>
                    <a:lnTo>
                      <a:pt x="929" y="2393"/>
                    </a:lnTo>
                    <a:lnTo>
                      <a:pt x="942" y="2382"/>
                    </a:lnTo>
                    <a:lnTo>
                      <a:pt x="956" y="2361"/>
                    </a:lnTo>
                    <a:lnTo>
                      <a:pt x="968" y="2336"/>
                    </a:lnTo>
                    <a:lnTo>
                      <a:pt x="991" y="2324"/>
                    </a:lnTo>
                    <a:lnTo>
                      <a:pt x="1015" y="2309"/>
                    </a:lnTo>
                    <a:lnTo>
                      <a:pt x="1028" y="2283"/>
                    </a:lnTo>
                    <a:lnTo>
                      <a:pt x="1040" y="2288"/>
                    </a:lnTo>
                    <a:lnTo>
                      <a:pt x="1054" y="2294"/>
                    </a:lnTo>
                    <a:lnTo>
                      <a:pt x="1066" y="2245"/>
                    </a:lnTo>
                    <a:lnTo>
                      <a:pt x="1050" y="2258"/>
                    </a:lnTo>
                    <a:lnTo>
                      <a:pt x="1025" y="2258"/>
                    </a:lnTo>
                    <a:lnTo>
                      <a:pt x="1005" y="2250"/>
                    </a:lnTo>
                    <a:lnTo>
                      <a:pt x="998" y="2222"/>
                    </a:lnTo>
                    <a:lnTo>
                      <a:pt x="981" y="2203"/>
                    </a:lnTo>
                    <a:lnTo>
                      <a:pt x="968" y="2191"/>
                    </a:lnTo>
                    <a:lnTo>
                      <a:pt x="960" y="2187"/>
                    </a:lnTo>
                    <a:lnTo>
                      <a:pt x="946" y="2178"/>
                    </a:lnTo>
                    <a:lnTo>
                      <a:pt x="911" y="2175"/>
                    </a:lnTo>
                    <a:lnTo>
                      <a:pt x="885" y="2150"/>
                    </a:lnTo>
                    <a:lnTo>
                      <a:pt x="926" y="2146"/>
                    </a:lnTo>
                    <a:lnTo>
                      <a:pt x="961" y="2138"/>
                    </a:lnTo>
                    <a:lnTo>
                      <a:pt x="987" y="2112"/>
                    </a:lnTo>
                    <a:lnTo>
                      <a:pt x="1057" y="2094"/>
                    </a:lnTo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>
                  <a:highlight>
                    <a:srgbClr val="00FF00"/>
                  </a:highlight>
                </a:endParaRPr>
              </a:p>
            </p:txBody>
          </p:sp>
          <p:sp>
            <p:nvSpPr>
              <p:cNvPr id="749" name="Freeform 35">
                <a:extLst>
                  <a:ext uri="{FF2B5EF4-FFF2-40B4-BE49-F238E27FC236}">
                    <a16:creationId xmlns:a16="http://schemas.microsoft.com/office/drawing/2014/main" id="{A2108FA2-3714-FF41-DC59-857D9689E38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827486">
                <a:off x="6553200" y="1991747"/>
                <a:ext cx="130969" cy="94060"/>
              </a:xfrm>
              <a:custGeom>
                <a:avLst/>
                <a:gdLst>
                  <a:gd name="T0" fmla="*/ 125796 w 211"/>
                  <a:gd name="T1" fmla="*/ 52885 h 166"/>
                  <a:gd name="T2" fmla="*/ 123313 w 211"/>
                  <a:gd name="T3" fmla="*/ 55152 h 166"/>
                  <a:gd name="T4" fmla="*/ 120003 w 211"/>
                  <a:gd name="T5" fmla="*/ 52885 h 166"/>
                  <a:gd name="T6" fmla="*/ 120003 w 211"/>
                  <a:gd name="T7" fmla="*/ 49863 h 166"/>
                  <a:gd name="T8" fmla="*/ 115037 w 211"/>
                  <a:gd name="T9" fmla="*/ 49863 h 166"/>
                  <a:gd name="T10" fmla="*/ 100140 w 211"/>
                  <a:gd name="T11" fmla="*/ 47597 h 166"/>
                  <a:gd name="T12" fmla="*/ 97658 w 211"/>
                  <a:gd name="T13" fmla="*/ 44575 h 166"/>
                  <a:gd name="T14" fmla="*/ 88554 w 211"/>
                  <a:gd name="T15" fmla="*/ 44575 h 166"/>
                  <a:gd name="T16" fmla="*/ 83588 w 211"/>
                  <a:gd name="T17" fmla="*/ 42308 h 166"/>
                  <a:gd name="T18" fmla="*/ 80278 w 211"/>
                  <a:gd name="T19" fmla="*/ 37020 h 166"/>
                  <a:gd name="T20" fmla="*/ 74485 w 211"/>
                  <a:gd name="T21" fmla="*/ 44575 h 166"/>
                  <a:gd name="T22" fmla="*/ 68691 w 211"/>
                  <a:gd name="T23" fmla="*/ 47597 h 166"/>
                  <a:gd name="T24" fmla="*/ 74485 w 211"/>
                  <a:gd name="T25" fmla="*/ 57418 h 166"/>
                  <a:gd name="T26" fmla="*/ 77795 w 211"/>
                  <a:gd name="T27" fmla="*/ 67995 h 166"/>
                  <a:gd name="T28" fmla="*/ 66209 w 211"/>
                  <a:gd name="T29" fmla="*/ 76306 h 166"/>
                  <a:gd name="T30" fmla="*/ 57105 w 211"/>
                  <a:gd name="T31" fmla="*/ 76306 h 166"/>
                  <a:gd name="T32" fmla="*/ 52139 w 211"/>
                  <a:gd name="T33" fmla="*/ 73284 h 166"/>
                  <a:gd name="T34" fmla="*/ 43036 w 211"/>
                  <a:gd name="T35" fmla="*/ 73284 h 166"/>
                  <a:gd name="T36" fmla="*/ 37242 w 211"/>
                  <a:gd name="T37" fmla="*/ 73284 h 166"/>
                  <a:gd name="T38" fmla="*/ 46346 w 211"/>
                  <a:gd name="T39" fmla="*/ 60440 h 166"/>
                  <a:gd name="T40" fmla="*/ 52139 w 211"/>
                  <a:gd name="T41" fmla="*/ 55152 h 166"/>
                  <a:gd name="T42" fmla="*/ 52139 w 211"/>
                  <a:gd name="T43" fmla="*/ 47597 h 166"/>
                  <a:gd name="T44" fmla="*/ 60415 w 211"/>
                  <a:gd name="T45" fmla="*/ 37020 h 166"/>
                  <a:gd name="T46" fmla="*/ 60415 w 211"/>
                  <a:gd name="T47" fmla="*/ 18888 h 166"/>
                  <a:gd name="T48" fmla="*/ 57105 w 211"/>
                  <a:gd name="T49" fmla="*/ 3022 h 166"/>
                  <a:gd name="T50" fmla="*/ 57105 w 211"/>
                  <a:gd name="T51" fmla="*/ 5289 h 166"/>
                  <a:gd name="T52" fmla="*/ 57105 w 211"/>
                  <a:gd name="T53" fmla="*/ 33998 h 166"/>
                  <a:gd name="T54" fmla="*/ 46346 w 211"/>
                  <a:gd name="T55" fmla="*/ 55152 h 166"/>
                  <a:gd name="T56" fmla="*/ 37242 w 211"/>
                  <a:gd name="T57" fmla="*/ 67995 h 166"/>
                  <a:gd name="T58" fmla="*/ 23173 w 211"/>
                  <a:gd name="T59" fmla="*/ 76306 h 166"/>
                  <a:gd name="T60" fmla="*/ 14897 w 211"/>
                  <a:gd name="T61" fmla="*/ 76306 h 166"/>
                  <a:gd name="T62" fmla="*/ 5793 w 211"/>
                  <a:gd name="T63" fmla="*/ 78572 h 166"/>
                  <a:gd name="T64" fmla="*/ 3310 w 211"/>
                  <a:gd name="T65" fmla="*/ 78572 h 166"/>
                  <a:gd name="T66" fmla="*/ 5793 w 211"/>
                  <a:gd name="T67" fmla="*/ 89149 h 166"/>
                  <a:gd name="T68" fmla="*/ 3310 w 211"/>
                  <a:gd name="T69" fmla="*/ 105015 h 166"/>
                  <a:gd name="T70" fmla="*/ 3310 w 211"/>
                  <a:gd name="T71" fmla="*/ 107281 h 166"/>
                  <a:gd name="T72" fmla="*/ 5793 w 211"/>
                  <a:gd name="T73" fmla="*/ 99726 h 166"/>
                  <a:gd name="T74" fmla="*/ 11586 w 211"/>
                  <a:gd name="T75" fmla="*/ 99726 h 166"/>
                  <a:gd name="T76" fmla="*/ 14897 w 211"/>
                  <a:gd name="T77" fmla="*/ 101993 h 166"/>
                  <a:gd name="T78" fmla="*/ 17380 w 211"/>
                  <a:gd name="T79" fmla="*/ 101993 h 166"/>
                  <a:gd name="T80" fmla="*/ 31449 w 211"/>
                  <a:gd name="T81" fmla="*/ 99726 h 166"/>
                  <a:gd name="T82" fmla="*/ 20690 w 211"/>
                  <a:gd name="T83" fmla="*/ 107281 h 166"/>
                  <a:gd name="T84" fmla="*/ 14897 w 211"/>
                  <a:gd name="T85" fmla="*/ 112570 h 166"/>
                  <a:gd name="T86" fmla="*/ 9104 w 211"/>
                  <a:gd name="T87" fmla="*/ 120125 h 166"/>
                  <a:gd name="T88" fmla="*/ 17380 w 211"/>
                  <a:gd name="T89" fmla="*/ 125413 h 166"/>
                  <a:gd name="T90" fmla="*/ 34759 w 211"/>
                  <a:gd name="T91" fmla="*/ 125413 h 166"/>
                  <a:gd name="T92" fmla="*/ 54622 w 211"/>
                  <a:gd name="T93" fmla="*/ 125413 h 166"/>
                  <a:gd name="T94" fmla="*/ 68691 w 211"/>
                  <a:gd name="T95" fmla="*/ 123147 h 166"/>
                  <a:gd name="T96" fmla="*/ 86071 w 211"/>
                  <a:gd name="T97" fmla="*/ 123147 h 166"/>
                  <a:gd name="T98" fmla="*/ 105934 w 211"/>
                  <a:gd name="T99" fmla="*/ 120125 h 166"/>
                  <a:gd name="T100" fmla="*/ 125796 w 211"/>
                  <a:gd name="T101" fmla="*/ 117858 h 166"/>
                  <a:gd name="T102" fmla="*/ 172142 w 211"/>
                  <a:gd name="T103" fmla="*/ 107281 h 166"/>
                  <a:gd name="T104" fmla="*/ 168832 w 211"/>
                  <a:gd name="T105" fmla="*/ 99726 h 166"/>
                  <a:gd name="T106" fmla="*/ 166349 w 211"/>
                  <a:gd name="T107" fmla="*/ 89149 h 166"/>
                  <a:gd name="T108" fmla="*/ 166349 w 211"/>
                  <a:gd name="T109" fmla="*/ 78572 h 166"/>
                  <a:gd name="T110" fmla="*/ 168832 w 211"/>
                  <a:gd name="T111" fmla="*/ 71017 h 166"/>
                  <a:gd name="T112" fmla="*/ 172142 w 211"/>
                  <a:gd name="T113" fmla="*/ 62707 h 166"/>
                  <a:gd name="T114" fmla="*/ 160556 w 211"/>
                  <a:gd name="T115" fmla="*/ 55152 h 166"/>
                  <a:gd name="T116" fmla="*/ 154762 w 211"/>
                  <a:gd name="T117" fmla="*/ 55152 h 166"/>
                  <a:gd name="T118" fmla="*/ 151452 w 211"/>
                  <a:gd name="T119" fmla="*/ 44575 h 166"/>
                  <a:gd name="T120" fmla="*/ 143176 w 211"/>
                  <a:gd name="T121" fmla="*/ 49863 h 166"/>
                  <a:gd name="T122" fmla="*/ 134900 w 211"/>
                  <a:gd name="T123" fmla="*/ 49863 h 16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211" h="166">
                    <a:moveTo>
                      <a:pt x="163" y="66"/>
                    </a:moveTo>
                    <a:lnTo>
                      <a:pt x="156" y="66"/>
                    </a:lnTo>
                    <a:lnTo>
                      <a:pt x="152" y="66"/>
                    </a:lnTo>
                    <a:lnTo>
                      <a:pt x="152" y="70"/>
                    </a:lnTo>
                    <a:lnTo>
                      <a:pt x="149" y="73"/>
                    </a:lnTo>
                    <a:lnTo>
                      <a:pt x="145" y="73"/>
                    </a:lnTo>
                    <a:lnTo>
                      <a:pt x="145" y="70"/>
                    </a:lnTo>
                    <a:lnTo>
                      <a:pt x="145" y="66"/>
                    </a:lnTo>
                    <a:lnTo>
                      <a:pt x="142" y="66"/>
                    </a:lnTo>
                    <a:lnTo>
                      <a:pt x="139" y="66"/>
                    </a:lnTo>
                    <a:lnTo>
                      <a:pt x="135" y="66"/>
                    </a:lnTo>
                    <a:lnTo>
                      <a:pt x="132" y="66"/>
                    </a:lnTo>
                    <a:lnTo>
                      <a:pt x="121" y="63"/>
                    </a:lnTo>
                    <a:lnTo>
                      <a:pt x="118" y="59"/>
                    </a:lnTo>
                    <a:lnTo>
                      <a:pt x="114" y="59"/>
                    </a:lnTo>
                    <a:lnTo>
                      <a:pt x="111" y="56"/>
                    </a:lnTo>
                    <a:lnTo>
                      <a:pt x="107" y="59"/>
                    </a:lnTo>
                    <a:lnTo>
                      <a:pt x="101" y="56"/>
                    </a:lnTo>
                    <a:lnTo>
                      <a:pt x="101" y="52"/>
                    </a:lnTo>
                    <a:lnTo>
                      <a:pt x="97" y="49"/>
                    </a:lnTo>
                    <a:lnTo>
                      <a:pt x="94" y="52"/>
                    </a:lnTo>
                    <a:lnTo>
                      <a:pt x="90" y="56"/>
                    </a:lnTo>
                    <a:lnTo>
                      <a:pt x="90" y="59"/>
                    </a:lnTo>
                    <a:lnTo>
                      <a:pt x="87" y="63"/>
                    </a:lnTo>
                    <a:lnTo>
                      <a:pt x="87" y="59"/>
                    </a:lnTo>
                    <a:lnTo>
                      <a:pt x="83" y="59"/>
                    </a:lnTo>
                    <a:lnTo>
                      <a:pt x="83" y="63"/>
                    </a:lnTo>
                    <a:lnTo>
                      <a:pt x="83" y="66"/>
                    </a:lnTo>
                    <a:lnTo>
                      <a:pt x="87" y="70"/>
                    </a:lnTo>
                    <a:lnTo>
                      <a:pt x="87" y="73"/>
                    </a:lnTo>
                    <a:lnTo>
                      <a:pt x="90" y="76"/>
                    </a:lnTo>
                    <a:lnTo>
                      <a:pt x="90" y="80"/>
                    </a:lnTo>
                    <a:lnTo>
                      <a:pt x="90" y="83"/>
                    </a:lnTo>
                    <a:lnTo>
                      <a:pt x="94" y="90"/>
                    </a:lnTo>
                    <a:lnTo>
                      <a:pt x="90" y="94"/>
                    </a:lnTo>
                    <a:lnTo>
                      <a:pt x="83" y="97"/>
                    </a:lnTo>
                    <a:lnTo>
                      <a:pt x="80" y="101"/>
                    </a:lnTo>
                    <a:lnTo>
                      <a:pt x="76" y="101"/>
                    </a:lnTo>
                    <a:lnTo>
                      <a:pt x="69" y="101"/>
                    </a:lnTo>
                    <a:lnTo>
                      <a:pt x="66" y="101"/>
                    </a:lnTo>
                    <a:lnTo>
                      <a:pt x="66" y="97"/>
                    </a:lnTo>
                    <a:lnTo>
                      <a:pt x="63" y="97"/>
                    </a:lnTo>
                    <a:lnTo>
                      <a:pt x="56" y="97"/>
                    </a:lnTo>
                    <a:lnTo>
                      <a:pt x="52" y="97"/>
                    </a:lnTo>
                    <a:lnTo>
                      <a:pt x="49" y="97"/>
                    </a:lnTo>
                    <a:lnTo>
                      <a:pt x="49" y="101"/>
                    </a:lnTo>
                    <a:lnTo>
                      <a:pt x="45" y="101"/>
                    </a:lnTo>
                    <a:lnTo>
                      <a:pt x="45" y="97"/>
                    </a:lnTo>
                    <a:lnTo>
                      <a:pt x="45" y="94"/>
                    </a:lnTo>
                    <a:lnTo>
                      <a:pt x="49" y="90"/>
                    </a:lnTo>
                    <a:lnTo>
                      <a:pt x="56" y="80"/>
                    </a:lnTo>
                    <a:lnTo>
                      <a:pt x="59" y="76"/>
                    </a:lnTo>
                    <a:lnTo>
                      <a:pt x="59" y="73"/>
                    </a:lnTo>
                    <a:lnTo>
                      <a:pt x="63" y="73"/>
                    </a:lnTo>
                    <a:lnTo>
                      <a:pt x="63" y="70"/>
                    </a:lnTo>
                    <a:lnTo>
                      <a:pt x="63" y="66"/>
                    </a:lnTo>
                    <a:lnTo>
                      <a:pt x="63" y="63"/>
                    </a:lnTo>
                    <a:lnTo>
                      <a:pt x="66" y="59"/>
                    </a:lnTo>
                    <a:lnTo>
                      <a:pt x="69" y="56"/>
                    </a:lnTo>
                    <a:lnTo>
                      <a:pt x="73" y="49"/>
                    </a:lnTo>
                    <a:lnTo>
                      <a:pt x="73" y="45"/>
                    </a:lnTo>
                    <a:lnTo>
                      <a:pt x="73" y="38"/>
                    </a:lnTo>
                    <a:lnTo>
                      <a:pt x="73" y="28"/>
                    </a:lnTo>
                    <a:lnTo>
                      <a:pt x="73" y="25"/>
                    </a:lnTo>
                    <a:lnTo>
                      <a:pt x="73" y="18"/>
                    </a:lnTo>
                    <a:lnTo>
                      <a:pt x="73" y="11"/>
                    </a:lnTo>
                    <a:lnTo>
                      <a:pt x="73" y="7"/>
                    </a:lnTo>
                    <a:lnTo>
                      <a:pt x="69" y="4"/>
                    </a:lnTo>
                    <a:lnTo>
                      <a:pt x="69" y="0"/>
                    </a:lnTo>
                    <a:lnTo>
                      <a:pt x="66" y="0"/>
                    </a:lnTo>
                    <a:lnTo>
                      <a:pt x="69" y="0"/>
                    </a:lnTo>
                    <a:lnTo>
                      <a:pt x="69" y="7"/>
                    </a:lnTo>
                    <a:lnTo>
                      <a:pt x="69" y="14"/>
                    </a:lnTo>
                    <a:lnTo>
                      <a:pt x="73" y="28"/>
                    </a:lnTo>
                    <a:lnTo>
                      <a:pt x="69" y="35"/>
                    </a:lnTo>
                    <a:lnTo>
                      <a:pt x="69" y="45"/>
                    </a:lnTo>
                    <a:lnTo>
                      <a:pt x="69" y="49"/>
                    </a:lnTo>
                    <a:lnTo>
                      <a:pt x="66" y="52"/>
                    </a:lnTo>
                    <a:lnTo>
                      <a:pt x="63" y="59"/>
                    </a:lnTo>
                    <a:lnTo>
                      <a:pt x="56" y="73"/>
                    </a:lnTo>
                    <a:lnTo>
                      <a:pt x="56" y="76"/>
                    </a:lnTo>
                    <a:lnTo>
                      <a:pt x="52" y="83"/>
                    </a:lnTo>
                    <a:lnTo>
                      <a:pt x="49" y="90"/>
                    </a:lnTo>
                    <a:lnTo>
                      <a:pt x="45" y="90"/>
                    </a:lnTo>
                    <a:lnTo>
                      <a:pt x="38" y="97"/>
                    </a:lnTo>
                    <a:lnTo>
                      <a:pt x="35" y="101"/>
                    </a:lnTo>
                    <a:lnTo>
                      <a:pt x="31" y="101"/>
                    </a:lnTo>
                    <a:lnTo>
                      <a:pt x="28" y="101"/>
                    </a:lnTo>
                    <a:lnTo>
                      <a:pt x="25" y="101"/>
                    </a:lnTo>
                    <a:lnTo>
                      <a:pt x="21" y="101"/>
                    </a:lnTo>
                    <a:lnTo>
                      <a:pt x="18" y="101"/>
                    </a:lnTo>
                    <a:lnTo>
                      <a:pt x="18" y="104"/>
                    </a:lnTo>
                    <a:lnTo>
                      <a:pt x="11" y="104"/>
                    </a:lnTo>
                    <a:lnTo>
                      <a:pt x="7" y="104"/>
                    </a:lnTo>
                    <a:lnTo>
                      <a:pt x="7" y="101"/>
                    </a:lnTo>
                    <a:lnTo>
                      <a:pt x="7" y="104"/>
                    </a:lnTo>
                    <a:lnTo>
                      <a:pt x="4" y="104"/>
                    </a:lnTo>
                    <a:lnTo>
                      <a:pt x="4" y="111"/>
                    </a:lnTo>
                    <a:lnTo>
                      <a:pt x="4" y="114"/>
                    </a:lnTo>
                    <a:lnTo>
                      <a:pt x="7" y="118"/>
                    </a:lnTo>
                    <a:lnTo>
                      <a:pt x="7" y="121"/>
                    </a:lnTo>
                    <a:lnTo>
                      <a:pt x="7" y="125"/>
                    </a:lnTo>
                    <a:lnTo>
                      <a:pt x="7" y="135"/>
                    </a:lnTo>
                    <a:lnTo>
                      <a:pt x="4" y="139"/>
                    </a:lnTo>
                    <a:lnTo>
                      <a:pt x="4" y="142"/>
                    </a:lnTo>
                    <a:lnTo>
                      <a:pt x="0" y="149"/>
                    </a:lnTo>
                    <a:lnTo>
                      <a:pt x="4" y="149"/>
                    </a:lnTo>
                    <a:lnTo>
                      <a:pt x="4" y="142"/>
                    </a:lnTo>
                    <a:lnTo>
                      <a:pt x="7" y="142"/>
                    </a:lnTo>
                    <a:lnTo>
                      <a:pt x="7" y="139"/>
                    </a:lnTo>
                    <a:lnTo>
                      <a:pt x="7" y="135"/>
                    </a:lnTo>
                    <a:lnTo>
                      <a:pt x="7" y="132"/>
                    </a:lnTo>
                    <a:lnTo>
                      <a:pt x="11" y="132"/>
                    </a:lnTo>
                    <a:lnTo>
                      <a:pt x="11" y="128"/>
                    </a:lnTo>
                    <a:lnTo>
                      <a:pt x="14" y="128"/>
                    </a:lnTo>
                    <a:lnTo>
                      <a:pt x="14" y="132"/>
                    </a:lnTo>
                    <a:lnTo>
                      <a:pt x="18" y="132"/>
                    </a:lnTo>
                    <a:lnTo>
                      <a:pt x="18" y="135"/>
                    </a:lnTo>
                    <a:lnTo>
                      <a:pt x="18" y="139"/>
                    </a:lnTo>
                    <a:lnTo>
                      <a:pt x="21" y="139"/>
                    </a:lnTo>
                    <a:lnTo>
                      <a:pt x="21" y="135"/>
                    </a:lnTo>
                    <a:lnTo>
                      <a:pt x="25" y="132"/>
                    </a:lnTo>
                    <a:lnTo>
                      <a:pt x="38" y="132"/>
                    </a:lnTo>
                    <a:lnTo>
                      <a:pt x="38" y="135"/>
                    </a:lnTo>
                    <a:lnTo>
                      <a:pt x="25" y="142"/>
                    </a:lnTo>
                    <a:lnTo>
                      <a:pt x="25" y="145"/>
                    </a:lnTo>
                    <a:lnTo>
                      <a:pt x="21" y="149"/>
                    </a:lnTo>
                    <a:lnTo>
                      <a:pt x="18" y="149"/>
                    </a:lnTo>
                    <a:lnTo>
                      <a:pt x="14" y="149"/>
                    </a:lnTo>
                    <a:lnTo>
                      <a:pt x="11" y="159"/>
                    </a:lnTo>
                    <a:lnTo>
                      <a:pt x="4" y="163"/>
                    </a:lnTo>
                    <a:lnTo>
                      <a:pt x="0" y="166"/>
                    </a:lnTo>
                    <a:lnTo>
                      <a:pt x="4" y="166"/>
                    </a:lnTo>
                    <a:lnTo>
                      <a:pt x="21" y="166"/>
                    </a:lnTo>
                    <a:lnTo>
                      <a:pt x="25" y="166"/>
                    </a:lnTo>
                    <a:lnTo>
                      <a:pt x="31" y="166"/>
                    </a:lnTo>
                    <a:lnTo>
                      <a:pt x="38" y="166"/>
                    </a:lnTo>
                    <a:lnTo>
                      <a:pt x="42" y="166"/>
                    </a:lnTo>
                    <a:lnTo>
                      <a:pt x="49" y="166"/>
                    </a:lnTo>
                    <a:lnTo>
                      <a:pt x="52" y="166"/>
                    </a:lnTo>
                    <a:lnTo>
                      <a:pt x="63" y="166"/>
                    </a:lnTo>
                    <a:lnTo>
                      <a:pt x="66" y="166"/>
                    </a:lnTo>
                    <a:lnTo>
                      <a:pt x="69" y="166"/>
                    </a:lnTo>
                    <a:lnTo>
                      <a:pt x="73" y="166"/>
                    </a:lnTo>
                    <a:lnTo>
                      <a:pt x="80" y="166"/>
                    </a:lnTo>
                    <a:lnTo>
                      <a:pt x="83" y="163"/>
                    </a:lnTo>
                    <a:lnTo>
                      <a:pt x="87" y="163"/>
                    </a:lnTo>
                    <a:lnTo>
                      <a:pt x="94" y="163"/>
                    </a:lnTo>
                    <a:lnTo>
                      <a:pt x="97" y="163"/>
                    </a:lnTo>
                    <a:lnTo>
                      <a:pt x="104" y="163"/>
                    </a:lnTo>
                    <a:lnTo>
                      <a:pt x="111" y="163"/>
                    </a:lnTo>
                    <a:lnTo>
                      <a:pt x="125" y="163"/>
                    </a:lnTo>
                    <a:lnTo>
                      <a:pt x="128" y="163"/>
                    </a:lnTo>
                    <a:lnTo>
                      <a:pt x="128" y="159"/>
                    </a:lnTo>
                    <a:lnTo>
                      <a:pt x="132" y="159"/>
                    </a:lnTo>
                    <a:lnTo>
                      <a:pt x="142" y="159"/>
                    </a:lnTo>
                    <a:lnTo>
                      <a:pt x="152" y="156"/>
                    </a:lnTo>
                    <a:lnTo>
                      <a:pt x="166" y="152"/>
                    </a:lnTo>
                    <a:lnTo>
                      <a:pt x="183" y="149"/>
                    </a:lnTo>
                    <a:lnTo>
                      <a:pt x="190" y="149"/>
                    </a:lnTo>
                    <a:lnTo>
                      <a:pt x="208" y="142"/>
                    </a:lnTo>
                    <a:lnTo>
                      <a:pt x="211" y="142"/>
                    </a:lnTo>
                    <a:lnTo>
                      <a:pt x="208" y="135"/>
                    </a:lnTo>
                    <a:lnTo>
                      <a:pt x="204" y="132"/>
                    </a:lnTo>
                    <a:lnTo>
                      <a:pt x="201" y="125"/>
                    </a:lnTo>
                    <a:lnTo>
                      <a:pt x="201" y="118"/>
                    </a:lnTo>
                    <a:lnTo>
                      <a:pt x="201" y="111"/>
                    </a:lnTo>
                    <a:lnTo>
                      <a:pt x="201" y="107"/>
                    </a:lnTo>
                    <a:lnTo>
                      <a:pt x="201" y="104"/>
                    </a:lnTo>
                    <a:lnTo>
                      <a:pt x="201" y="101"/>
                    </a:lnTo>
                    <a:lnTo>
                      <a:pt x="201" y="97"/>
                    </a:lnTo>
                    <a:lnTo>
                      <a:pt x="204" y="94"/>
                    </a:lnTo>
                    <a:lnTo>
                      <a:pt x="208" y="94"/>
                    </a:lnTo>
                    <a:lnTo>
                      <a:pt x="208" y="90"/>
                    </a:lnTo>
                    <a:lnTo>
                      <a:pt x="208" y="87"/>
                    </a:lnTo>
                    <a:lnTo>
                      <a:pt x="208" y="83"/>
                    </a:lnTo>
                    <a:lnTo>
                      <a:pt x="204" y="80"/>
                    </a:lnTo>
                    <a:lnTo>
                      <a:pt x="204" y="76"/>
                    </a:lnTo>
                    <a:lnTo>
                      <a:pt x="201" y="76"/>
                    </a:lnTo>
                    <a:lnTo>
                      <a:pt x="194" y="73"/>
                    </a:lnTo>
                    <a:lnTo>
                      <a:pt x="190" y="73"/>
                    </a:lnTo>
                    <a:lnTo>
                      <a:pt x="187" y="73"/>
                    </a:lnTo>
                    <a:lnTo>
                      <a:pt x="183" y="66"/>
                    </a:lnTo>
                    <a:lnTo>
                      <a:pt x="183" y="63"/>
                    </a:lnTo>
                    <a:lnTo>
                      <a:pt x="183" y="59"/>
                    </a:lnTo>
                    <a:lnTo>
                      <a:pt x="180" y="59"/>
                    </a:lnTo>
                    <a:lnTo>
                      <a:pt x="180" y="63"/>
                    </a:lnTo>
                    <a:lnTo>
                      <a:pt x="177" y="66"/>
                    </a:lnTo>
                    <a:lnTo>
                      <a:pt x="173" y="66"/>
                    </a:lnTo>
                    <a:lnTo>
                      <a:pt x="170" y="66"/>
                    </a:lnTo>
                    <a:lnTo>
                      <a:pt x="166" y="66"/>
                    </a:lnTo>
                    <a:lnTo>
                      <a:pt x="163" y="66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50" name="Freeform 36">
                <a:extLst>
                  <a:ext uri="{FF2B5EF4-FFF2-40B4-BE49-F238E27FC236}">
                    <a16:creationId xmlns:a16="http://schemas.microsoft.com/office/drawing/2014/main" id="{65A17922-F01B-5C8C-F492-93AA5BF7E97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45893" y="2526338"/>
                <a:ext cx="201216" cy="263128"/>
              </a:xfrm>
              <a:custGeom>
                <a:avLst/>
                <a:gdLst>
                  <a:gd name="T0" fmla="*/ 154392 w 424"/>
                  <a:gd name="T1" fmla="*/ 0 h 603"/>
                  <a:gd name="T2" fmla="*/ 169578 w 424"/>
                  <a:gd name="T3" fmla="*/ 29673 h 603"/>
                  <a:gd name="T4" fmla="*/ 184132 w 424"/>
                  <a:gd name="T5" fmla="*/ 30255 h 603"/>
                  <a:gd name="T6" fmla="*/ 223362 w 424"/>
                  <a:gd name="T7" fmla="*/ 36073 h 603"/>
                  <a:gd name="T8" fmla="*/ 244876 w 424"/>
                  <a:gd name="T9" fmla="*/ 44800 h 603"/>
                  <a:gd name="T10" fmla="*/ 261328 w 424"/>
                  <a:gd name="T11" fmla="*/ 71564 h 603"/>
                  <a:gd name="T12" fmla="*/ 265757 w 424"/>
                  <a:gd name="T13" fmla="*/ 82618 h 603"/>
                  <a:gd name="T14" fmla="*/ 216402 w 424"/>
                  <a:gd name="T15" fmla="*/ 101237 h 603"/>
                  <a:gd name="T16" fmla="*/ 202482 w 424"/>
                  <a:gd name="T17" fmla="*/ 134400 h 603"/>
                  <a:gd name="T18" fmla="*/ 188561 w 424"/>
                  <a:gd name="T19" fmla="*/ 164655 h 603"/>
                  <a:gd name="T20" fmla="*/ 179070 w 424"/>
                  <a:gd name="T21" fmla="*/ 187928 h 603"/>
                  <a:gd name="T22" fmla="*/ 156923 w 424"/>
                  <a:gd name="T23" fmla="*/ 182691 h 603"/>
                  <a:gd name="T24" fmla="*/ 152494 w 424"/>
                  <a:gd name="T25" fmla="*/ 206546 h 603"/>
                  <a:gd name="T26" fmla="*/ 155658 w 424"/>
                  <a:gd name="T27" fmla="*/ 230982 h 603"/>
                  <a:gd name="T28" fmla="*/ 135410 w 424"/>
                  <a:gd name="T29" fmla="*/ 252510 h 603"/>
                  <a:gd name="T30" fmla="*/ 132878 w 424"/>
                  <a:gd name="T31" fmla="*/ 284510 h 603"/>
                  <a:gd name="T32" fmla="*/ 136042 w 424"/>
                  <a:gd name="T33" fmla="*/ 304291 h 603"/>
                  <a:gd name="T34" fmla="*/ 101241 w 424"/>
                  <a:gd name="T35" fmla="*/ 320001 h 603"/>
                  <a:gd name="T36" fmla="*/ 100608 w 424"/>
                  <a:gd name="T37" fmla="*/ 347346 h 603"/>
                  <a:gd name="T38" fmla="*/ 51253 w 424"/>
                  <a:gd name="T39" fmla="*/ 350837 h 603"/>
                  <a:gd name="T40" fmla="*/ 16452 w 424"/>
                  <a:gd name="T41" fmla="*/ 326401 h 603"/>
                  <a:gd name="T42" fmla="*/ 0 w 424"/>
                  <a:gd name="T43" fmla="*/ 317673 h 603"/>
                  <a:gd name="T44" fmla="*/ 18983 w 424"/>
                  <a:gd name="T45" fmla="*/ 290910 h 603"/>
                  <a:gd name="T46" fmla="*/ 41762 w 424"/>
                  <a:gd name="T47" fmla="*/ 252510 h 603"/>
                  <a:gd name="T48" fmla="*/ 37965 w 424"/>
                  <a:gd name="T49" fmla="*/ 231564 h 603"/>
                  <a:gd name="T50" fmla="*/ 25943 w 424"/>
                  <a:gd name="T51" fmla="*/ 218764 h 603"/>
                  <a:gd name="T52" fmla="*/ 44926 w 424"/>
                  <a:gd name="T53" fmla="*/ 202473 h 603"/>
                  <a:gd name="T54" fmla="*/ 18983 w 424"/>
                  <a:gd name="T55" fmla="*/ 205964 h 603"/>
                  <a:gd name="T56" fmla="*/ 25943 w 424"/>
                  <a:gd name="T57" fmla="*/ 181528 h 603"/>
                  <a:gd name="T58" fmla="*/ 35434 w 424"/>
                  <a:gd name="T59" fmla="*/ 160582 h 603"/>
                  <a:gd name="T60" fmla="*/ 44926 w 424"/>
                  <a:gd name="T61" fmla="*/ 149528 h 603"/>
                  <a:gd name="T62" fmla="*/ 71501 w 424"/>
                  <a:gd name="T63" fmla="*/ 134400 h 603"/>
                  <a:gd name="T64" fmla="*/ 106303 w 424"/>
                  <a:gd name="T65" fmla="*/ 92509 h 603"/>
                  <a:gd name="T66" fmla="*/ 119591 w 424"/>
                  <a:gd name="T67" fmla="*/ 62836 h 603"/>
                  <a:gd name="T68" fmla="*/ 129082 w 424"/>
                  <a:gd name="T69" fmla="*/ 30255 h 60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24" h="603">
                    <a:moveTo>
                      <a:pt x="214" y="5"/>
                    </a:moveTo>
                    <a:lnTo>
                      <a:pt x="244" y="0"/>
                    </a:lnTo>
                    <a:lnTo>
                      <a:pt x="265" y="23"/>
                    </a:lnTo>
                    <a:lnTo>
                      <a:pt x="268" y="51"/>
                    </a:lnTo>
                    <a:lnTo>
                      <a:pt x="276" y="57"/>
                    </a:lnTo>
                    <a:lnTo>
                      <a:pt x="291" y="52"/>
                    </a:lnTo>
                    <a:lnTo>
                      <a:pt x="340" y="72"/>
                    </a:lnTo>
                    <a:lnTo>
                      <a:pt x="353" y="62"/>
                    </a:lnTo>
                    <a:lnTo>
                      <a:pt x="374" y="61"/>
                    </a:lnTo>
                    <a:lnTo>
                      <a:pt x="387" y="77"/>
                    </a:lnTo>
                    <a:lnTo>
                      <a:pt x="398" y="105"/>
                    </a:lnTo>
                    <a:lnTo>
                      <a:pt x="413" y="123"/>
                    </a:lnTo>
                    <a:lnTo>
                      <a:pt x="424" y="133"/>
                    </a:lnTo>
                    <a:lnTo>
                      <a:pt x="420" y="142"/>
                    </a:lnTo>
                    <a:lnTo>
                      <a:pt x="384" y="152"/>
                    </a:lnTo>
                    <a:lnTo>
                      <a:pt x="342" y="174"/>
                    </a:lnTo>
                    <a:lnTo>
                      <a:pt x="344" y="211"/>
                    </a:lnTo>
                    <a:lnTo>
                      <a:pt x="320" y="231"/>
                    </a:lnTo>
                    <a:lnTo>
                      <a:pt x="301" y="247"/>
                    </a:lnTo>
                    <a:lnTo>
                      <a:pt x="298" y="283"/>
                    </a:lnTo>
                    <a:lnTo>
                      <a:pt x="298" y="307"/>
                    </a:lnTo>
                    <a:lnTo>
                      <a:pt x="283" y="323"/>
                    </a:lnTo>
                    <a:lnTo>
                      <a:pt x="271" y="307"/>
                    </a:lnTo>
                    <a:lnTo>
                      <a:pt x="248" y="314"/>
                    </a:lnTo>
                    <a:lnTo>
                      <a:pt x="246" y="325"/>
                    </a:lnTo>
                    <a:lnTo>
                      <a:pt x="241" y="355"/>
                    </a:lnTo>
                    <a:lnTo>
                      <a:pt x="250" y="366"/>
                    </a:lnTo>
                    <a:lnTo>
                      <a:pt x="246" y="397"/>
                    </a:lnTo>
                    <a:lnTo>
                      <a:pt x="232" y="411"/>
                    </a:lnTo>
                    <a:lnTo>
                      <a:pt x="214" y="434"/>
                    </a:lnTo>
                    <a:lnTo>
                      <a:pt x="206" y="453"/>
                    </a:lnTo>
                    <a:lnTo>
                      <a:pt x="210" y="489"/>
                    </a:lnTo>
                    <a:lnTo>
                      <a:pt x="225" y="510"/>
                    </a:lnTo>
                    <a:lnTo>
                      <a:pt x="215" y="523"/>
                    </a:lnTo>
                    <a:lnTo>
                      <a:pt x="175" y="535"/>
                    </a:lnTo>
                    <a:lnTo>
                      <a:pt x="160" y="550"/>
                    </a:lnTo>
                    <a:lnTo>
                      <a:pt x="159" y="567"/>
                    </a:lnTo>
                    <a:lnTo>
                      <a:pt x="159" y="597"/>
                    </a:lnTo>
                    <a:lnTo>
                      <a:pt x="113" y="597"/>
                    </a:lnTo>
                    <a:lnTo>
                      <a:pt x="81" y="603"/>
                    </a:lnTo>
                    <a:lnTo>
                      <a:pt x="45" y="561"/>
                    </a:lnTo>
                    <a:lnTo>
                      <a:pt x="26" y="561"/>
                    </a:lnTo>
                    <a:lnTo>
                      <a:pt x="9" y="561"/>
                    </a:lnTo>
                    <a:lnTo>
                      <a:pt x="0" y="546"/>
                    </a:lnTo>
                    <a:lnTo>
                      <a:pt x="9" y="531"/>
                    </a:lnTo>
                    <a:lnTo>
                      <a:pt x="30" y="500"/>
                    </a:lnTo>
                    <a:lnTo>
                      <a:pt x="41" y="470"/>
                    </a:lnTo>
                    <a:lnTo>
                      <a:pt x="66" y="434"/>
                    </a:lnTo>
                    <a:lnTo>
                      <a:pt x="71" y="413"/>
                    </a:lnTo>
                    <a:lnTo>
                      <a:pt x="60" y="398"/>
                    </a:lnTo>
                    <a:lnTo>
                      <a:pt x="45" y="384"/>
                    </a:lnTo>
                    <a:lnTo>
                      <a:pt x="41" y="376"/>
                    </a:lnTo>
                    <a:lnTo>
                      <a:pt x="60" y="369"/>
                    </a:lnTo>
                    <a:lnTo>
                      <a:pt x="71" y="348"/>
                    </a:lnTo>
                    <a:lnTo>
                      <a:pt x="51" y="343"/>
                    </a:lnTo>
                    <a:lnTo>
                      <a:pt x="30" y="354"/>
                    </a:lnTo>
                    <a:lnTo>
                      <a:pt x="30" y="328"/>
                    </a:lnTo>
                    <a:lnTo>
                      <a:pt x="41" y="312"/>
                    </a:lnTo>
                    <a:lnTo>
                      <a:pt x="51" y="297"/>
                    </a:lnTo>
                    <a:lnTo>
                      <a:pt x="56" y="276"/>
                    </a:lnTo>
                    <a:lnTo>
                      <a:pt x="60" y="261"/>
                    </a:lnTo>
                    <a:lnTo>
                      <a:pt x="71" y="257"/>
                    </a:lnTo>
                    <a:lnTo>
                      <a:pt x="87" y="267"/>
                    </a:lnTo>
                    <a:lnTo>
                      <a:pt x="113" y="231"/>
                    </a:lnTo>
                    <a:lnTo>
                      <a:pt x="128" y="206"/>
                    </a:lnTo>
                    <a:lnTo>
                      <a:pt x="168" y="159"/>
                    </a:lnTo>
                    <a:lnTo>
                      <a:pt x="168" y="140"/>
                    </a:lnTo>
                    <a:lnTo>
                      <a:pt x="189" y="108"/>
                    </a:lnTo>
                    <a:lnTo>
                      <a:pt x="194" y="72"/>
                    </a:lnTo>
                    <a:lnTo>
                      <a:pt x="204" y="52"/>
                    </a:lnTo>
                    <a:lnTo>
                      <a:pt x="214" y="5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51" name="Freeform 37">
                <a:extLst>
                  <a:ext uri="{FF2B5EF4-FFF2-40B4-BE49-F238E27FC236}">
                    <a16:creationId xmlns:a16="http://schemas.microsoft.com/office/drawing/2014/main" id="{5C7A8004-4D7C-2D9F-7B45-A56DA1F88A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22093" y="2442994"/>
                <a:ext cx="529829" cy="434578"/>
              </a:xfrm>
              <a:custGeom>
                <a:avLst/>
                <a:gdLst>
                  <a:gd name="T0" fmla="*/ 32139 w 1121"/>
                  <a:gd name="T1" fmla="*/ 105034 h 993"/>
                  <a:gd name="T2" fmla="*/ 54826 w 1121"/>
                  <a:gd name="T3" fmla="*/ 63020 h 993"/>
                  <a:gd name="T4" fmla="*/ 48524 w 1121"/>
                  <a:gd name="T5" fmla="*/ 47849 h 993"/>
                  <a:gd name="T6" fmla="*/ 37811 w 1121"/>
                  <a:gd name="T7" fmla="*/ 33261 h 993"/>
                  <a:gd name="T8" fmla="*/ 77513 w 1121"/>
                  <a:gd name="T9" fmla="*/ 15755 h 993"/>
                  <a:gd name="T10" fmla="*/ 105871 w 1121"/>
                  <a:gd name="T11" fmla="*/ 9336 h 993"/>
                  <a:gd name="T12" fmla="*/ 136750 w 1121"/>
                  <a:gd name="T13" fmla="*/ 3501 h 993"/>
                  <a:gd name="T14" fmla="*/ 194097 w 1121"/>
                  <a:gd name="T15" fmla="*/ 45515 h 993"/>
                  <a:gd name="T16" fmla="*/ 235059 w 1121"/>
                  <a:gd name="T17" fmla="*/ 47849 h 993"/>
                  <a:gd name="T18" fmla="*/ 347232 w 1121"/>
                  <a:gd name="T19" fmla="*/ 96281 h 993"/>
                  <a:gd name="T20" fmla="*/ 395126 w 1121"/>
                  <a:gd name="T21" fmla="*/ 107368 h 993"/>
                  <a:gd name="T22" fmla="*/ 428526 w 1121"/>
                  <a:gd name="T23" fmla="*/ 131876 h 993"/>
                  <a:gd name="T24" fmla="*/ 460666 w 1121"/>
                  <a:gd name="T25" fmla="*/ 134794 h 993"/>
                  <a:gd name="T26" fmla="*/ 460666 w 1121"/>
                  <a:gd name="T27" fmla="*/ 149382 h 993"/>
                  <a:gd name="T28" fmla="*/ 512341 w 1121"/>
                  <a:gd name="T29" fmla="*/ 194896 h 993"/>
                  <a:gd name="T30" fmla="*/ 553933 w 1121"/>
                  <a:gd name="T31" fmla="*/ 212402 h 993"/>
                  <a:gd name="T32" fmla="*/ 619472 w 1121"/>
                  <a:gd name="T33" fmla="*/ 230491 h 993"/>
                  <a:gd name="T34" fmla="*/ 632076 w 1121"/>
                  <a:gd name="T35" fmla="*/ 250914 h 993"/>
                  <a:gd name="T36" fmla="*/ 657284 w 1121"/>
                  <a:gd name="T37" fmla="*/ 260251 h 993"/>
                  <a:gd name="T38" fmla="*/ 683751 w 1121"/>
                  <a:gd name="T39" fmla="*/ 260251 h 993"/>
                  <a:gd name="T40" fmla="*/ 700136 w 1121"/>
                  <a:gd name="T41" fmla="*/ 260251 h 993"/>
                  <a:gd name="T42" fmla="*/ 706438 w 1121"/>
                  <a:gd name="T43" fmla="*/ 287676 h 993"/>
                  <a:gd name="T44" fmla="*/ 645310 w 1121"/>
                  <a:gd name="T45" fmla="*/ 332024 h 993"/>
                  <a:gd name="T46" fmla="*/ 557084 w 1121"/>
                  <a:gd name="T47" fmla="*/ 346612 h 993"/>
                  <a:gd name="T48" fmla="*/ 535028 w 1121"/>
                  <a:gd name="T49" fmla="*/ 367619 h 993"/>
                  <a:gd name="T50" fmla="*/ 508560 w 1121"/>
                  <a:gd name="T51" fmla="*/ 376371 h 993"/>
                  <a:gd name="T52" fmla="*/ 482722 w 1121"/>
                  <a:gd name="T53" fmla="*/ 402630 h 993"/>
                  <a:gd name="T54" fmla="*/ 453734 w 1121"/>
                  <a:gd name="T55" fmla="*/ 421303 h 993"/>
                  <a:gd name="T56" fmla="*/ 463186 w 1121"/>
                  <a:gd name="T57" fmla="*/ 453980 h 993"/>
                  <a:gd name="T58" fmla="*/ 466967 w 1121"/>
                  <a:gd name="T59" fmla="*/ 477904 h 993"/>
                  <a:gd name="T60" fmla="*/ 449952 w 1121"/>
                  <a:gd name="T61" fmla="*/ 486657 h 993"/>
                  <a:gd name="T62" fmla="*/ 405839 w 1121"/>
                  <a:gd name="T63" fmla="*/ 522835 h 993"/>
                  <a:gd name="T64" fmla="*/ 389455 w 1121"/>
                  <a:gd name="T65" fmla="*/ 537423 h 993"/>
                  <a:gd name="T66" fmla="*/ 360466 w 1121"/>
                  <a:gd name="T67" fmla="*/ 546760 h 993"/>
                  <a:gd name="T68" fmla="*/ 330847 w 1121"/>
                  <a:gd name="T69" fmla="*/ 553179 h 993"/>
                  <a:gd name="T70" fmla="*/ 315093 w 1121"/>
                  <a:gd name="T71" fmla="*/ 570684 h 993"/>
                  <a:gd name="T72" fmla="*/ 289255 w 1121"/>
                  <a:gd name="T73" fmla="*/ 576519 h 993"/>
                  <a:gd name="T74" fmla="*/ 237580 w 1121"/>
                  <a:gd name="T75" fmla="*/ 570684 h 993"/>
                  <a:gd name="T76" fmla="*/ 158177 w 1121"/>
                  <a:gd name="T77" fmla="*/ 546760 h 993"/>
                  <a:gd name="T78" fmla="*/ 119105 w 1121"/>
                  <a:gd name="T79" fmla="*/ 561931 h 993"/>
                  <a:gd name="T80" fmla="*/ 83184 w 1121"/>
                  <a:gd name="T81" fmla="*/ 574185 h 993"/>
                  <a:gd name="T82" fmla="*/ 37811 w 1121"/>
                  <a:gd name="T83" fmla="*/ 543842 h 993"/>
                  <a:gd name="T84" fmla="*/ 22056 w 1121"/>
                  <a:gd name="T85" fmla="*/ 474403 h 993"/>
                  <a:gd name="T86" fmla="*/ 0 w 1121"/>
                  <a:gd name="T87" fmla="*/ 451062 h 993"/>
                  <a:gd name="T88" fmla="*/ 9453 w 1121"/>
                  <a:gd name="T89" fmla="*/ 423637 h 993"/>
                  <a:gd name="T90" fmla="*/ 41592 w 1121"/>
                  <a:gd name="T91" fmla="*/ 409049 h 993"/>
                  <a:gd name="T92" fmla="*/ 28358 w 1121"/>
                  <a:gd name="T93" fmla="*/ 376371 h 993"/>
                  <a:gd name="T94" fmla="*/ 57977 w 1121"/>
                  <a:gd name="T95" fmla="*/ 340777 h 993"/>
                  <a:gd name="T96" fmla="*/ 51045 w 1121"/>
                  <a:gd name="T97" fmla="*/ 313935 h 993"/>
                  <a:gd name="T98" fmla="*/ 60498 w 1121"/>
                  <a:gd name="T99" fmla="*/ 290594 h 993"/>
                  <a:gd name="T100" fmla="*/ 77513 w 1121"/>
                  <a:gd name="T101" fmla="*/ 299347 h 993"/>
                  <a:gd name="T102" fmla="*/ 90117 w 1121"/>
                  <a:gd name="T103" fmla="*/ 254415 h 993"/>
                  <a:gd name="T104" fmla="*/ 115324 w 1121"/>
                  <a:gd name="T105" fmla="*/ 221155 h 993"/>
                  <a:gd name="T106" fmla="*/ 142422 w 1121"/>
                  <a:gd name="T107" fmla="*/ 197814 h 993"/>
                  <a:gd name="T108" fmla="*/ 168890 w 1121"/>
                  <a:gd name="T109" fmla="*/ 188477 h 993"/>
                  <a:gd name="T110" fmla="*/ 139271 w 1121"/>
                  <a:gd name="T111" fmla="*/ 149382 h 993"/>
                  <a:gd name="T112" fmla="*/ 112803 w 1121"/>
                  <a:gd name="T113" fmla="*/ 152883 h 993"/>
                  <a:gd name="T114" fmla="*/ 80664 w 1121"/>
                  <a:gd name="T115" fmla="*/ 140629 h 993"/>
                  <a:gd name="T116" fmla="*/ 67430 w 1121"/>
                  <a:gd name="T117" fmla="*/ 137128 h 993"/>
                  <a:gd name="T118" fmla="*/ 57977 w 1121"/>
                  <a:gd name="T119" fmla="*/ 113787 h 993"/>
                  <a:gd name="T120" fmla="*/ 35290 w 1121"/>
                  <a:gd name="T121" fmla="*/ 113787 h 993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121" h="993">
                    <a:moveTo>
                      <a:pt x="56" y="195"/>
                    </a:moveTo>
                    <a:lnTo>
                      <a:pt x="51" y="180"/>
                    </a:lnTo>
                    <a:lnTo>
                      <a:pt x="56" y="159"/>
                    </a:lnTo>
                    <a:lnTo>
                      <a:pt x="87" y="108"/>
                    </a:lnTo>
                    <a:lnTo>
                      <a:pt x="71" y="97"/>
                    </a:lnTo>
                    <a:lnTo>
                      <a:pt x="77" y="82"/>
                    </a:lnTo>
                    <a:lnTo>
                      <a:pt x="60" y="78"/>
                    </a:lnTo>
                    <a:lnTo>
                      <a:pt x="60" y="57"/>
                    </a:lnTo>
                    <a:lnTo>
                      <a:pt x="71" y="42"/>
                    </a:lnTo>
                    <a:lnTo>
                      <a:pt x="123" y="27"/>
                    </a:lnTo>
                    <a:lnTo>
                      <a:pt x="164" y="31"/>
                    </a:lnTo>
                    <a:lnTo>
                      <a:pt x="168" y="16"/>
                    </a:lnTo>
                    <a:lnTo>
                      <a:pt x="200" y="0"/>
                    </a:lnTo>
                    <a:lnTo>
                      <a:pt x="217" y="6"/>
                    </a:lnTo>
                    <a:lnTo>
                      <a:pt x="251" y="52"/>
                    </a:lnTo>
                    <a:lnTo>
                      <a:pt x="308" y="78"/>
                    </a:lnTo>
                    <a:lnTo>
                      <a:pt x="359" y="78"/>
                    </a:lnTo>
                    <a:lnTo>
                      <a:pt x="373" y="82"/>
                    </a:lnTo>
                    <a:lnTo>
                      <a:pt x="510" y="159"/>
                    </a:lnTo>
                    <a:lnTo>
                      <a:pt x="551" y="165"/>
                    </a:lnTo>
                    <a:lnTo>
                      <a:pt x="582" y="195"/>
                    </a:lnTo>
                    <a:lnTo>
                      <a:pt x="627" y="184"/>
                    </a:lnTo>
                    <a:lnTo>
                      <a:pt x="654" y="201"/>
                    </a:lnTo>
                    <a:lnTo>
                      <a:pt x="680" y="226"/>
                    </a:lnTo>
                    <a:lnTo>
                      <a:pt x="710" y="226"/>
                    </a:lnTo>
                    <a:lnTo>
                      <a:pt x="731" y="231"/>
                    </a:lnTo>
                    <a:lnTo>
                      <a:pt x="741" y="241"/>
                    </a:lnTo>
                    <a:lnTo>
                      <a:pt x="731" y="256"/>
                    </a:lnTo>
                    <a:lnTo>
                      <a:pt x="731" y="277"/>
                    </a:lnTo>
                    <a:lnTo>
                      <a:pt x="813" y="334"/>
                    </a:lnTo>
                    <a:lnTo>
                      <a:pt x="858" y="370"/>
                    </a:lnTo>
                    <a:lnTo>
                      <a:pt x="879" y="364"/>
                    </a:lnTo>
                    <a:lnTo>
                      <a:pt x="904" y="359"/>
                    </a:lnTo>
                    <a:lnTo>
                      <a:pt x="983" y="395"/>
                    </a:lnTo>
                    <a:lnTo>
                      <a:pt x="992" y="421"/>
                    </a:lnTo>
                    <a:lnTo>
                      <a:pt x="1003" y="430"/>
                    </a:lnTo>
                    <a:lnTo>
                      <a:pt x="1028" y="436"/>
                    </a:lnTo>
                    <a:lnTo>
                      <a:pt x="1043" y="446"/>
                    </a:lnTo>
                    <a:lnTo>
                      <a:pt x="1064" y="446"/>
                    </a:lnTo>
                    <a:lnTo>
                      <a:pt x="1085" y="446"/>
                    </a:lnTo>
                    <a:lnTo>
                      <a:pt x="1106" y="451"/>
                    </a:lnTo>
                    <a:lnTo>
                      <a:pt x="1111" y="446"/>
                    </a:lnTo>
                    <a:lnTo>
                      <a:pt x="1121" y="466"/>
                    </a:lnTo>
                    <a:lnTo>
                      <a:pt x="1121" y="493"/>
                    </a:lnTo>
                    <a:lnTo>
                      <a:pt x="1106" y="508"/>
                    </a:lnTo>
                    <a:lnTo>
                      <a:pt x="1024" y="569"/>
                    </a:lnTo>
                    <a:lnTo>
                      <a:pt x="988" y="569"/>
                    </a:lnTo>
                    <a:lnTo>
                      <a:pt x="884" y="594"/>
                    </a:lnTo>
                    <a:lnTo>
                      <a:pt x="849" y="599"/>
                    </a:lnTo>
                    <a:lnTo>
                      <a:pt x="849" y="630"/>
                    </a:lnTo>
                    <a:lnTo>
                      <a:pt x="828" y="630"/>
                    </a:lnTo>
                    <a:lnTo>
                      <a:pt x="807" y="645"/>
                    </a:lnTo>
                    <a:lnTo>
                      <a:pt x="786" y="671"/>
                    </a:lnTo>
                    <a:lnTo>
                      <a:pt x="766" y="690"/>
                    </a:lnTo>
                    <a:lnTo>
                      <a:pt x="741" y="696"/>
                    </a:lnTo>
                    <a:lnTo>
                      <a:pt x="720" y="722"/>
                    </a:lnTo>
                    <a:lnTo>
                      <a:pt x="720" y="758"/>
                    </a:lnTo>
                    <a:lnTo>
                      <a:pt x="735" y="778"/>
                    </a:lnTo>
                    <a:lnTo>
                      <a:pt x="741" y="793"/>
                    </a:lnTo>
                    <a:lnTo>
                      <a:pt x="741" y="819"/>
                    </a:lnTo>
                    <a:lnTo>
                      <a:pt x="735" y="829"/>
                    </a:lnTo>
                    <a:lnTo>
                      <a:pt x="714" y="834"/>
                    </a:lnTo>
                    <a:lnTo>
                      <a:pt x="684" y="860"/>
                    </a:lnTo>
                    <a:lnTo>
                      <a:pt x="644" y="896"/>
                    </a:lnTo>
                    <a:lnTo>
                      <a:pt x="627" y="912"/>
                    </a:lnTo>
                    <a:lnTo>
                      <a:pt x="618" y="921"/>
                    </a:lnTo>
                    <a:lnTo>
                      <a:pt x="618" y="937"/>
                    </a:lnTo>
                    <a:lnTo>
                      <a:pt x="572" y="937"/>
                    </a:lnTo>
                    <a:lnTo>
                      <a:pt x="546" y="942"/>
                    </a:lnTo>
                    <a:lnTo>
                      <a:pt x="525" y="948"/>
                    </a:lnTo>
                    <a:lnTo>
                      <a:pt x="515" y="957"/>
                    </a:lnTo>
                    <a:lnTo>
                      <a:pt x="500" y="978"/>
                    </a:lnTo>
                    <a:lnTo>
                      <a:pt x="474" y="988"/>
                    </a:lnTo>
                    <a:lnTo>
                      <a:pt x="459" y="988"/>
                    </a:lnTo>
                    <a:lnTo>
                      <a:pt x="428" y="984"/>
                    </a:lnTo>
                    <a:lnTo>
                      <a:pt x="377" y="978"/>
                    </a:lnTo>
                    <a:lnTo>
                      <a:pt x="287" y="942"/>
                    </a:lnTo>
                    <a:lnTo>
                      <a:pt x="251" y="937"/>
                    </a:lnTo>
                    <a:lnTo>
                      <a:pt x="217" y="948"/>
                    </a:lnTo>
                    <a:lnTo>
                      <a:pt x="189" y="963"/>
                    </a:lnTo>
                    <a:lnTo>
                      <a:pt x="159" y="967"/>
                    </a:lnTo>
                    <a:lnTo>
                      <a:pt x="132" y="984"/>
                    </a:lnTo>
                    <a:lnTo>
                      <a:pt x="117" y="993"/>
                    </a:lnTo>
                    <a:lnTo>
                      <a:pt x="60" y="932"/>
                    </a:lnTo>
                    <a:lnTo>
                      <a:pt x="60" y="845"/>
                    </a:lnTo>
                    <a:lnTo>
                      <a:pt x="35" y="813"/>
                    </a:lnTo>
                    <a:lnTo>
                      <a:pt x="5" y="789"/>
                    </a:lnTo>
                    <a:lnTo>
                      <a:pt x="0" y="773"/>
                    </a:lnTo>
                    <a:lnTo>
                      <a:pt x="0" y="742"/>
                    </a:lnTo>
                    <a:lnTo>
                      <a:pt x="15" y="726"/>
                    </a:lnTo>
                    <a:lnTo>
                      <a:pt x="56" y="711"/>
                    </a:lnTo>
                    <a:lnTo>
                      <a:pt x="66" y="701"/>
                    </a:lnTo>
                    <a:lnTo>
                      <a:pt x="51" y="681"/>
                    </a:lnTo>
                    <a:lnTo>
                      <a:pt x="45" y="645"/>
                    </a:lnTo>
                    <a:lnTo>
                      <a:pt x="60" y="614"/>
                    </a:lnTo>
                    <a:lnTo>
                      <a:pt x="92" y="584"/>
                    </a:lnTo>
                    <a:lnTo>
                      <a:pt x="92" y="559"/>
                    </a:lnTo>
                    <a:lnTo>
                      <a:pt x="81" y="538"/>
                    </a:lnTo>
                    <a:lnTo>
                      <a:pt x="92" y="502"/>
                    </a:lnTo>
                    <a:lnTo>
                      <a:pt x="96" y="498"/>
                    </a:lnTo>
                    <a:lnTo>
                      <a:pt x="112" y="498"/>
                    </a:lnTo>
                    <a:lnTo>
                      <a:pt x="123" y="513"/>
                    </a:lnTo>
                    <a:lnTo>
                      <a:pt x="138" y="493"/>
                    </a:lnTo>
                    <a:lnTo>
                      <a:pt x="143" y="436"/>
                    </a:lnTo>
                    <a:lnTo>
                      <a:pt x="183" y="400"/>
                    </a:lnTo>
                    <a:lnTo>
                      <a:pt x="183" y="379"/>
                    </a:lnTo>
                    <a:lnTo>
                      <a:pt x="183" y="364"/>
                    </a:lnTo>
                    <a:lnTo>
                      <a:pt x="226" y="339"/>
                    </a:lnTo>
                    <a:lnTo>
                      <a:pt x="257" y="334"/>
                    </a:lnTo>
                    <a:lnTo>
                      <a:pt x="268" y="323"/>
                    </a:lnTo>
                    <a:lnTo>
                      <a:pt x="242" y="298"/>
                    </a:lnTo>
                    <a:lnTo>
                      <a:pt x="221" y="256"/>
                    </a:lnTo>
                    <a:lnTo>
                      <a:pt x="211" y="247"/>
                    </a:lnTo>
                    <a:lnTo>
                      <a:pt x="179" y="262"/>
                    </a:lnTo>
                    <a:lnTo>
                      <a:pt x="159" y="252"/>
                    </a:lnTo>
                    <a:lnTo>
                      <a:pt x="128" y="241"/>
                    </a:lnTo>
                    <a:lnTo>
                      <a:pt x="117" y="247"/>
                    </a:lnTo>
                    <a:lnTo>
                      <a:pt x="107" y="235"/>
                    </a:lnTo>
                    <a:lnTo>
                      <a:pt x="107" y="216"/>
                    </a:lnTo>
                    <a:lnTo>
                      <a:pt x="92" y="195"/>
                    </a:lnTo>
                    <a:lnTo>
                      <a:pt x="81" y="190"/>
                    </a:lnTo>
                    <a:lnTo>
                      <a:pt x="56" y="195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52" name="Freeform 38">
                <a:extLst>
                  <a:ext uri="{FF2B5EF4-FFF2-40B4-BE49-F238E27FC236}">
                    <a16:creationId xmlns:a16="http://schemas.microsoft.com/office/drawing/2014/main" id="{967959A1-7365-ECE6-6827-F6F3FE8B69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85247" y="2769226"/>
                <a:ext cx="46434" cy="34528"/>
              </a:xfrm>
              <a:custGeom>
                <a:avLst/>
                <a:gdLst>
                  <a:gd name="T0" fmla="*/ 45027 w 99"/>
                  <a:gd name="T1" fmla="*/ 0 h 78"/>
                  <a:gd name="T2" fmla="*/ 39399 w 99"/>
                  <a:gd name="T3" fmla="*/ 5902 h 78"/>
                  <a:gd name="T4" fmla="*/ 13133 w 99"/>
                  <a:gd name="T5" fmla="*/ 8853 h 78"/>
                  <a:gd name="T6" fmla="*/ 0 w 99"/>
                  <a:gd name="T7" fmla="*/ 24789 h 78"/>
                  <a:gd name="T8" fmla="*/ 19387 w 99"/>
                  <a:gd name="T9" fmla="*/ 36594 h 78"/>
                  <a:gd name="T10" fmla="*/ 29393 w 99"/>
                  <a:gd name="T11" fmla="*/ 46037 h 78"/>
                  <a:gd name="T12" fmla="*/ 48779 w 99"/>
                  <a:gd name="T13" fmla="*/ 42496 h 78"/>
                  <a:gd name="T14" fmla="*/ 61912 w 99"/>
                  <a:gd name="T15" fmla="*/ 36594 h 78"/>
                  <a:gd name="T16" fmla="*/ 58160 w 99"/>
                  <a:gd name="T17" fmla="*/ 24789 h 78"/>
                  <a:gd name="T18" fmla="*/ 48779 w 99"/>
                  <a:gd name="T19" fmla="*/ 15346 h 78"/>
                  <a:gd name="T20" fmla="*/ 45027 w 99"/>
                  <a:gd name="T21" fmla="*/ 0 h 7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99" h="78">
                    <a:moveTo>
                      <a:pt x="72" y="0"/>
                    </a:moveTo>
                    <a:lnTo>
                      <a:pt x="63" y="10"/>
                    </a:lnTo>
                    <a:lnTo>
                      <a:pt x="21" y="15"/>
                    </a:lnTo>
                    <a:lnTo>
                      <a:pt x="0" y="42"/>
                    </a:lnTo>
                    <a:lnTo>
                      <a:pt x="31" y="62"/>
                    </a:lnTo>
                    <a:lnTo>
                      <a:pt x="47" y="78"/>
                    </a:lnTo>
                    <a:lnTo>
                      <a:pt x="78" y="72"/>
                    </a:lnTo>
                    <a:lnTo>
                      <a:pt x="99" y="62"/>
                    </a:lnTo>
                    <a:lnTo>
                      <a:pt x="93" y="42"/>
                    </a:lnTo>
                    <a:lnTo>
                      <a:pt x="78" y="26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53" name="Freeform 39">
                <a:extLst>
                  <a:ext uri="{FF2B5EF4-FFF2-40B4-BE49-F238E27FC236}">
                    <a16:creationId xmlns:a16="http://schemas.microsoft.com/office/drawing/2014/main" id="{3E5FC51C-3B8E-FFAE-6FD5-F959038BC5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49566" y="2753747"/>
                <a:ext cx="78581" cy="116681"/>
              </a:xfrm>
              <a:custGeom>
                <a:avLst/>
                <a:gdLst>
                  <a:gd name="T0" fmla="*/ 62230 w 165"/>
                  <a:gd name="T1" fmla="*/ 0 h 267"/>
                  <a:gd name="T2" fmla="*/ 45720 w 165"/>
                  <a:gd name="T3" fmla="*/ 8740 h 267"/>
                  <a:gd name="T4" fmla="*/ 32385 w 165"/>
                  <a:gd name="T5" fmla="*/ 18063 h 267"/>
                  <a:gd name="T6" fmla="*/ 19050 w 165"/>
                  <a:gd name="T7" fmla="*/ 20976 h 267"/>
                  <a:gd name="T8" fmla="*/ 0 w 165"/>
                  <a:gd name="T9" fmla="*/ 18063 h 267"/>
                  <a:gd name="T10" fmla="*/ 3810 w 165"/>
                  <a:gd name="T11" fmla="*/ 36126 h 267"/>
                  <a:gd name="T12" fmla="*/ 13335 w 165"/>
                  <a:gd name="T13" fmla="*/ 47780 h 267"/>
                  <a:gd name="T14" fmla="*/ 9525 w 165"/>
                  <a:gd name="T15" fmla="*/ 78079 h 267"/>
                  <a:gd name="T16" fmla="*/ 9525 w 165"/>
                  <a:gd name="T17" fmla="*/ 92646 h 267"/>
                  <a:gd name="T18" fmla="*/ 13335 w 165"/>
                  <a:gd name="T19" fmla="*/ 104882 h 267"/>
                  <a:gd name="T20" fmla="*/ 3810 w 165"/>
                  <a:gd name="T21" fmla="*/ 128772 h 267"/>
                  <a:gd name="T22" fmla="*/ 6350 w 165"/>
                  <a:gd name="T23" fmla="*/ 146835 h 267"/>
                  <a:gd name="T24" fmla="*/ 19050 w 165"/>
                  <a:gd name="T25" fmla="*/ 155575 h 267"/>
                  <a:gd name="T26" fmla="*/ 38735 w 165"/>
                  <a:gd name="T27" fmla="*/ 143339 h 267"/>
                  <a:gd name="T28" fmla="*/ 45720 w 165"/>
                  <a:gd name="T29" fmla="*/ 140425 h 267"/>
                  <a:gd name="T30" fmla="*/ 66040 w 165"/>
                  <a:gd name="T31" fmla="*/ 143339 h 267"/>
                  <a:gd name="T32" fmla="*/ 79375 w 165"/>
                  <a:gd name="T33" fmla="*/ 131685 h 267"/>
                  <a:gd name="T34" fmla="*/ 79375 w 165"/>
                  <a:gd name="T35" fmla="*/ 119449 h 267"/>
                  <a:gd name="T36" fmla="*/ 94615 w 165"/>
                  <a:gd name="T37" fmla="*/ 96142 h 267"/>
                  <a:gd name="T38" fmla="*/ 100965 w 165"/>
                  <a:gd name="T39" fmla="*/ 80410 h 267"/>
                  <a:gd name="T40" fmla="*/ 94615 w 165"/>
                  <a:gd name="T41" fmla="*/ 66425 h 267"/>
                  <a:gd name="T42" fmla="*/ 104775 w 165"/>
                  <a:gd name="T43" fmla="*/ 47780 h 267"/>
                  <a:gd name="T44" fmla="*/ 98425 w 165"/>
                  <a:gd name="T45" fmla="*/ 20976 h 267"/>
                  <a:gd name="T46" fmla="*/ 94615 w 165"/>
                  <a:gd name="T47" fmla="*/ 5827 h 267"/>
                  <a:gd name="T48" fmla="*/ 62230 w 165"/>
                  <a:gd name="T49" fmla="*/ 0 h 2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65" h="267">
                    <a:moveTo>
                      <a:pt x="98" y="0"/>
                    </a:moveTo>
                    <a:lnTo>
                      <a:pt x="72" y="15"/>
                    </a:lnTo>
                    <a:lnTo>
                      <a:pt x="51" y="31"/>
                    </a:lnTo>
                    <a:lnTo>
                      <a:pt x="30" y="36"/>
                    </a:lnTo>
                    <a:lnTo>
                      <a:pt x="0" y="31"/>
                    </a:lnTo>
                    <a:lnTo>
                      <a:pt x="6" y="62"/>
                    </a:lnTo>
                    <a:lnTo>
                      <a:pt x="21" y="82"/>
                    </a:lnTo>
                    <a:lnTo>
                      <a:pt x="15" y="134"/>
                    </a:lnTo>
                    <a:lnTo>
                      <a:pt x="15" y="159"/>
                    </a:lnTo>
                    <a:lnTo>
                      <a:pt x="21" y="180"/>
                    </a:lnTo>
                    <a:lnTo>
                      <a:pt x="6" y="221"/>
                    </a:lnTo>
                    <a:lnTo>
                      <a:pt x="10" y="252"/>
                    </a:lnTo>
                    <a:lnTo>
                      <a:pt x="30" y="267"/>
                    </a:lnTo>
                    <a:lnTo>
                      <a:pt x="61" y="246"/>
                    </a:lnTo>
                    <a:lnTo>
                      <a:pt x="72" y="241"/>
                    </a:lnTo>
                    <a:lnTo>
                      <a:pt x="104" y="246"/>
                    </a:lnTo>
                    <a:lnTo>
                      <a:pt x="125" y="226"/>
                    </a:lnTo>
                    <a:lnTo>
                      <a:pt x="125" y="205"/>
                    </a:lnTo>
                    <a:lnTo>
                      <a:pt x="149" y="165"/>
                    </a:lnTo>
                    <a:lnTo>
                      <a:pt x="159" y="138"/>
                    </a:lnTo>
                    <a:lnTo>
                      <a:pt x="149" y="114"/>
                    </a:lnTo>
                    <a:lnTo>
                      <a:pt x="165" y="82"/>
                    </a:lnTo>
                    <a:lnTo>
                      <a:pt x="155" y="36"/>
                    </a:lnTo>
                    <a:lnTo>
                      <a:pt x="149" y="10"/>
                    </a:lnTo>
                    <a:lnTo>
                      <a:pt x="98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54" name="Freeform 40">
                <a:extLst>
                  <a:ext uri="{FF2B5EF4-FFF2-40B4-BE49-F238E27FC236}">
                    <a16:creationId xmlns:a16="http://schemas.microsoft.com/office/drawing/2014/main" id="{928223BB-E3F4-CC42-C73D-632D1043D9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29350" y="2935913"/>
                <a:ext cx="141685" cy="82153"/>
              </a:xfrm>
              <a:custGeom>
                <a:avLst/>
                <a:gdLst>
                  <a:gd name="T0" fmla="*/ 179436 w 299"/>
                  <a:gd name="T1" fmla="*/ 0 h 188"/>
                  <a:gd name="T2" fmla="*/ 188913 w 299"/>
                  <a:gd name="T3" fmla="*/ 9322 h 188"/>
                  <a:gd name="T4" fmla="*/ 182595 w 299"/>
                  <a:gd name="T5" fmla="*/ 18062 h 188"/>
                  <a:gd name="T6" fmla="*/ 175645 w 299"/>
                  <a:gd name="T7" fmla="*/ 32628 h 188"/>
                  <a:gd name="T8" fmla="*/ 166168 w 299"/>
                  <a:gd name="T9" fmla="*/ 41368 h 188"/>
                  <a:gd name="T10" fmla="*/ 169959 w 299"/>
                  <a:gd name="T11" fmla="*/ 68752 h 188"/>
                  <a:gd name="T12" fmla="*/ 175645 w 299"/>
                  <a:gd name="T13" fmla="*/ 88562 h 188"/>
                  <a:gd name="T14" fmla="*/ 159218 w 299"/>
                  <a:gd name="T15" fmla="*/ 97884 h 188"/>
                  <a:gd name="T16" fmla="*/ 156690 w 299"/>
                  <a:gd name="T17" fmla="*/ 106624 h 188"/>
                  <a:gd name="T18" fmla="*/ 143422 w 299"/>
                  <a:gd name="T19" fmla="*/ 109537 h 188"/>
                  <a:gd name="T20" fmla="*/ 124468 w 299"/>
                  <a:gd name="T21" fmla="*/ 92058 h 188"/>
                  <a:gd name="T22" fmla="*/ 111200 w 299"/>
                  <a:gd name="T23" fmla="*/ 92058 h 188"/>
                  <a:gd name="T24" fmla="*/ 100459 w 299"/>
                  <a:gd name="T25" fmla="*/ 77492 h 188"/>
                  <a:gd name="T26" fmla="*/ 81504 w 299"/>
                  <a:gd name="T27" fmla="*/ 68752 h 188"/>
                  <a:gd name="T28" fmla="*/ 68236 w 299"/>
                  <a:gd name="T29" fmla="*/ 65256 h 188"/>
                  <a:gd name="T30" fmla="*/ 54968 w 299"/>
                  <a:gd name="T31" fmla="*/ 60012 h 188"/>
                  <a:gd name="T32" fmla="*/ 42332 w 299"/>
                  <a:gd name="T33" fmla="*/ 50107 h 188"/>
                  <a:gd name="T34" fmla="*/ 19586 w 299"/>
                  <a:gd name="T35" fmla="*/ 35541 h 188"/>
                  <a:gd name="T36" fmla="*/ 10109 w 299"/>
                  <a:gd name="T37" fmla="*/ 32628 h 188"/>
                  <a:gd name="T38" fmla="*/ 0 w 299"/>
                  <a:gd name="T39" fmla="*/ 23306 h 188"/>
                  <a:gd name="T40" fmla="*/ 0 w 299"/>
                  <a:gd name="T41" fmla="*/ 12236 h 188"/>
                  <a:gd name="T42" fmla="*/ 3791 w 299"/>
                  <a:gd name="T43" fmla="*/ 3496 h 188"/>
                  <a:gd name="T44" fmla="*/ 22745 w 299"/>
                  <a:gd name="T45" fmla="*/ 5826 h 188"/>
                  <a:gd name="T46" fmla="*/ 52441 w 299"/>
                  <a:gd name="T47" fmla="*/ 5826 h 188"/>
                  <a:gd name="T48" fmla="*/ 58759 w 299"/>
                  <a:gd name="T49" fmla="*/ 14566 h 188"/>
                  <a:gd name="T50" fmla="*/ 90982 w 299"/>
                  <a:gd name="T51" fmla="*/ 14566 h 188"/>
                  <a:gd name="T52" fmla="*/ 113727 w 299"/>
                  <a:gd name="T53" fmla="*/ 14566 h 188"/>
                  <a:gd name="T54" fmla="*/ 143422 w 299"/>
                  <a:gd name="T55" fmla="*/ 9322 h 188"/>
                  <a:gd name="T56" fmla="*/ 179436 w 299"/>
                  <a:gd name="T57" fmla="*/ 0 h 18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299" h="188">
                    <a:moveTo>
                      <a:pt x="284" y="0"/>
                    </a:moveTo>
                    <a:lnTo>
                      <a:pt x="299" y="16"/>
                    </a:lnTo>
                    <a:lnTo>
                      <a:pt x="289" y="31"/>
                    </a:lnTo>
                    <a:lnTo>
                      <a:pt x="278" y="56"/>
                    </a:lnTo>
                    <a:lnTo>
                      <a:pt x="263" y="71"/>
                    </a:lnTo>
                    <a:lnTo>
                      <a:pt x="269" y="118"/>
                    </a:lnTo>
                    <a:lnTo>
                      <a:pt x="278" y="152"/>
                    </a:lnTo>
                    <a:lnTo>
                      <a:pt x="252" y="168"/>
                    </a:lnTo>
                    <a:lnTo>
                      <a:pt x="248" y="183"/>
                    </a:lnTo>
                    <a:lnTo>
                      <a:pt x="227" y="188"/>
                    </a:lnTo>
                    <a:lnTo>
                      <a:pt x="197" y="158"/>
                    </a:lnTo>
                    <a:lnTo>
                      <a:pt x="176" y="158"/>
                    </a:lnTo>
                    <a:lnTo>
                      <a:pt x="159" y="133"/>
                    </a:lnTo>
                    <a:lnTo>
                      <a:pt x="129" y="118"/>
                    </a:lnTo>
                    <a:lnTo>
                      <a:pt x="108" y="112"/>
                    </a:lnTo>
                    <a:lnTo>
                      <a:pt x="87" y="103"/>
                    </a:lnTo>
                    <a:lnTo>
                      <a:pt x="67" y="86"/>
                    </a:lnTo>
                    <a:lnTo>
                      <a:pt x="31" y="61"/>
                    </a:lnTo>
                    <a:lnTo>
                      <a:pt x="16" y="56"/>
                    </a:lnTo>
                    <a:lnTo>
                      <a:pt x="0" y="40"/>
                    </a:lnTo>
                    <a:lnTo>
                      <a:pt x="0" y="21"/>
                    </a:lnTo>
                    <a:lnTo>
                      <a:pt x="6" y="6"/>
                    </a:lnTo>
                    <a:lnTo>
                      <a:pt x="36" y="10"/>
                    </a:lnTo>
                    <a:lnTo>
                      <a:pt x="83" y="10"/>
                    </a:lnTo>
                    <a:lnTo>
                      <a:pt x="93" y="25"/>
                    </a:lnTo>
                    <a:lnTo>
                      <a:pt x="144" y="25"/>
                    </a:lnTo>
                    <a:lnTo>
                      <a:pt x="180" y="25"/>
                    </a:lnTo>
                    <a:lnTo>
                      <a:pt x="227" y="16"/>
                    </a:lnTo>
                    <a:lnTo>
                      <a:pt x="284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55" name="Freeform 41">
                <a:extLst>
                  <a:ext uri="{FF2B5EF4-FFF2-40B4-BE49-F238E27FC236}">
                    <a16:creationId xmlns:a16="http://schemas.microsoft.com/office/drawing/2014/main" id="{09C02EBB-585F-505A-F4BE-3CC6810A76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32897" y="2457281"/>
                <a:ext cx="482203" cy="500063"/>
              </a:xfrm>
              <a:custGeom>
                <a:avLst/>
                <a:gdLst>
                  <a:gd name="T0" fmla="*/ 492140 w 1019"/>
                  <a:gd name="T1" fmla="*/ 658031 h 1147"/>
                  <a:gd name="T2" fmla="*/ 531259 w 1019"/>
                  <a:gd name="T3" fmla="*/ 595250 h 1147"/>
                  <a:gd name="T4" fmla="*/ 547664 w 1019"/>
                  <a:gd name="T5" fmla="*/ 574323 h 1147"/>
                  <a:gd name="T6" fmla="*/ 535045 w 1019"/>
                  <a:gd name="T7" fmla="*/ 544677 h 1147"/>
                  <a:gd name="T8" fmla="*/ 518009 w 1019"/>
                  <a:gd name="T9" fmla="*/ 541771 h 1147"/>
                  <a:gd name="T10" fmla="*/ 531259 w 1019"/>
                  <a:gd name="T11" fmla="*/ 518519 h 1147"/>
                  <a:gd name="T12" fmla="*/ 551449 w 1019"/>
                  <a:gd name="T13" fmla="*/ 485385 h 1147"/>
                  <a:gd name="T14" fmla="*/ 612651 w 1019"/>
                  <a:gd name="T15" fmla="*/ 523750 h 1147"/>
                  <a:gd name="T16" fmla="*/ 637889 w 1019"/>
                  <a:gd name="T17" fmla="*/ 523750 h 1147"/>
                  <a:gd name="T18" fmla="*/ 618330 w 1019"/>
                  <a:gd name="T19" fmla="*/ 478990 h 1147"/>
                  <a:gd name="T20" fmla="*/ 599402 w 1019"/>
                  <a:gd name="T21" fmla="*/ 476665 h 1147"/>
                  <a:gd name="T22" fmla="*/ 531259 w 1019"/>
                  <a:gd name="T23" fmla="*/ 426092 h 1147"/>
                  <a:gd name="T24" fmla="*/ 488355 w 1019"/>
                  <a:gd name="T25" fmla="*/ 398771 h 1147"/>
                  <a:gd name="T26" fmla="*/ 492140 w 1019"/>
                  <a:gd name="T27" fmla="*/ 380751 h 1147"/>
                  <a:gd name="T28" fmla="*/ 427783 w 1019"/>
                  <a:gd name="T29" fmla="*/ 353430 h 1147"/>
                  <a:gd name="T30" fmla="*/ 398760 w 1019"/>
                  <a:gd name="T31" fmla="*/ 330178 h 1147"/>
                  <a:gd name="T32" fmla="*/ 330617 w 1019"/>
                  <a:gd name="T33" fmla="*/ 235426 h 1147"/>
                  <a:gd name="T34" fmla="*/ 317367 w 1019"/>
                  <a:gd name="T35" fmla="*/ 160439 h 1147"/>
                  <a:gd name="T36" fmla="*/ 298439 w 1019"/>
                  <a:gd name="T37" fmla="*/ 130792 h 1147"/>
                  <a:gd name="T38" fmla="*/ 353331 w 1019"/>
                  <a:gd name="T39" fmla="*/ 107540 h 1147"/>
                  <a:gd name="T40" fmla="*/ 378569 w 1019"/>
                  <a:gd name="T41" fmla="*/ 56386 h 1147"/>
                  <a:gd name="T42" fmla="*/ 321153 w 1019"/>
                  <a:gd name="T43" fmla="*/ 33134 h 1147"/>
                  <a:gd name="T44" fmla="*/ 311689 w 1019"/>
                  <a:gd name="T45" fmla="*/ 12207 h 1147"/>
                  <a:gd name="T46" fmla="*/ 230296 w 1019"/>
                  <a:gd name="T47" fmla="*/ 2906 h 1147"/>
                  <a:gd name="T48" fmla="*/ 191808 w 1019"/>
                  <a:gd name="T49" fmla="*/ 41854 h 1147"/>
                  <a:gd name="T50" fmla="*/ 158999 w 1019"/>
                  <a:gd name="T51" fmla="*/ 38366 h 1147"/>
                  <a:gd name="T52" fmla="*/ 116726 w 1019"/>
                  <a:gd name="T53" fmla="*/ 50573 h 1147"/>
                  <a:gd name="T54" fmla="*/ 101583 w 1019"/>
                  <a:gd name="T55" fmla="*/ 23833 h 1147"/>
                  <a:gd name="T56" fmla="*/ 78869 w 1019"/>
                  <a:gd name="T57" fmla="*/ 47085 h 1147"/>
                  <a:gd name="T58" fmla="*/ 19559 w 1019"/>
                  <a:gd name="T59" fmla="*/ 68012 h 1147"/>
                  <a:gd name="T60" fmla="*/ 6309 w 1019"/>
                  <a:gd name="T61" fmla="*/ 109866 h 1147"/>
                  <a:gd name="T62" fmla="*/ 0 w 1019"/>
                  <a:gd name="T63" fmla="*/ 151719 h 1147"/>
                  <a:gd name="T64" fmla="*/ 26500 w 1019"/>
                  <a:gd name="T65" fmla="*/ 166833 h 1147"/>
                  <a:gd name="T66" fmla="*/ 45428 w 1019"/>
                  <a:gd name="T67" fmla="*/ 199967 h 1147"/>
                  <a:gd name="T68" fmla="*/ 107261 w 1019"/>
                  <a:gd name="T69" fmla="*/ 169739 h 1147"/>
                  <a:gd name="T70" fmla="*/ 165940 w 1019"/>
                  <a:gd name="T71" fmla="*/ 217987 h 1147"/>
                  <a:gd name="T72" fmla="*/ 191808 w 1019"/>
                  <a:gd name="T73" fmla="*/ 283093 h 1147"/>
                  <a:gd name="T74" fmla="*/ 236606 w 1019"/>
                  <a:gd name="T75" fmla="*/ 319133 h 1147"/>
                  <a:gd name="T76" fmla="*/ 294653 w 1019"/>
                  <a:gd name="T77" fmla="*/ 384239 h 1147"/>
                  <a:gd name="T78" fmla="*/ 385510 w 1019"/>
                  <a:gd name="T79" fmla="*/ 445856 h 1147"/>
                  <a:gd name="T80" fmla="*/ 414533 w 1019"/>
                  <a:gd name="T81" fmla="*/ 464458 h 1147"/>
                  <a:gd name="T82" fmla="*/ 437248 w 1019"/>
                  <a:gd name="T83" fmla="*/ 506311 h 1147"/>
                  <a:gd name="T84" fmla="*/ 473212 w 1019"/>
                  <a:gd name="T85" fmla="*/ 518519 h 1147"/>
                  <a:gd name="T86" fmla="*/ 485831 w 1019"/>
                  <a:gd name="T87" fmla="*/ 571417 h 1147"/>
                  <a:gd name="T88" fmla="*/ 475736 w 1019"/>
                  <a:gd name="T89" fmla="*/ 610945 h 1147"/>
                  <a:gd name="T90" fmla="*/ 465640 w 1019"/>
                  <a:gd name="T91" fmla="*/ 658031 h 114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019" h="1147">
                    <a:moveTo>
                      <a:pt x="738" y="1132"/>
                    </a:moveTo>
                    <a:lnTo>
                      <a:pt x="754" y="1147"/>
                    </a:lnTo>
                    <a:lnTo>
                      <a:pt x="780" y="1132"/>
                    </a:lnTo>
                    <a:lnTo>
                      <a:pt x="810" y="1091"/>
                    </a:lnTo>
                    <a:lnTo>
                      <a:pt x="826" y="1030"/>
                    </a:lnTo>
                    <a:lnTo>
                      <a:pt x="842" y="1024"/>
                    </a:lnTo>
                    <a:lnTo>
                      <a:pt x="853" y="1034"/>
                    </a:lnTo>
                    <a:lnTo>
                      <a:pt x="874" y="1015"/>
                    </a:lnTo>
                    <a:lnTo>
                      <a:pt x="868" y="988"/>
                    </a:lnTo>
                    <a:lnTo>
                      <a:pt x="878" y="968"/>
                    </a:lnTo>
                    <a:lnTo>
                      <a:pt x="874" y="958"/>
                    </a:lnTo>
                    <a:lnTo>
                      <a:pt x="848" y="937"/>
                    </a:lnTo>
                    <a:lnTo>
                      <a:pt x="838" y="937"/>
                    </a:lnTo>
                    <a:lnTo>
                      <a:pt x="842" y="926"/>
                    </a:lnTo>
                    <a:lnTo>
                      <a:pt x="821" y="932"/>
                    </a:lnTo>
                    <a:lnTo>
                      <a:pt x="810" y="922"/>
                    </a:lnTo>
                    <a:lnTo>
                      <a:pt x="810" y="911"/>
                    </a:lnTo>
                    <a:lnTo>
                      <a:pt x="842" y="892"/>
                    </a:lnTo>
                    <a:lnTo>
                      <a:pt x="857" y="871"/>
                    </a:lnTo>
                    <a:lnTo>
                      <a:pt x="857" y="839"/>
                    </a:lnTo>
                    <a:lnTo>
                      <a:pt x="874" y="835"/>
                    </a:lnTo>
                    <a:lnTo>
                      <a:pt x="925" y="860"/>
                    </a:lnTo>
                    <a:lnTo>
                      <a:pt x="944" y="865"/>
                    </a:lnTo>
                    <a:lnTo>
                      <a:pt x="971" y="901"/>
                    </a:lnTo>
                    <a:lnTo>
                      <a:pt x="980" y="922"/>
                    </a:lnTo>
                    <a:lnTo>
                      <a:pt x="996" y="922"/>
                    </a:lnTo>
                    <a:lnTo>
                      <a:pt x="1011" y="901"/>
                    </a:lnTo>
                    <a:lnTo>
                      <a:pt x="1019" y="881"/>
                    </a:lnTo>
                    <a:lnTo>
                      <a:pt x="1001" y="845"/>
                    </a:lnTo>
                    <a:lnTo>
                      <a:pt x="980" y="824"/>
                    </a:lnTo>
                    <a:lnTo>
                      <a:pt x="961" y="824"/>
                    </a:lnTo>
                    <a:lnTo>
                      <a:pt x="961" y="820"/>
                    </a:lnTo>
                    <a:lnTo>
                      <a:pt x="950" y="820"/>
                    </a:lnTo>
                    <a:lnTo>
                      <a:pt x="899" y="767"/>
                    </a:lnTo>
                    <a:lnTo>
                      <a:pt x="874" y="773"/>
                    </a:lnTo>
                    <a:lnTo>
                      <a:pt x="842" y="733"/>
                    </a:lnTo>
                    <a:lnTo>
                      <a:pt x="821" y="727"/>
                    </a:lnTo>
                    <a:lnTo>
                      <a:pt x="790" y="697"/>
                    </a:lnTo>
                    <a:lnTo>
                      <a:pt x="774" y="686"/>
                    </a:lnTo>
                    <a:lnTo>
                      <a:pt x="785" y="676"/>
                    </a:lnTo>
                    <a:lnTo>
                      <a:pt x="801" y="670"/>
                    </a:lnTo>
                    <a:lnTo>
                      <a:pt x="780" y="655"/>
                    </a:lnTo>
                    <a:lnTo>
                      <a:pt x="754" y="665"/>
                    </a:lnTo>
                    <a:lnTo>
                      <a:pt x="734" y="655"/>
                    </a:lnTo>
                    <a:lnTo>
                      <a:pt x="678" y="608"/>
                    </a:lnTo>
                    <a:lnTo>
                      <a:pt x="672" y="589"/>
                    </a:lnTo>
                    <a:lnTo>
                      <a:pt x="651" y="583"/>
                    </a:lnTo>
                    <a:lnTo>
                      <a:pt x="632" y="568"/>
                    </a:lnTo>
                    <a:lnTo>
                      <a:pt x="579" y="456"/>
                    </a:lnTo>
                    <a:lnTo>
                      <a:pt x="564" y="441"/>
                    </a:lnTo>
                    <a:lnTo>
                      <a:pt x="524" y="405"/>
                    </a:lnTo>
                    <a:lnTo>
                      <a:pt x="477" y="333"/>
                    </a:lnTo>
                    <a:lnTo>
                      <a:pt x="477" y="292"/>
                    </a:lnTo>
                    <a:lnTo>
                      <a:pt x="503" y="276"/>
                    </a:lnTo>
                    <a:lnTo>
                      <a:pt x="503" y="256"/>
                    </a:lnTo>
                    <a:lnTo>
                      <a:pt x="483" y="236"/>
                    </a:lnTo>
                    <a:lnTo>
                      <a:pt x="473" y="225"/>
                    </a:lnTo>
                    <a:lnTo>
                      <a:pt x="477" y="210"/>
                    </a:lnTo>
                    <a:lnTo>
                      <a:pt x="498" y="200"/>
                    </a:lnTo>
                    <a:lnTo>
                      <a:pt x="560" y="185"/>
                    </a:lnTo>
                    <a:lnTo>
                      <a:pt x="585" y="169"/>
                    </a:lnTo>
                    <a:lnTo>
                      <a:pt x="606" y="149"/>
                    </a:lnTo>
                    <a:lnTo>
                      <a:pt x="600" y="97"/>
                    </a:lnTo>
                    <a:lnTo>
                      <a:pt x="606" y="77"/>
                    </a:lnTo>
                    <a:lnTo>
                      <a:pt x="575" y="72"/>
                    </a:lnTo>
                    <a:lnTo>
                      <a:pt x="509" y="57"/>
                    </a:lnTo>
                    <a:lnTo>
                      <a:pt x="498" y="41"/>
                    </a:lnTo>
                    <a:lnTo>
                      <a:pt x="494" y="36"/>
                    </a:lnTo>
                    <a:lnTo>
                      <a:pt x="494" y="21"/>
                    </a:lnTo>
                    <a:lnTo>
                      <a:pt x="488" y="5"/>
                    </a:lnTo>
                    <a:lnTo>
                      <a:pt x="452" y="0"/>
                    </a:lnTo>
                    <a:lnTo>
                      <a:pt x="365" y="5"/>
                    </a:lnTo>
                    <a:lnTo>
                      <a:pt x="355" y="26"/>
                    </a:lnTo>
                    <a:lnTo>
                      <a:pt x="324" y="30"/>
                    </a:lnTo>
                    <a:lnTo>
                      <a:pt x="304" y="72"/>
                    </a:lnTo>
                    <a:lnTo>
                      <a:pt x="304" y="87"/>
                    </a:lnTo>
                    <a:lnTo>
                      <a:pt x="284" y="72"/>
                    </a:lnTo>
                    <a:lnTo>
                      <a:pt x="252" y="66"/>
                    </a:lnTo>
                    <a:lnTo>
                      <a:pt x="232" y="77"/>
                    </a:lnTo>
                    <a:lnTo>
                      <a:pt x="217" y="108"/>
                    </a:lnTo>
                    <a:lnTo>
                      <a:pt x="185" y="87"/>
                    </a:lnTo>
                    <a:lnTo>
                      <a:pt x="191" y="57"/>
                    </a:lnTo>
                    <a:lnTo>
                      <a:pt x="181" y="36"/>
                    </a:lnTo>
                    <a:lnTo>
                      <a:pt x="161" y="41"/>
                    </a:lnTo>
                    <a:lnTo>
                      <a:pt x="155" y="66"/>
                    </a:lnTo>
                    <a:lnTo>
                      <a:pt x="140" y="81"/>
                    </a:lnTo>
                    <a:lnTo>
                      <a:pt x="125" y="81"/>
                    </a:lnTo>
                    <a:lnTo>
                      <a:pt x="51" y="72"/>
                    </a:lnTo>
                    <a:lnTo>
                      <a:pt x="26" y="92"/>
                    </a:lnTo>
                    <a:lnTo>
                      <a:pt x="31" y="117"/>
                    </a:lnTo>
                    <a:lnTo>
                      <a:pt x="36" y="138"/>
                    </a:lnTo>
                    <a:lnTo>
                      <a:pt x="0" y="169"/>
                    </a:lnTo>
                    <a:lnTo>
                      <a:pt x="10" y="189"/>
                    </a:lnTo>
                    <a:lnTo>
                      <a:pt x="21" y="200"/>
                    </a:lnTo>
                    <a:lnTo>
                      <a:pt x="0" y="225"/>
                    </a:lnTo>
                    <a:lnTo>
                      <a:pt x="0" y="261"/>
                    </a:lnTo>
                    <a:lnTo>
                      <a:pt x="10" y="276"/>
                    </a:lnTo>
                    <a:lnTo>
                      <a:pt x="31" y="276"/>
                    </a:lnTo>
                    <a:lnTo>
                      <a:pt x="42" y="287"/>
                    </a:lnTo>
                    <a:lnTo>
                      <a:pt x="51" y="312"/>
                    </a:lnTo>
                    <a:lnTo>
                      <a:pt x="51" y="339"/>
                    </a:lnTo>
                    <a:lnTo>
                      <a:pt x="72" y="344"/>
                    </a:lnTo>
                    <a:lnTo>
                      <a:pt x="87" y="339"/>
                    </a:lnTo>
                    <a:lnTo>
                      <a:pt x="145" y="282"/>
                    </a:lnTo>
                    <a:lnTo>
                      <a:pt x="170" y="292"/>
                    </a:lnTo>
                    <a:lnTo>
                      <a:pt x="221" y="318"/>
                    </a:lnTo>
                    <a:lnTo>
                      <a:pt x="257" y="344"/>
                    </a:lnTo>
                    <a:lnTo>
                      <a:pt x="263" y="375"/>
                    </a:lnTo>
                    <a:lnTo>
                      <a:pt x="284" y="395"/>
                    </a:lnTo>
                    <a:lnTo>
                      <a:pt x="293" y="431"/>
                    </a:lnTo>
                    <a:lnTo>
                      <a:pt x="304" y="487"/>
                    </a:lnTo>
                    <a:lnTo>
                      <a:pt x="320" y="513"/>
                    </a:lnTo>
                    <a:lnTo>
                      <a:pt x="339" y="535"/>
                    </a:lnTo>
                    <a:lnTo>
                      <a:pt x="375" y="549"/>
                    </a:lnTo>
                    <a:lnTo>
                      <a:pt x="407" y="599"/>
                    </a:lnTo>
                    <a:lnTo>
                      <a:pt x="437" y="640"/>
                    </a:lnTo>
                    <a:lnTo>
                      <a:pt x="467" y="661"/>
                    </a:lnTo>
                    <a:lnTo>
                      <a:pt x="524" y="727"/>
                    </a:lnTo>
                    <a:lnTo>
                      <a:pt x="564" y="727"/>
                    </a:lnTo>
                    <a:lnTo>
                      <a:pt x="611" y="767"/>
                    </a:lnTo>
                    <a:lnTo>
                      <a:pt x="611" y="809"/>
                    </a:lnTo>
                    <a:lnTo>
                      <a:pt x="626" y="820"/>
                    </a:lnTo>
                    <a:lnTo>
                      <a:pt x="657" y="799"/>
                    </a:lnTo>
                    <a:lnTo>
                      <a:pt x="662" y="820"/>
                    </a:lnTo>
                    <a:lnTo>
                      <a:pt x="662" y="845"/>
                    </a:lnTo>
                    <a:lnTo>
                      <a:pt x="693" y="871"/>
                    </a:lnTo>
                    <a:lnTo>
                      <a:pt x="703" y="886"/>
                    </a:lnTo>
                    <a:lnTo>
                      <a:pt x="744" y="875"/>
                    </a:lnTo>
                    <a:lnTo>
                      <a:pt x="750" y="892"/>
                    </a:lnTo>
                    <a:lnTo>
                      <a:pt x="744" y="926"/>
                    </a:lnTo>
                    <a:lnTo>
                      <a:pt x="765" y="958"/>
                    </a:lnTo>
                    <a:lnTo>
                      <a:pt x="770" y="983"/>
                    </a:lnTo>
                    <a:lnTo>
                      <a:pt x="780" y="1009"/>
                    </a:lnTo>
                    <a:lnTo>
                      <a:pt x="774" y="1030"/>
                    </a:lnTo>
                    <a:lnTo>
                      <a:pt x="754" y="1051"/>
                    </a:lnTo>
                    <a:lnTo>
                      <a:pt x="750" y="1076"/>
                    </a:lnTo>
                    <a:lnTo>
                      <a:pt x="734" y="1106"/>
                    </a:lnTo>
                    <a:lnTo>
                      <a:pt x="738" y="113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56" name="Freeform 42">
                <a:extLst>
                  <a:ext uri="{FF2B5EF4-FFF2-40B4-BE49-F238E27FC236}">
                    <a16:creationId xmlns:a16="http://schemas.microsoft.com/office/drawing/2014/main" id="{7F39F34A-EB2F-0A6C-BCAD-9DB912D739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09084" y="2385845"/>
                <a:ext cx="194072" cy="116681"/>
              </a:xfrm>
              <a:custGeom>
                <a:avLst/>
                <a:gdLst>
                  <a:gd name="T0" fmla="*/ 136290 w 412"/>
                  <a:gd name="T1" fmla="*/ 29606 h 268"/>
                  <a:gd name="T2" fmla="*/ 123728 w 412"/>
                  <a:gd name="T3" fmla="*/ 19157 h 268"/>
                  <a:gd name="T4" fmla="*/ 124985 w 412"/>
                  <a:gd name="T5" fmla="*/ 15093 h 268"/>
                  <a:gd name="T6" fmla="*/ 117448 w 412"/>
                  <a:gd name="T7" fmla="*/ 8708 h 268"/>
                  <a:gd name="T8" fmla="*/ 110539 w 412"/>
                  <a:gd name="T9" fmla="*/ 0 h 268"/>
                  <a:gd name="T10" fmla="*/ 101746 w 412"/>
                  <a:gd name="T11" fmla="*/ 8708 h 268"/>
                  <a:gd name="T12" fmla="*/ 96722 w 412"/>
                  <a:gd name="T13" fmla="*/ 5805 h 268"/>
                  <a:gd name="T14" fmla="*/ 87301 w 412"/>
                  <a:gd name="T15" fmla="*/ 13932 h 268"/>
                  <a:gd name="T16" fmla="*/ 87301 w 412"/>
                  <a:gd name="T17" fmla="*/ 17996 h 268"/>
                  <a:gd name="T18" fmla="*/ 75996 w 412"/>
                  <a:gd name="T19" fmla="*/ 22640 h 268"/>
                  <a:gd name="T20" fmla="*/ 47105 w 412"/>
                  <a:gd name="T21" fmla="*/ 43538 h 268"/>
                  <a:gd name="T22" fmla="*/ 39568 w 412"/>
                  <a:gd name="T23" fmla="*/ 52245 h 268"/>
                  <a:gd name="T24" fmla="*/ 39568 w 412"/>
                  <a:gd name="T25" fmla="*/ 62694 h 268"/>
                  <a:gd name="T26" fmla="*/ 28891 w 412"/>
                  <a:gd name="T27" fmla="*/ 65597 h 268"/>
                  <a:gd name="T28" fmla="*/ 8165 w 412"/>
                  <a:gd name="T29" fmla="*/ 86495 h 268"/>
                  <a:gd name="T30" fmla="*/ 8165 w 412"/>
                  <a:gd name="T31" fmla="*/ 94042 h 268"/>
                  <a:gd name="T32" fmla="*/ 0 w 412"/>
                  <a:gd name="T33" fmla="*/ 102749 h 268"/>
                  <a:gd name="T34" fmla="*/ 3768 w 412"/>
                  <a:gd name="T35" fmla="*/ 113198 h 268"/>
                  <a:gd name="T36" fmla="*/ 13189 w 412"/>
                  <a:gd name="T37" fmla="*/ 107393 h 268"/>
                  <a:gd name="T38" fmla="*/ 22610 w 412"/>
                  <a:gd name="T39" fmla="*/ 98105 h 268"/>
                  <a:gd name="T40" fmla="*/ 37684 w 412"/>
                  <a:gd name="T41" fmla="*/ 95783 h 268"/>
                  <a:gd name="T42" fmla="*/ 47105 w 412"/>
                  <a:gd name="T43" fmla="*/ 98105 h 268"/>
                  <a:gd name="T44" fmla="*/ 50873 w 412"/>
                  <a:gd name="T45" fmla="*/ 113198 h 268"/>
                  <a:gd name="T46" fmla="*/ 48989 w 412"/>
                  <a:gd name="T47" fmla="*/ 123647 h 268"/>
                  <a:gd name="T48" fmla="*/ 54641 w 412"/>
                  <a:gd name="T49" fmla="*/ 130613 h 268"/>
                  <a:gd name="T50" fmla="*/ 62806 w 412"/>
                  <a:gd name="T51" fmla="*/ 135838 h 268"/>
                  <a:gd name="T52" fmla="*/ 79136 w 412"/>
                  <a:gd name="T53" fmla="*/ 137579 h 268"/>
                  <a:gd name="T54" fmla="*/ 115564 w 412"/>
                  <a:gd name="T55" fmla="*/ 141062 h 268"/>
                  <a:gd name="T56" fmla="*/ 123728 w 412"/>
                  <a:gd name="T57" fmla="*/ 137579 h 268"/>
                  <a:gd name="T58" fmla="*/ 128753 w 412"/>
                  <a:gd name="T59" fmla="*/ 130613 h 268"/>
                  <a:gd name="T60" fmla="*/ 132521 w 412"/>
                  <a:gd name="T61" fmla="*/ 117262 h 268"/>
                  <a:gd name="T62" fmla="*/ 145083 w 412"/>
                  <a:gd name="T63" fmla="*/ 116681 h 268"/>
                  <a:gd name="T64" fmla="*/ 149479 w 412"/>
                  <a:gd name="T65" fmla="*/ 125389 h 268"/>
                  <a:gd name="T66" fmla="*/ 149479 w 412"/>
                  <a:gd name="T67" fmla="*/ 145126 h 268"/>
                  <a:gd name="T68" fmla="*/ 165809 w 412"/>
                  <a:gd name="T69" fmla="*/ 155575 h 268"/>
                  <a:gd name="T70" fmla="*/ 178370 w 412"/>
                  <a:gd name="T71" fmla="*/ 138160 h 268"/>
                  <a:gd name="T72" fmla="*/ 191559 w 412"/>
                  <a:gd name="T73" fmla="*/ 132355 h 268"/>
                  <a:gd name="T74" fmla="*/ 206005 w 412"/>
                  <a:gd name="T75" fmla="*/ 134096 h 268"/>
                  <a:gd name="T76" fmla="*/ 217310 w 412"/>
                  <a:gd name="T77" fmla="*/ 139901 h 268"/>
                  <a:gd name="T78" fmla="*/ 221706 w 412"/>
                  <a:gd name="T79" fmla="*/ 144545 h 268"/>
                  <a:gd name="T80" fmla="*/ 224847 w 412"/>
                  <a:gd name="T81" fmla="*/ 129452 h 268"/>
                  <a:gd name="T82" fmla="*/ 233639 w 412"/>
                  <a:gd name="T83" fmla="*/ 111457 h 268"/>
                  <a:gd name="T84" fmla="*/ 253109 w 412"/>
                  <a:gd name="T85" fmla="*/ 108554 h 268"/>
                  <a:gd name="T86" fmla="*/ 258762 w 412"/>
                  <a:gd name="T87" fmla="*/ 96944 h 268"/>
                  <a:gd name="T88" fmla="*/ 253109 w 412"/>
                  <a:gd name="T89" fmla="*/ 87656 h 268"/>
                  <a:gd name="T90" fmla="*/ 244317 w 412"/>
                  <a:gd name="T91" fmla="*/ 83593 h 268"/>
                  <a:gd name="T92" fmla="*/ 219822 w 412"/>
                  <a:gd name="T93" fmla="*/ 79529 h 268"/>
                  <a:gd name="T94" fmla="*/ 219194 w 412"/>
                  <a:gd name="T95" fmla="*/ 68499 h 268"/>
                  <a:gd name="T96" fmla="*/ 219194 w 412"/>
                  <a:gd name="T97" fmla="*/ 56309 h 268"/>
                  <a:gd name="T98" fmla="*/ 219194 w 412"/>
                  <a:gd name="T99" fmla="*/ 47601 h 268"/>
                  <a:gd name="T100" fmla="*/ 204121 w 412"/>
                  <a:gd name="T101" fmla="*/ 40055 h 268"/>
                  <a:gd name="T102" fmla="*/ 196584 w 412"/>
                  <a:gd name="T103" fmla="*/ 43538 h 268"/>
                  <a:gd name="T104" fmla="*/ 183394 w 412"/>
                  <a:gd name="T105" fmla="*/ 34830 h 268"/>
                  <a:gd name="T106" fmla="*/ 181510 w 412"/>
                  <a:gd name="T107" fmla="*/ 27864 h 268"/>
                  <a:gd name="T108" fmla="*/ 176486 w 412"/>
                  <a:gd name="T109" fmla="*/ 20898 h 268"/>
                  <a:gd name="T110" fmla="*/ 176486 w 412"/>
                  <a:gd name="T111" fmla="*/ 17996 h 268"/>
                  <a:gd name="T112" fmla="*/ 162668 w 412"/>
                  <a:gd name="T113" fmla="*/ 13932 h 268"/>
                  <a:gd name="T114" fmla="*/ 157644 w 412"/>
                  <a:gd name="T115" fmla="*/ 19157 h 268"/>
                  <a:gd name="T116" fmla="*/ 147595 w 412"/>
                  <a:gd name="T117" fmla="*/ 25542 h 268"/>
                  <a:gd name="T118" fmla="*/ 136290 w 412"/>
                  <a:gd name="T119" fmla="*/ 29606 h 26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412" h="268">
                    <a:moveTo>
                      <a:pt x="217" y="51"/>
                    </a:moveTo>
                    <a:lnTo>
                      <a:pt x="197" y="33"/>
                    </a:lnTo>
                    <a:lnTo>
                      <a:pt x="199" y="26"/>
                    </a:lnTo>
                    <a:lnTo>
                      <a:pt x="187" y="15"/>
                    </a:lnTo>
                    <a:lnTo>
                      <a:pt x="176" y="0"/>
                    </a:lnTo>
                    <a:lnTo>
                      <a:pt x="162" y="15"/>
                    </a:lnTo>
                    <a:lnTo>
                      <a:pt x="154" y="10"/>
                    </a:lnTo>
                    <a:lnTo>
                      <a:pt x="139" y="24"/>
                    </a:lnTo>
                    <a:lnTo>
                      <a:pt x="139" y="31"/>
                    </a:lnTo>
                    <a:lnTo>
                      <a:pt x="121" y="39"/>
                    </a:lnTo>
                    <a:lnTo>
                      <a:pt x="75" y="75"/>
                    </a:lnTo>
                    <a:lnTo>
                      <a:pt x="63" y="90"/>
                    </a:lnTo>
                    <a:lnTo>
                      <a:pt x="63" y="108"/>
                    </a:lnTo>
                    <a:lnTo>
                      <a:pt x="46" y="113"/>
                    </a:lnTo>
                    <a:lnTo>
                      <a:pt x="13" y="149"/>
                    </a:lnTo>
                    <a:lnTo>
                      <a:pt x="13" y="162"/>
                    </a:lnTo>
                    <a:lnTo>
                      <a:pt x="0" y="177"/>
                    </a:lnTo>
                    <a:lnTo>
                      <a:pt x="6" y="195"/>
                    </a:lnTo>
                    <a:lnTo>
                      <a:pt x="21" y="185"/>
                    </a:lnTo>
                    <a:lnTo>
                      <a:pt x="36" y="169"/>
                    </a:lnTo>
                    <a:lnTo>
                      <a:pt x="60" y="165"/>
                    </a:lnTo>
                    <a:lnTo>
                      <a:pt x="75" y="169"/>
                    </a:lnTo>
                    <a:lnTo>
                      <a:pt x="81" y="195"/>
                    </a:lnTo>
                    <a:lnTo>
                      <a:pt x="78" y="213"/>
                    </a:lnTo>
                    <a:lnTo>
                      <a:pt x="87" y="225"/>
                    </a:lnTo>
                    <a:lnTo>
                      <a:pt x="100" y="234"/>
                    </a:lnTo>
                    <a:lnTo>
                      <a:pt x="126" y="237"/>
                    </a:lnTo>
                    <a:lnTo>
                      <a:pt x="184" y="243"/>
                    </a:lnTo>
                    <a:lnTo>
                      <a:pt x="197" y="237"/>
                    </a:lnTo>
                    <a:lnTo>
                      <a:pt x="205" y="225"/>
                    </a:lnTo>
                    <a:lnTo>
                      <a:pt x="211" y="202"/>
                    </a:lnTo>
                    <a:lnTo>
                      <a:pt x="231" y="201"/>
                    </a:lnTo>
                    <a:lnTo>
                      <a:pt x="238" y="216"/>
                    </a:lnTo>
                    <a:lnTo>
                      <a:pt x="238" y="250"/>
                    </a:lnTo>
                    <a:lnTo>
                      <a:pt x="264" y="268"/>
                    </a:lnTo>
                    <a:lnTo>
                      <a:pt x="284" y="238"/>
                    </a:lnTo>
                    <a:lnTo>
                      <a:pt x="305" y="228"/>
                    </a:lnTo>
                    <a:lnTo>
                      <a:pt x="328" y="231"/>
                    </a:lnTo>
                    <a:lnTo>
                      <a:pt x="346" y="241"/>
                    </a:lnTo>
                    <a:lnTo>
                      <a:pt x="353" y="249"/>
                    </a:lnTo>
                    <a:lnTo>
                      <a:pt x="358" y="223"/>
                    </a:lnTo>
                    <a:lnTo>
                      <a:pt x="372" y="192"/>
                    </a:lnTo>
                    <a:lnTo>
                      <a:pt x="403" y="187"/>
                    </a:lnTo>
                    <a:lnTo>
                      <a:pt x="412" y="167"/>
                    </a:lnTo>
                    <a:lnTo>
                      <a:pt x="403" y="151"/>
                    </a:lnTo>
                    <a:lnTo>
                      <a:pt x="389" y="144"/>
                    </a:lnTo>
                    <a:lnTo>
                      <a:pt x="350" y="137"/>
                    </a:lnTo>
                    <a:lnTo>
                      <a:pt x="349" y="118"/>
                    </a:lnTo>
                    <a:lnTo>
                      <a:pt x="349" y="97"/>
                    </a:lnTo>
                    <a:lnTo>
                      <a:pt x="349" y="82"/>
                    </a:lnTo>
                    <a:lnTo>
                      <a:pt x="325" y="69"/>
                    </a:lnTo>
                    <a:lnTo>
                      <a:pt x="313" y="75"/>
                    </a:lnTo>
                    <a:lnTo>
                      <a:pt x="292" y="60"/>
                    </a:lnTo>
                    <a:lnTo>
                      <a:pt x="289" y="48"/>
                    </a:lnTo>
                    <a:lnTo>
                      <a:pt x="281" y="36"/>
                    </a:lnTo>
                    <a:lnTo>
                      <a:pt x="281" y="31"/>
                    </a:lnTo>
                    <a:lnTo>
                      <a:pt x="259" y="24"/>
                    </a:lnTo>
                    <a:lnTo>
                      <a:pt x="251" y="33"/>
                    </a:lnTo>
                    <a:lnTo>
                      <a:pt x="235" y="44"/>
                    </a:lnTo>
                    <a:lnTo>
                      <a:pt x="217" y="51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57" name="Freeform 43">
                <a:extLst>
                  <a:ext uri="{FF2B5EF4-FFF2-40B4-BE49-F238E27FC236}">
                    <a16:creationId xmlns:a16="http://schemas.microsoft.com/office/drawing/2014/main" id="{30E3837E-2325-9501-83C3-4E9542796C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65056" y="2372747"/>
                <a:ext cx="296466" cy="123825"/>
              </a:xfrm>
              <a:custGeom>
                <a:avLst/>
                <a:gdLst>
                  <a:gd name="T0" fmla="*/ 16418 w 626"/>
                  <a:gd name="T1" fmla="*/ 57552 h 284"/>
                  <a:gd name="T2" fmla="*/ 31573 w 626"/>
                  <a:gd name="T3" fmla="*/ 65691 h 284"/>
                  <a:gd name="T4" fmla="*/ 54936 w 626"/>
                  <a:gd name="T5" fmla="*/ 63947 h 284"/>
                  <a:gd name="T6" fmla="*/ 76406 w 626"/>
                  <a:gd name="T7" fmla="*/ 62785 h 284"/>
                  <a:gd name="T8" fmla="*/ 102926 w 626"/>
                  <a:gd name="T9" fmla="*/ 70342 h 284"/>
                  <a:gd name="T10" fmla="*/ 120607 w 626"/>
                  <a:gd name="T11" fmla="*/ 68017 h 284"/>
                  <a:gd name="T12" fmla="*/ 150285 w 626"/>
                  <a:gd name="T13" fmla="*/ 65110 h 284"/>
                  <a:gd name="T14" fmla="*/ 182489 w 626"/>
                  <a:gd name="T15" fmla="*/ 80225 h 284"/>
                  <a:gd name="T16" fmla="*/ 198275 w 626"/>
                  <a:gd name="T17" fmla="*/ 65110 h 284"/>
                  <a:gd name="T18" fmla="*/ 185015 w 626"/>
                  <a:gd name="T19" fmla="*/ 31974 h 284"/>
                  <a:gd name="T20" fmla="*/ 239320 w 626"/>
                  <a:gd name="T21" fmla="*/ 4069 h 284"/>
                  <a:gd name="T22" fmla="*/ 253843 w 626"/>
                  <a:gd name="T23" fmla="*/ 15696 h 284"/>
                  <a:gd name="T24" fmla="*/ 292993 w 626"/>
                  <a:gd name="T25" fmla="*/ 1163 h 284"/>
                  <a:gd name="T26" fmla="*/ 335932 w 626"/>
                  <a:gd name="T27" fmla="*/ 13371 h 284"/>
                  <a:gd name="T28" fmla="*/ 363715 w 626"/>
                  <a:gd name="T29" fmla="*/ 6395 h 284"/>
                  <a:gd name="T30" fmla="*/ 385816 w 626"/>
                  <a:gd name="T31" fmla="*/ 41856 h 284"/>
                  <a:gd name="T32" fmla="*/ 392762 w 626"/>
                  <a:gd name="T33" fmla="*/ 65691 h 284"/>
                  <a:gd name="T34" fmla="*/ 374450 w 626"/>
                  <a:gd name="T35" fmla="*/ 80225 h 284"/>
                  <a:gd name="T36" fmla="*/ 376976 w 626"/>
                  <a:gd name="T37" fmla="*/ 96502 h 284"/>
                  <a:gd name="T38" fmla="*/ 370030 w 626"/>
                  <a:gd name="T39" fmla="*/ 118593 h 284"/>
                  <a:gd name="T40" fmla="*/ 349824 w 626"/>
                  <a:gd name="T41" fmla="*/ 137777 h 284"/>
                  <a:gd name="T42" fmla="*/ 331512 w 626"/>
                  <a:gd name="T43" fmla="*/ 151729 h 284"/>
                  <a:gd name="T44" fmla="*/ 287941 w 626"/>
                  <a:gd name="T45" fmla="*/ 154055 h 284"/>
                  <a:gd name="T46" fmla="*/ 251949 w 626"/>
                  <a:gd name="T47" fmla="*/ 165100 h 284"/>
                  <a:gd name="T48" fmla="*/ 191961 w 626"/>
                  <a:gd name="T49" fmla="*/ 154055 h 284"/>
                  <a:gd name="T50" fmla="*/ 134499 w 626"/>
                  <a:gd name="T51" fmla="*/ 132545 h 284"/>
                  <a:gd name="T52" fmla="*/ 130710 w 626"/>
                  <a:gd name="T53" fmla="*/ 113361 h 284"/>
                  <a:gd name="T54" fmla="*/ 93455 w 626"/>
                  <a:gd name="T55" fmla="*/ 111617 h 284"/>
                  <a:gd name="T56" fmla="*/ 45464 w 626"/>
                  <a:gd name="T57" fmla="*/ 105804 h 284"/>
                  <a:gd name="T58" fmla="*/ 24627 w 626"/>
                  <a:gd name="T59" fmla="*/ 98827 h 284"/>
                  <a:gd name="T60" fmla="*/ 11366 w 626"/>
                  <a:gd name="T61" fmla="*/ 84294 h 284"/>
                  <a:gd name="T62" fmla="*/ 0 w 626"/>
                  <a:gd name="T63" fmla="*/ 59296 h 28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626" h="284">
                    <a:moveTo>
                      <a:pt x="0" y="102"/>
                    </a:moveTo>
                    <a:lnTo>
                      <a:pt x="26" y="99"/>
                    </a:lnTo>
                    <a:lnTo>
                      <a:pt x="36" y="96"/>
                    </a:lnTo>
                    <a:lnTo>
                      <a:pt x="50" y="113"/>
                    </a:lnTo>
                    <a:lnTo>
                      <a:pt x="66" y="108"/>
                    </a:lnTo>
                    <a:lnTo>
                      <a:pt x="87" y="110"/>
                    </a:lnTo>
                    <a:lnTo>
                      <a:pt x="99" y="120"/>
                    </a:lnTo>
                    <a:lnTo>
                      <a:pt x="121" y="108"/>
                    </a:lnTo>
                    <a:lnTo>
                      <a:pt x="151" y="109"/>
                    </a:lnTo>
                    <a:lnTo>
                      <a:pt x="163" y="121"/>
                    </a:lnTo>
                    <a:lnTo>
                      <a:pt x="181" y="125"/>
                    </a:lnTo>
                    <a:lnTo>
                      <a:pt x="191" y="117"/>
                    </a:lnTo>
                    <a:lnTo>
                      <a:pt x="222" y="112"/>
                    </a:lnTo>
                    <a:lnTo>
                      <a:pt x="238" y="112"/>
                    </a:lnTo>
                    <a:lnTo>
                      <a:pt x="261" y="120"/>
                    </a:lnTo>
                    <a:lnTo>
                      <a:pt x="289" y="138"/>
                    </a:lnTo>
                    <a:lnTo>
                      <a:pt x="310" y="130"/>
                    </a:lnTo>
                    <a:lnTo>
                      <a:pt x="314" y="112"/>
                    </a:lnTo>
                    <a:lnTo>
                      <a:pt x="300" y="88"/>
                    </a:lnTo>
                    <a:lnTo>
                      <a:pt x="293" y="55"/>
                    </a:lnTo>
                    <a:lnTo>
                      <a:pt x="363" y="7"/>
                    </a:lnTo>
                    <a:lnTo>
                      <a:pt x="379" y="7"/>
                    </a:lnTo>
                    <a:lnTo>
                      <a:pt x="381" y="23"/>
                    </a:lnTo>
                    <a:lnTo>
                      <a:pt x="402" y="27"/>
                    </a:lnTo>
                    <a:lnTo>
                      <a:pt x="446" y="22"/>
                    </a:lnTo>
                    <a:lnTo>
                      <a:pt x="464" y="2"/>
                    </a:lnTo>
                    <a:lnTo>
                      <a:pt x="520" y="0"/>
                    </a:lnTo>
                    <a:lnTo>
                      <a:pt x="532" y="23"/>
                    </a:lnTo>
                    <a:lnTo>
                      <a:pt x="556" y="23"/>
                    </a:lnTo>
                    <a:lnTo>
                      <a:pt x="576" y="11"/>
                    </a:lnTo>
                    <a:lnTo>
                      <a:pt x="611" y="33"/>
                    </a:lnTo>
                    <a:lnTo>
                      <a:pt x="611" y="72"/>
                    </a:lnTo>
                    <a:lnTo>
                      <a:pt x="626" y="88"/>
                    </a:lnTo>
                    <a:lnTo>
                      <a:pt x="622" y="113"/>
                    </a:lnTo>
                    <a:lnTo>
                      <a:pt x="611" y="138"/>
                    </a:lnTo>
                    <a:lnTo>
                      <a:pt x="593" y="138"/>
                    </a:lnTo>
                    <a:lnTo>
                      <a:pt x="586" y="145"/>
                    </a:lnTo>
                    <a:lnTo>
                      <a:pt x="597" y="166"/>
                    </a:lnTo>
                    <a:lnTo>
                      <a:pt x="597" y="186"/>
                    </a:lnTo>
                    <a:lnTo>
                      <a:pt x="586" y="204"/>
                    </a:lnTo>
                    <a:lnTo>
                      <a:pt x="556" y="220"/>
                    </a:lnTo>
                    <a:lnTo>
                      <a:pt x="554" y="237"/>
                    </a:lnTo>
                    <a:lnTo>
                      <a:pt x="554" y="255"/>
                    </a:lnTo>
                    <a:lnTo>
                      <a:pt x="525" y="261"/>
                    </a:lnTo>
                    <a:lnTo>
                      <a:pt x="478" y="258"/>
                    </a:lnTo>
                    <a:lnTo>
                      <a:pt x="456" y="265"/>
                    </a:lnTo>
                    <a:lnTo>
                      <a:pt x="416" y="265"/>
                    </a:lnTo>
                    <a:lnTo>
                      <a:pt x="399" y="284"/>
                    </a:lnTo>
                    <a:lnTo>
                      <a:pt x="336" y="264"/>
                    </a:lnTo>
                    <a:lnTo>
                      <a:pt x="304" y="265"/>
                    </a:lnTo>
                    <a:lnTo>
                      <a:pt x="224" y="247"/>
                    </a:lnTo>
                    <a:lnTo>
                      <a:pt x="213" y="228"/>
                    </a:lnTo>
                    <a:lnTo>
                      <a:pt x="213" y="207"/>
                    </a:lnTo>
                    <a:lnTo>
                      <a:pt x="207" y="195"/>
                    </a:lnTo>
                    <a:lnTo>
                      <a:pt x="198" y="189"/>
                    </a:lnTo>
                    <a:lnTo>
                      <a:pt x="148" y="192"/>
                    </a:lnTo>
                    <a:lnTo>
                      <a:pt x="79" y="199"/>
                    </a:lnTo>
                    <a:lnTo>
                      <a:pt x="72" y="182"/>
                    </a:lnTo>
                    <a:lnTo>
                      <a:pt x="59" y="177"/>
                    </a:lnTo>
                    <a:lnTo>
                      <a:pt x="39" y="170"/>
                    </a:lnTo>
                    <a:lnTo>
                      <a:pt x="18" y="164"/>
                    </a:lnTo>
                    <a:lnTo>
                      <a:pt x="18" y="145"/>
                    </a:lnTo>
                    <a:lnTo>
                      <a:pt x="18" y="117"/>
                    </a:lnTo>
                    <a:lnTo>
                      <a:pt x="0" y="10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58" name="Freeform 44">
                <a:extLst>
                  <a:ext uri="{FF2B5EF4-FFF2-40B4-BE49-F238E27FC236}">
                    <a16:creationId xmlns:a16="http://schemas.microsoft.com/office/drawing/2014/main" id="{5614E491-E930-76F8-97FC-8B37A46491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25803" y="2388226"/>
                <a:ext cx="275034" cy="153590"/>
              </a:xfrm>
              <a:custGeom>
                <a:avLst/>
                <a:gdLst>
                  <a:gd name="T0" fmla="*/ 1894 w 581"/>
                  <a:gd name="T1" fmla="*/ 129523 h 351"/>
                  <a:gd name="T2" fmla="*/ 13255 w 581"/>
                  <a:gd name="T3" fmla="*/ 138275 h 351"/>
                  <a:gd name="T4" fmla="*/ 11361 w 581"/>
                  <a:gd name="T5" fmla="*/ 143526 h 351"/>
                  <a:gd name="T6" fmla="*/ 15148 w 581"/>
                  <a:gd name="T7" fmla="*/ 152278 h 351"/>
                  <a:gd name="T8" fmla="*/ 24616 w 581"/>
                  <a:gd name="T9" fmla="*/ 152278 h 351"/>
                  <a:gd name="T10" fmla="*/ 61224 w 581"/>
                  <a:gd name="T11" fmla="*/ 185534 h 351"/>
                  <a:gd name="T12" fmla="*/ 72585 w 581"/>
                  <a:gd name="T13" fmla="*/ 186700 h 351"/>
                  <a:gd name="T14" fmla="*/ 102250 w 581"/>
                  <a:gd name="T15" fmla="*/ 204787 h 351"/>
                  <a:gd name="T16" fmla="*/ 116136 w 581"/>
                  <a:gd name="T17" fmla="*/ 194285 h 351"/>
                  <a:gd name="T18" fmla="*/ 137596 w 581"/>
                  <a:gd name="T19" fmla="*/ 196035 h 351"/>
                  <a:gd name="T20" fmla="*/ 144539 w 581"/>
                  <a:gd name="T21" fmla="*/ 200119 h 351"/>
                  <a:gd name="T22" fmla="*/ 160318 w 581"/>
                  <a:gd name="T23" fmla="*/ 194285 h 351"/>
                  <a:gd name="T24" fmla="*/ 192508 w 581"/>
                  <a:gd name="T25" fmla="*/ 182033 h 351"/>
                  <a:gd name="T26" fmla="*/ 229747 w 581"/>
                  <a:gd name="T27" fmla="*/ 176199 h 351"/>
                  <a:gd name="T28" fmla="*/ 245527 w 581"/>
                  <a:gd name="T29" fmla="*/ 179116 h 351"/>
                  <a:gd name="T30" fmla="*/ 250576 w 581"/>
                  <a:gd name="T31" fmla="*/ 186700 h 351"/>
                  <a:gd name="T32" fmla="*/ 263831 w 581"/>
                  <a:gd name="T33" fmla="*/ 173281 h 351"/>
                  <a:gd name="T34" fmla="*/ 281504 w 581"/>
                  <a:gd name="T35" fmla="*/ 167447 h 351"/>
                  <a:gd name="T36" fmla="*/ 297914 w 581"/>
                  <a:gd name="T37" fmla="*/ 165113 h 351"/>
                  <a:gd name="T38" fmla="*/ 326948 w 581"/>
                  <a:gd name="T39" fmla="*/ 138275 h 351"/>
                  <a:gd name="T40" fmla="*/ 334522 w 581"/>
                  <a:gd name="T41" fmla="*/ 122522 h 351"/>
                  <a:gd name="T42" fmla="*/ 338309 w 581"/>
                  <a:gd name="T43" fmla="*/ 91016 h 351"/>
                  <a:gd name="T44" fmla="*/ 341465 w 581"/>
                  <a:gd name="T45" fmla="*/ 65345 h 351"/>
                  <a:gd name="T46" fmla="*/ 352826 w 581"/>
                  <a:gd name="T47" fmla="*/ 64178 h 351"/>
                  <a:gd name="T48" fmla="*/ 361663 w 581"/>
                  <a:gd name="T49" fmla="*/ 54843 h 351"/>
                  <a:gd name="T50" fmla="*/ 366712 w 581"/>
                  <a:gd name="T51" fmla="*/ 47259 h 351"/>
                  <a:gd name="T52" fmla="*/ 355351 w 581"/>
                  <a:gd name="T53" fmla="*/ 40257 h 351"/>
                  <a:gd name="T54" fmla="*/ 349670 w 581"/>
                  <a:gd name="T55" fmla="*/ 43174 h 351"/>
                  <a:gd name="T56" fmla="*/ 332629 w 581"/>
                  <a:gd name="T57" fmla="*/ 40257 h 351"/>
                  <a:gd name="T58" fmla="*/ 323161 w 581"/>
                  <a:gd name="T59" fmla="*/ 28005 h 351"/>
                  <a:gd name="T60" fmla="*/ 313693 w 581"/>
                  <a:gd name="T61" fmla="*/ 11669 h 351"/>
                  <a:gd name="T62" fmla="*/ 302332 w 581"/>
                  <a:gd name="T63" fmla="*/ 11669 h 351"/>
                  <a:gd name="T64" fmla="*/ 284659 w 581"/>
                  <a:gd name="T65" fmla="*/ 0 h 351"/>
                  <a:gd name="T66" fmla="*/ 275192 w 581"/>
                  <a:gd name="T67" fmla="*/ 1167 h 351"/>
                  <a:gd name="T68" fmla="*/ 239215 w 581"/>
                  <a:gd name="T69" fmla="*/ 5251 h 351"/>
                  <a:gd name="T70" fmla="*/ 232272 w 581"/>
                  <a:gd name="T71" fmla="*/ 15169 h 351"/>
                  <a:gd name="T72" fmla="*/ 222804 w 581"/>
                  <a:gd name="T73" fmla="*/ 26255 h 351"/>
                  <a:gd name="T74" fmla="*/ 209550 w 581"/>
                  <a:gd name="T75" fmla="*/ 32673 h 351"/>
                  <a:gd name="T76" fmla="*/ 197557 w 581"/>
                  <a:gd name="T77" fmla="*/ 35006 h 351"/>
                  <a:gd name="T78" fmla="*/ 188721 w 581"/>
                  <a:gd name="T79" fmla="*/ 32673 h 351"/>
                  <a:gd name="T80" fmla="*/ 181147 w 581"/>
                  <a:gd name="T81" fmla="*/ 28005 h 351"/>
                  <a:gd name="T82" fmla="*/ 174835 w 581"/>
                  <a:gd name="T83" fmla="*/ 26255 h 351"/>
                  <a:gd name="T84" fmla="*/ 163474 w 581"/>
                  <a:gd name="T85" fmla="*/ 31506 h 351"/>
                  <a:gd name="T86" fmla="*/ 148957 w 581"/>
                  <a:gd name="T87" fmla="*/ 38507 h 351"/>
                  <a:gd name="T88" fmla="*/ 118030 w 581"/>
                  <a:gd name="T89" fmla="*/ 50759 h 351"/>
                  <a:gd name="T90" fmla="*/ 104775 w 581"/>
                  <a:gd name="T91" fmla="*/ 51926 h 351"/>
                  <a:gd name="T92" fmla="*/ 72585 w 581"/>
                  <a:gd name="T93" fmla="*/ 50759 h 351"/>
                  <a:gd name="T94" fmla="*/ 68167 w 581"/>
                  <a:gd name="T95" fmla="*/ 49009 h 351"/>
                  <a:gd name="T96" fmla="*/ 59962 w 581"/>
                  <a:gd name="T97" fmla="*/ 36757 h 351"/>
                  <a:gd name="T98" fmla="*/ 49232 w 581"/>
                  <a:gd name="T99" fmla="*/ 31506 h 351"/>
                  <a:gd name="T100" fmla="*/ 45445 w 581"/>
                  <a:gd name="T101" fmla="*/ 35006 h 351"/>
                  <a:gd name="T102" fmla="*/ 44182 w 581"/>
                  <a:gd name="T103" fmla="*/ 47259 h 351"/>
                  <a:gd name="T104" fmla="*/ 37870 w 581"/>
                  <a:gd name="T105" fmla="*/ 59511 h 351"/>
                  <a:gd name="T106" fmla="*/ 26509 w 581"/>
                  <a:gd name="T107" fmla="*/ 59511 h 351"/>
                  <a:gd name="T108" fmla="*/ 22722 w 581"/>
                  <a:gd name="T109" fmla="*/ 62428 h 351"/>
                  <a:gd name="T110" fmla="*/ 29034 w 581"/>
                  <a:gd name="T111" fmla="*/ 74680 h 351"/>
                  <a:gd name="T112" fmla="*/ 27140 w 581"/>
                  <a:gd name="T113" fmla="*/ 86932 h 351"/>
                  <a:gd name="T114" fmla="*/ 19566 w 581"/>
                  <a:gd name="T115" fmla="*/ 98018 h 351"/>
                  <a:gd name="T116" fmla="*/ 13255 w 581"/>
                  <a:gd name="T117" fmla="*/ 103269 h 351"/>
                  <a:gd name="T118" fmla="*/ 3787 w 581"/>
                  <a:gd name="T119" fmla="*/ 107353 h 351"/>
                  <a:gd name="T120" fmla="*/ 0 w 581"/>
                  <a:gd name="T121" fmla="*/ 116688 h 351"/>
                  <a:gd name="T122" fmla="*/ 1894 w 581"/>
                  <a:gd name="T123" fmla="*/ 129523 h 35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581" h="351">
                    <a:moveTo>
                      <a:pt x="3" y="222"/>
                    </a:moveTo>
                    <a:lnTo>
                      <a:pt x="21" y="237"/>
                    </a:lnTo>
                    <a:lnTo>
                      <a:pt x="18" y="246"/>
                    </a:lnTo>
                    <a:lnTo>
                      <a:pt x="24" y="261"/>
                    </a:lnTo>
                    <a:lnTo>
                      <a:pt x="39" y="261"/>
                    </a:lnTo>
                    <a:lnTo>
                      <a:pt x="97" y="318"/>
                    </a:lnTo>
                    <a:lnTo>
                      <a:pt x="115" y="320"/>
                    </a:lnTo>
                    <a:lnTo>
                      <a:pt x="162" y="351"/>
                    </a:lnTo>
                    <a:lnTo>
                      <a:pt x="184" y="333"/>
                    </a:lnTo>
                    <a:lnTo>
                      <a:pt x="218" y="336"/>
                    </a:lnTo>
                    <a:lnTo>
                      <a:pt x="229" y="343"/>
                    </a:lnTo>
                    <a:lnTo>
                      <a:pt x="254" y="333"/>
                    </a:lnTo>
                    <a:lnTo>
                      <a:pt x="305" y="312"/>
                    </a:lnTo>
                    <a:lnTo>
                      <a:pt x="364" y="302"/>
                    </a:lnTo>
                    <a:lnTo>
                      <a:pt x="389" y="307"/>
                    </a:lnTo>
                    <a:lnTo>
                      <a:pt x="397" y="320"/>
                    </a:lnTo>
                    <a:lnTo>
                      <a:pt x="418" y="297"/>
                    </a:lnTo>
                    <a:lnTo>
                      <a:pt x="446" y="287"/>
                    </a:lnTo>
                    <a:lnTo>
                      <a:pt x="472" y="283"/>
                    </a:lnTo>
                    <a:lnTo>
                      <a:pt x="518" y="237"/>
                    </a:lnTo>
                    <a:lnTo>
                      <a:pt x="530" y="210"/>
                    </a:lnTo>
                    <a:lnTo>
                      <a:pt x="536" y="156"/>
                    </a:lnTo>
                    <a:lnTo>
                      <a:pt x="541" y="112"/>
                    </a:lnTo>
                    <a:lnTo>
                      <a:pt x="559" y="110"/>
                    </a:lnTo>
                    <a:lnTo>
                      <a:pt x="573" y="94"/>
                    </a:lnTo>
                    <a:lnTo>
                      <a:pt x="581" y="81"/>
                    </a:lnTo>
                    <a:lnTo>
                      <a:pt x="563" y="69"/>
                    </a:lnTo>
                    <a:lnTo>
                      <a:pt x="554" y="74"/>
                    </a:lnTo>
                    <a:lnTo>
                      <a:pt x="527" y="69"/>
                    </a:lnTo>
                    <a:lnTo>
                      <a:pt x="512" y="48"/>
                    </a:lnTo>
                    <a:lnTo>
                      <a:pt x="497" y="20"/>
                    </a:lnTo>
                    <a:lnTo>
                      <a:pt x="479" y="20"/>
                    </a:lnTo>
                    <a:lnTo>
                      <a:pt x="451" y="0"/>
                    </a:lnTo>
                    <a:lnTo>
                      <a:pt x="436" y="2"/>
                    </a:lnTo>
                    <a:lnTo>
                      <a:pt x="379" y="9"/>
                    </a:lnTo>
                    <a:lnTo>
                      <a:pt x="368" y="26"/>
                    </a:lnTo>
                    <a:lnTo>
                      <a:pt x="353" y="45"/>
                    </a:lnTo>
                    <a:lnTo>
                      <a:pt x="332" y="56"/>
                    </a:lnTo>
                    <a:lnTo>
                      <a:pt x="313" y="60"/>
                    </a:lnTo>
                    <a:lnTo>
                      <a:pt x="299" y="56"/>
                    </a:lnTo>
                    <a:lnTo>
                      <a:pt x="287" y="48"/>
                    </a:lnTo>
                    <a:lnTo>
                      <a:pt x="277" y="45"/>
                    </a:lnTo>
                    <a:lnTo>
                      <a:pt x="259" y="54"/>
                    </a:lnTo>
                    <a:lnTo>
                      <a:pt x="236" y="66"/>
                    </a:lnTo>
                    <a:lnTo>
                      <a:pt x="187" y="87"/>
                    </a:lnTo>
                    <a:lnTo>
                      <a:pt x="166" y="89"/>
                    </a:lnTo>
                    <a:lnTo>
                      <a:pt x="115" y="87"/>
                    </a:lnTo>
                    <a:lnTo>
                      <a:pt x="108" y="84"/>
                    </a:lnTo>
                    <a:lnTo>
                      <a:pt x="95" y="63"/>
                    </a:lnTo>
                    <a:lnTo>
                      <a:pt x="78" y="54"/>
                    </a:lnTo>
                    <a:lnTo>
                      <a:pt x="72" y="60"/>
                    </a:lnTo>
                    <a:lnTo>
                      <a:pt x="70" y="81"/>
                    </a:lnTo>
                    <a:lnTo>
                      <a:pt x="60" y="102"/>
                    </a:lnTo>
                    <a:lnTo>
                      <a:pt x="42" y="102"/>
                    </a:lnTo>
                    <a:lnTo>
                      <a:pt x="36" y="107"/>
                    </a:lnTo>
                    <a:lnTo>
                      <a:pt x="46" y="128"/>
                    </a:lnTo>
                    <a:lnTo>
                      <a:pt x="43" y="149"/>
                    </a:lnTo>
                    <a:lnTo>
                      <a:pt x="31" y="168"/>
                    </a:lnTo>
                    <a:lnTo>
                      <a:pt x="21" y="177"/>
                    </a:lnTo>
                    <a:lnTo>
                      <a:pt x="6" y="184"/>
                    </a:lnTo>
                    <a:lnTo>
                      <a:pt x="0" y="200"/>
                    </a:lnTo>
                    <a:lnTo>
                      <a:pt x="3" y="22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59" name="Freeform 45">
                <a:extLst>
                  <a:ext uri="{FF2B5EF4-FFF2-40B4-BE49-F238E27FC236}">
                    <a16:creationId xmlns:a16="http://schemas.microsoft.com/office/drawing/2014/main" id="{38AD62C7-A13D-4D3A-FE3B-C75AE6FFF6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07931" y="2484666"/>
                <a:ext cx="129779" cy="70247"/>
              </a:xfrm>
              <a:custGeom>
                <a:avLst/>
                <a:gdLst>
                  <a:gd name="T0" fmla="*/ 14472 w 275"/>
                  <a:gd name="T1" fmla="*/ 51250 h 159"/>
                  <a:gd name="T2" fmla="*/ 32091 w 275"/>
                  <a:gd name="T3" fmla="*/ 67744 h 159"/>
                  <a:gd name="T4" fmla="*/ 27057 w 275"/>
                  <a:gd name="T5" fmla="*/ 75402 h 159"/>
                  <a:gd name="T6" fmla="*/ 18877 w 275"/>
                  <a:gd name="T7" fmla="*/ 81292 h 159"/>
                  <a:gd name="T8" fmla="*/ 9438 w 275"/>
                  <a:gd name="T9" fmla="*/ 83060 h 159"/>
                  <a:gd name="T10" fmla="*/ 0 w 275"/>
                  <a:gd name="T11" fmla="*/ 84827 h 159"/>
                  <a:gd name="T12" fmla="*/ 17618 w 275"/>
                  <a:gd name="T13" fmla="*/ 91896 h 159"/>
                  <a:gd name="T14" fmla="*/ 24540 w 275"/>
                  <a:gd name="T15" fmla="*/ 93663 h 159"/>
                  <a:gd name="T16" fmla="*/ 45934 w 275"/>
                  <a:gd name="T17" fmla="*/ 81292 h 159"/>
                  <a:gd name="T18" fmla="*/ 93755 w 275"/>
                  <a:gd name="T19" fmla="*/ 92485 h 159"/>
                  <a:gd name="T20" fmla="*/ 125217 w 275"/>
                  <a:gd name="T21" fmla="*/ 60086 h 159"/>
                  <a:gd name="T22" fmla="*/ 131509 w 275"/>
                  <a:gd name="T23" fmla="*/ 46537 h 159"/>
                  <a:gd name="T24" fmla="*/ 137172 w 275"/>
                  <a:gd name="T25" fmla="*/ 42413 h 159"/>
                  <a:gd name="T26" fmla="*/ 154790 w 275"/>
                  <a:gd name="T27" fmla="*/ 44181 h 159"/>
                  <a:gd name="T28" fmla="*/ 173038 w 275"/>
                  <a:gd name="T29" fmla="*/ 24152 h 159"/>
                  <a:gd name="T30" fmla="*/ 171150 w 275"/>
                  <a:gd name="T31" fmla="*/ 12371 h 159"/>
                  <a:gd name="T32" fmla="*/ 159195 w 275"/>
                  <a:gd name="T33" fmla="*/ 0 h 159"/>
                  <a:gd name="T34" fmla="*/ 150386 w 275"/>
                  <a:gd name="T35" fmla="*/ 1767 h 159"/>
                  <a:gd name="T36" fmla="*/ 141577 w 275"/>
                  <a:gd name="T37" fmla="*/ 4124 h 159"/>
                  <a:gd name="T38" fmla="*/ 125846 w 275"/>
                  <a:gd name="T39" fmla="*/ 589 h 159"/>
                  <a:gd name="T40" fmla="*/ 110115 w 275"/>
                  <a:gd name="T41" fmla="*/ 1767 h 159"/>
                  <a:gd name="T42" fmla="*/ 95014 w 275"/>
                  <a:gd name="T43" fmla="*/ 5891 h 159"/>
                  <a:gd name="T44" fmla="*/ 72991 w 275"/>
                  <a:gd name="T45" fmla="*/ 4124 h 159"/>
                  <a:gd name="T46" fmla="*/ 63552 w 275"/>
                  <a:gd name="T47" fmla="*/ 15905 h 159"/>
                  <a:gd name="T48" fmla="*/ 27057 w 275"/>
                  <a:gd name="T49" fmla="*/ 5891 h 159"/>
                  <a:gd name="T50" fmla="*/ 13214 w 275"/>
                  <a:gd name="T51" fmla="*/ 5891 h 159"/>
                  <a:gd name="T52" fmla="*/ 13214 w 275"/>
                  <a:gd name="T53" fmla="*/ 25919 h 159"/>
                  <a:gd name="T54" fmla="*/ 14472 w 275"/>
                  <a:gd name="T55" fmla="*/ 51250 h 15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275" h="159">
                    <a:moveTo>
                      <a:pt x="23" y="87"/>
                    </a:moveTo>
                    <a:lnTo>
                      <a:pt x="51" y="115"/>
                    </a:lnTo>
                    <a:lnTo>
                      <a:pt x="43" y="128"/>
                    </a:lnTo>
                    <a:lnTo>
                      <a:pt x="30" y="138"/>
                    </a:lnTo>
                    <a:lnTo>
                      <a:pt x="15" y="141"/>
                    </a:lnTo>
                    <a:lnTo>
                      <a:pt x="0" y="144"/>
                    </a:lnTo>
                    <a:lnTo>
                      <a:pt x="28" y="156"/>
                    </a:lnTo>
                    <a:lnTo>
                      <a:pt x="39" y="159"/>
                    </a:lnTo>
                    <a:lnTo>
                      <a:pt x="73" y="138"/>
                    </a:lnTo>
                    <a:lnTo>
                      <a:pt x="149" y="157"/>
                    </a:lnTo>
                    <a:lnTo>
                      <a:pt x="199" y="102"/>
                    </a:lnTo>
                    <a:lnTo>
                      <a:pt x="209" y="79"/>
                    </a:lnTo>
                    <a:lnTo>
                      <a:pt x="218" y="72"/>
                    </a:lnTo>
                    <a:lnTo>
                      <a:pt x="246" y="75"/>
                    </a:lnTo>
                    <a:lnTo>
                      <a:pt x="275" y="41"/>
                    </a:lnTo>
                    <a:lnTo>
                      <a:pt x="272" y="21"/>
                    </a:lnTo>
                    <a:lnTo>
                      <a:pt x="253" y="0"/>
                    </a:lnTo>
                    <a:lnTo>
                      <a:pt x="239" y="3"/>
                    </a:lnTo>
                    <a:lnTo>
                      <a:pt x="225" y="7"/>
                    </a:lnTo>
                    <a:lnTo>
                      <a:pt x="200" y="1"/>
                    </a:lnTo>
                    <a:lnTo>
                      <a:pt x="175" y="3"/>
                    </a:lnTo>
                    <a:lnTo>
                      <a:pt x="151" y="10"/>
                    </a:lnTo>
                    <a:lnTo>
                      <a:pt x="116" y="7"/>
                    </a:lnTo>
                    <a:lnTo>
                      <a:pt x="101" y="27"/>
                    </a:lnTo>
                    <a:lnTo>
                      <a:pt x="43" y="10"/>
                    </a:lnTo>
                    <a:lnTo>
                      <a:pt x="21" y="10"/>
                    </a:lnTo>
                    <a:lnTo>
                      <a:pt x="21" y="44"/>
                    </a:lnTo>
                    <a:lnTo>
                      <a:pt x="23" y="87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60" name="Freeform 46">
                <a:extLst>
                  <a:ext uri="{FF2B5EF4-FFF2-40B4-BE49-F238E27FC236}">
                    <a16:creationId xmlns:a16="http://schemas.microsoft.com/office/drawing/2014/main" id="{08290D47-FFE6-ECFD-DF3F-FFB12CF7CC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88931" y="2610872"/>
                <a:ext cx="252413" cy="170260"/>
              </a:xfrm>
              <a:custGeom>
                <a:avLst/>
                <a:gdLst>
                  <a:gd name="T0" fmla="*/ 6338 w 531"/>
                  <a:gd name="T1" fmla="*/ 31513 h 389"/>
                  <a:gd name="T2" fmla="*/ 1901 w 531"/>
                  <a:gd name="T3" fmla="*/ 47854 h 389"/>
                  <a:gd name="T4" fmla="*/ 24718 w 531"/>
                  <a:gd name="T5" fmla="*/ 66528 h 389"/>
                  <a:gd name="T6" fmla="*/ 25986 w 531"/>
                  <a:gd name="T7" fmla="*/ 92789 h 389"/>
                  <a:gd name="T8" fmla="*/ 5070 w 531"/>
                  <a:gd name="T9" fmla="*/ 109130 h 389"/>
                  <a:gd name="T10" fmla="*/ 7606 w 531"/>
                  <a:gd name="T11" fmla="*/ 128388 h 389"/>
                  <a:gd name="T12" fmla="*/ 5070 w 531"/>
                  <a:gd name="T13" fmla="*/ 149980 h 389"/>
                  <a:gd name="T14" fmla="*/ 7606 w 531"/>
                  <a:gd name="T15" fmla="*/ 168655 h 389"/>
                  <a:gd name="T16" fmla="*/ 25986 w 531"/>
                  <a:gd name="T17" fmla="*/ 179159 h 389"/>
                  <a:gd name="T18" fmla="*/ 27254 w 531"/>
                  <a:gd name="T19" fmla="*/ 206004 h 389"/>
                  <a:gd name="T20" fmla="*/ 38662 w 531"/>
                  <a:gd name="T21" fmla="*/ 227013 h 389"/>
                  <a:gd name="T22" fmla="*/ 95704 w 531"/>
                  <a:gd name="T23" fmla="*/ 213007 h 389"/>
                  <a:gd name="T24" fmla="*/ 130564 w 531"/>
                  <a:gd name="T25" fmla="*/ 190831 h 389"/>
                  <a:gd name="T26" fmla="*/ 156550 w 531"/>
                  <a:gd name="T27" fmla="*/ 204253 h 389"/>
                  <a:gd name="T28" fmla="*/ 182536 w 531"/>
                  <a:gd name="T29" fmla="*/ 211256 h 389"/>
                  <a:gd name="T30" fmla="*/ 212958 w 531"/>
                  <a:gd name="T31" fmla="*/ 201335 h 389"/>
                  <a:gd name="T32" fmla="*/ 214860 w 531"/>
                  <a:gd name="T33" fmla="*/ 177409 h 389"/>
                  <a:gd name="T34" fmla="*/ 237677 w 531"/>
                  <a:gd name="T35" fmla="*/ 177409 h 389"/>
                  <a:gd name="T36" fmla="*/ 249085 w 531"/>
                  <a:gd name="T37" fmla="*/ 170989 h 389"/>
                  <a:gd name="T38" fmla="*/ 294719 w 531"/>
                  <a:gd name="T39" fmla="*/ 158150 h 389"/>
                  <a:gd name="T40" fmla="*/ 309930 w 531"/>
                  <a:gd name="T41" fmla="*/ 141227 h 389"/>
                  <a:gd name="T42" fmla="*/ 287113 w 531"/>
                  <a:gd name="T43" fmla="*/ 118467 h 389"/>
                  <a:gd name="T44" fmla="*/ 297888 w 531"/>
                  <a:gd name="T45" fmla="*/ 100376 h 389"/>
                  <a:gd name="T46" fmla="*/ 306127 w 531"/>
                  <a:gd name="T47" fmla="*/ 89871 h 389"/>
                  <a:gd name="T48" fmla="*/ 311832 w 531"/>
                  <a:gd name="T49" fmla="*/ 66528 h 389"/>
                  <a:gd name="T50" fmla="*/ 318803 w 531"/>
                  <a:gd name="T51" fmla="*/ 42018 h 389"/>
                  <a:gd name="T52" fmla="*/ 336550 w 531"/>
                  <a:gd name="T53" fmla="*/ 31513 h 389"/>
                  <a:gd name="T54" fmla="*/ 327043 w 531"/>
                  <a:gd name="T55" fmla="*/ 7587 h 389"/>
                  <a:gd name="T56" fmla="*/ 281409 w 531"/>
                  <a:gd name="T57" fmla="*/ 1751 h 389"/>
                  <a:gd name="T58" fmla="*/ 233240 w 531"/>
                  <a:gd name="T59" fmla="*/ 5252 h 389"/>
                  <a:gd name="T60" fmla="*/ 187606 w 531"/>
                  <a:gd name="T61" fmla="*/ 25678 h 389"/>
                  <a:gd name="T62" fmla="*/ 151479 w 531"/>
                  <a:gd name="T63" fmla="*/ 40267 h 389"/>
                  <a:gd name="T64" fmla="*/ 103944 w 531"/>
                  <a:gd name="T65" fmla="*/ 43769 h 389"/>
                  <a:gd name="T66" fmla="*/ 72887 w 531"/>
                  <a:gd name="T67" fmla="*/ 42018 h 389"/>
                  <a:gd name="T68" fmla="*/ 36127 w 531"/>
                  <a:gd name="T69" fmla="*/ 29763 h 389"/>
                  <a:gd name="T70" fmla="*/ 7606 w 531"/>
                  <a:gd name="T71" fmla="*/ 26845 h 38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531" h="389">
                    <a:moveTo>
                      <a:pt x="12" y="46"/>
                    </a:moveTo>
                    <a:lnTo>
                      <a:pt x="10" y="54"/>
                    </a:lnTo>
                    <a:lnTo>
                      <a:pt x="0" y="64"/>
                    </a:lnTo>
                    <a:lnTo>
                      <a:pt x="3" y="82"/>
                    </a:lnTo>
                    <a:lnTo>
                      <a:pt x="18" y="111"/>
                    </a:lnTo>
                    <a:lnTo>
                      <a:pt x="39" y="114"/>
                    </a:lnTo>
                    <a:lnTo>
                      <a:pt x="43" y="126"/>
                    </a:lnTo>
                    <a:lnTo>
                      <a:pt x="41" y="159"/>
                    </a:lnTo>
                    <a:lnTo>
                      <a:pt x="33" y="169"/>
                    </a:lnTo>
                    <a:lnTo>
                      <a:pt x="8" y="187"/>
                    </a:lnTo>
                    <a:lnTo>
                      <a:pt x="5" y="195"/>
                    </a:lnTo>
                    <a:lnTo>
                      <a:pt x="12" y="220"/>
                    </a:lnTo>
                    <a:lnTo>
                      <a:pt x="15" y="239"/>
                    </a:lnTo>
                    <a:lnTo>
                      <a:pt x="8" y="257"/>
                    </a:lnTo>
                    <a:lnTo>
                      <a:pt x="0" y="271"/>
                    </a:lnTo>
                    <a:lnTo>
                      <a:pt x="12" y="289"/>
                    </a:lnTo>
                    <a:lnTo>
                      <a:pt x="23" y="286"/>
                    </a:lnTo>
                    <a:lnTo>
                      <a:pt x="41" y="307"/>
                    </a:lnTo>
                    <a:lnTo>
                      <a:pt x="43" y="327"/>
                    </a:lnTo>
                    <a:lnTo>
                      <a:pt x="43" y="353"/>
                    </a:lnTo>
                    <a:lnTo>
                      <a:pt x="41" y="365"/>
                    </a:lnTo>
                    <a:lnTo>
                      <a:pt x="61" y="389"/>
                    </a:lnTo>
                    <a:lnTo>
                      <a:pt x="102" y="380"/>
                    </a:lnTo>
                    <a:lnTo>
                      <a:pt x="151" y="365"/>
                    </a:lnTo>
                    <a:lnTo>
                      <a:pt x="188" y="343"/>
                    </a:lnTo>
                    <a:lnTo>
                      <a:pt x="206" y="327"/>
                    </a:lnTo>
                    <a:lnTo>
                      <a:pt x="229" y="358"/>
                    </a:lnTo>
                    <a:lnTo>
                      <a:pt x="247" y="350"/>
                    </a:lnTo>
                    <a:lnTo>
                      <a:pt x="272" y="358"/>
                    </a:lnTo>
                    <a:lnTo>
                      <a:pt x="288" y="362"/>
                    </a:lnTo>
                    <a:lnTo>
                      <a:pt x="318" y="350"/>
                    </a:lnTo>
                    <a:lnTo>
                      <a:pt x="336" y="345"/>
                    </a:lnTo>
                    <a:lnTo>
                      <a:pt x="336" y="329"/>
                    </a:lnTo>
                    <a:lnTo>
                      <a:pt x="339" y="304"/>
                    </a:lnTo>
                    <a:lnTo>
                      <a:pt x="354" y="296"/>
                    </a:lnTo>
                    <a:lnTo>
                      <a:pt x="375" y="304"/>
                    </a:lnTo>
                    <a:lnTo>
                      <a:pt x="377" y="314"/>
                    </a:lnTo>
                    <a:lnTo>
                      <a:pt x="393" y="293"/>
                    </a:lnTo>
                    <a:lnTo>
                      <a:pt x="431" y="275"/>
                    </a:lnTo>
                    <a:lnTo>
                      <a:pt x="465" y="271"/>
                    </a:lnTo>
                    <a:lnTo>
                      <a:pt x="495" y="271"/>
                    </a:lnTo>
                    <a:lnTo>
                      <a:pt x="489" y="242"/>
                    </a:lnTo>
                    <a:lnTo>
                      <a:pt x="485" y="227"/>
                    </a:lnTo>
                    <a:lnTo>
                      <a:pt x="453" y="203"/>
                    </a:lnTo>
                    <a:lnTo>
                      <a:pt x="452" y="197"/>
                    </a:lnTo>
                    <a:lnTo>
                      <a:pt x="470" y="172"/>
                    </a:lnTo>
                    <a:lnTo>
                      <a:pt x="488" y="168"/>
                    </a:lnTo>
                    <a:lnTo>
                      <a:pt x="483" y="154"/>
                    </a:lnTo>
                    <a:lnTo>
                      <a:pt x="492" y="129"/>
                    </a:lnTo>
                    <a:lnTo>
                      <a:pt x="492" y="114"/>
                    </a:lnTo>
                    <a:lnTo>
                      <a:pt x="498" y="85"/>
                    </a:lnTo>
                    <a:lnTo>
                      <a:pt x="503" y="72"/>
                    </a:lnTo>
                    <a:lnTo>
                      <a:pt x="521" y="75"/>
                    </a:lnTo>
                    <a:lnTo>
                      <a:pt x="531" y="54"/>
                    </a:lnTo>
                    <a:lnTo>
                      <a:pt x="521" y="36"/>
                    </a:lnTo>
                    <a:lnTo>
                      <a:pt x="516" y="13"/>
                    </a:lnTo>
                    <a:lnTo>
                      <a:pt x="503" y="15"/>
                    </a:lnTo>
                    <a:lnTo>
                      <a:pt x="444" y="3"/>
                    </a:lnTo>
                    <a:lnTo>
                      <a:pt x="405" y="0"/>
                    </a:lnTo>
                    <a:lnTo>
                      <a:pt x="368" y="9"/>
                    </a:lnTo>
                    <a:lnTo>
                      <a:pt x="335" y="24"/>
                    </a:lnTo>
                    <a:lnTo>
                      <a:pt x="296" y="44"/>
                    </a:lnTo>
                    <a:lnTo>
                      <a:pt x="267" y="67"/>
                    </a:lnTo>
                    <a:lnTo>
                      <a:pt x="239" y="69"/>
                    </a:lnTo>
                    <a:lnTo>
                      <a:pt x="200" y="62"/>
                    </a:lnTo>
                    <a:lnTo>
                      <a:pt x="164" y="75"/>
                    </a:lnTo>
                    <a:lnTo>
                      <a:pt x="141" y="80"/>
                    </a:lnTo>
                    <a:lnTo>
                      <a:pt x="115" y="72"/>
                    </a:lnTo>
                    <a:lnTo>
                      <a:pt x="77" y="57"/>
                    </a:lnTo>
                    <a:lnTo>
                      <a:pt x="57" y="51"/>
                    </a:lnTo>
                    <a:lnTo>
                      <a:pt x="28" y="46"/>
                    </a:lnTo>
                    <a:lnTo>
                      <a:pt x="12" y="4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61" name="Freeform 47">
                <a:extLst>
                  <a:ext uri="{FF2B5EF4-FFF2-40B4-BE49-F238E27FC236}">
                    <a16:creationId xmlns:a16="http://schemas.microsoft.com/office/drawing/2014/main" id="{806D3E04-682C-2BE4-8AAE-C852FDA074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3675" y="2716838"/>
                <a:ext cx="97631" cy="150019"/>
              </a:xfrm>
              <a:custGeom>
                <a:avLst/>
                <a:gdLst>
                  <a:gd name="T0" fmla="*/ 10160 w 205"/>
                  <a:gd name="T1" fmla="*/ 44904 h 343"/>
                  <a:gd name="T2" fmla="*/ 17780 w 205"/>
                  <a:gd name="T3" fmla="*/ 50735 h 343"/>
                  <a:gd name="T4" fmla="*/ 17780 w 205"/>
                  <a:gd name="T5" fmla="*/ 59483 h 343"/>
                  <a:gd name="T6" fmla="*/ 17145 w 205"/>
                  <a:gd name="T7" fmla="*/ 65314 h 343"/>
                  <a:gd name="T8" fmla="*/ 11430 w 205"/>
                  <a:gd name="T9" fmla="*/ 73479 h 343"/>
                  <a:gd name="T10" fmla="*/ 11430 w 205"/>
                  <a:gd name="T11" fmla="*/ 92723 h 343"/>
                  <a:gd name="T12" fmla="*/ 15240 w 205"/>
                  <a:gd name="T13" fmla="*/ 99721 h 343"/>
                  <a:gd name="T14" fmla="*/ 3810 w 205"/>
                  <a:gd name="T15" fmla="*/ 116049 h 343"/>
                  <a:gd name="T16" fmla="*/ 6350 w 205"/>
                  <a:gd name="T17" fmla="*/ 118965 h 343"/>
                  <a:gd name="T18" fmla="*/ 0 w 205"/>
                  <a:gd name="T19" fmla="*/ 128296 h 343"/>
                  <a:gd name="T20" fmla="*/ 5715 w 205"/>
                  <a:gd name="T21" fmla="*/ 137043 h 343"/>
                  <a:gd name="T22" fmla="*/ 6350 w 205"/>
                  <a:gd name="T23" fmla="*/ 143458 h 343"/>
                  <a:gd name="T24" fmla="*/ 10160 w 205"/>
                  <a:gd name="T25" fmla="*/ 135294 h 343"/>
                  <a:gd name="T26" fmla="*/ 19685 w 205"/>
                  <a:gd name="T27" fmla="*/ 145791 h 343"/>
                  <a:gd name="T28" fmla="*/ 17780 w 205"/>
                  <a:gd name="T29" fmla="*/ 156288 h 343"/>
                  <a:gd name="T30" fmla="*/ 13335 w 205"/>
                  <a:gd name="T31" fmla="*/ 160953 h 343"/>
                  <a:gd name="T32" fmla="*/ 19685 w 205"/>
                  <a:gd name="T33" fmla="*/ 170284 h 343"/>
                  <a:gd name="T34" fmla="*/ 27305 w 205"/>
                  <a:gd name="T35" fmla="*/ 173199 h 343"/>
                  <a:gd name="T36" fmla="*/ 40640 w 205"/>
                  <a:gd name="T37" fmla="*/ 180781 h 343"/>
                  <a:gd name="T38" fmla="*/ 52070 w 205"/>
                  <a:gd name="T39" fmla="*/ 189528 h 343"/>
                  <a:gd name="T40" fmla="*/ 53975 w 205"/>
                  <a:gd name="T41" fmla="*/ 194777 h 343"/>
                  <a:gd name="T42" fmla="*/ 66675 w 205"/>
                  <a:gd name="T43" fmla="*/ 200025 h 343"/>
                  <a:gd name="T44" fmla="*/ 78105 w 205"/>
                  <a:gd name="T45" fmla="*/ 194777 h 343"/>
                  <a:gd name="T46" fmla="*/ 92710 w 205"/>
                  <a:gd name="T47" fmla="*/ 187779 h 343"/>
                  <a:gd name="T48" fmla="*/ 99695 w 205"/>
                  <a:gd name="T49" fmla="*/ 174949 h 343"/>
                  <a:gd name="T50" fmla="*/ 105410 w 205"/>
                  <a:gd name="T51" fmla="*/ 166785 h 343"/>
                  <a:gd name="T52" fmla="*/ 116840 w 205"/>
                  <a:gd name="T53" fmla="*/ 147540 h 343"/>
                  <a:gd name="T54" fmla="*/ 120650 w 205"/>
                  <a:gd name="T55" fmla="*/ 132961 h 343"/>
                  <a:gd name="T56" fmla="*/ 122555 w 205"/>
                  <a:gd name="T57" fmla="*/ 118965 h 343"/>
                  <a:gd name="T58" fmla="*/ 130175 w 205"/>
                  <a:gd name="T59" fmla="*/ 110218 h 343"/>
                  <a:gd name="T60" fmla="*/ 116840 w 205"/>
                  <a:gd name="T61" fmla="*/ 107302 h 343"/>
                  <a:gd name="T62" fmla="*/ 112395 w 205"/>
                  <a:gd name="T63" fmla="*/ 101470 h 343"/>
                  <a:gd name="T64" fmla="*/ 105410 w 205"/>
                  <a:gd name="T65" fmla="*/ 103220 h 343"/>
                  <a:gd name="T66" fmla="*/ 93980 w 205"/>
                  <a:gd name="T67" fmla="*/ 97971 h 343"/>
                  <a:gd name="T68" fmla="*/ 91440 w 205"/>
                  <a:gd name="T69" fmla="*/ 84559 h 343"/>
                  <a:gd name="T70" fmla="*/ 88265 w 205"/>
                  <a:gd name="T71" fmla="*/ 74645 h 343"/>
                  <a:gd name="T72" fmla="*/ 93980 w 205"/>
                  <a:gd name="T73" fmla="*/ 64148 h 343"/>
                  <a:gd name="T74" fmla="*/ 93980 w 205"/>
                  <a:gd name="T75" fmla="*/ 32657 h 343"/>
                  <a:gd name="T76" fmla="*/ 93980 w 205"/>
                  <a:gd name="T77" fmla="*/ 22743 h 343"/>
                  <a:gd name="T78" fmla="*/ 88265 w 205"/>
                  <a:gd name="T79" fmla="*/ 15745 h 343"/>
                  <a:gd name="T80" fmla="*/ 76835 w 205"/>
                  <a:gd name="T81" fmla="*/ 15162 h 343"/>
                  <a:gd name="T82" fmla="*/ 68580 w 205"/>
                  <a:gd name="T83" fmla="*/ 12246 h 343"/>
                  <a:gd name="T84" fmla="*/ 61595 w 205"/>
                  <a:gd name="T85" fmla="*/ 1749 h 343"/>
                  <a:gd name="T86" fmla="*/ 53975 w 205"/>
                  <a:gd name="T87" fmla="*/ 0 h 343"/>
                  <a:gd name="T88" fmla="*/ 50165 w 205"/>
                  <a:gd name="T89" fmla="*/ 4665 h 343"/>
                  <a:gd name="T90" fmla="*/ 49530 w 205"/>
                  <a:gd name="T91" fmla="*/ 1749 h 343"/>
                  <a:gd name="T92" fmla="*/ 36195 w 205"/>
                  <a:gd name="T93" fmla="*/ 2916 h 343"/>
                  <a:gd name="T94" fmla="*/ 29210 w 205"/>
                  <a:gd name="T95" fmla="*/ 0 h 343"/>
                  <a:gd name="T96" fmla="*/ 19685 w 205"/>
                  <a:gd name="T97" fmla="*/ 5248 h 343"/>
                  <a:gd name="T98" fmla="*/ 17780 w 205"/>
                  <a:gd name="T99" fmla="*/ 23910 h 343"/>
                  <a:gd name="T100" fmla="*/ 15240 w 205"/>
                  <a:gd name="T101" fmla="*/ 35573 h 343"/>
                  <a:gd name="T102" fmla="*/ 10160 w 205"/>
                  <a:gd name="T103" fmla="*/ 44904 h 343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205" h="343">
                    <a:moveTo>
                      <a:pt x="16" y="77"/>
                    </a:moveTo>
                    <a:lnTo>
                      <a:pt x="28" y="87"/>
                    </a:lnTo>
                    <a:lnTo>
                      <a:pt x="28" y="102"/>
                    </a:lnTo>
                    <a:lnTo>
                      <a:pt x="27" y="112"/>
                    </a:lnTo>
                    <a:lnTo>
                      <a:pt x="18" y="126"/>
                    </a:lnTo>
                    <a:lnTo>
                      <a:pt x="18" y="159"/>
                    </a:lnTo>
                    <a:lnTo>
                      <a:pt x="24" y="171"/>
                    </a:lnTo>
                    <a:lnTo>
                      <a:pt x="6" y="199"/>
                    </a:lnTo>
                    <a:lnTo>
                      <a:pt x="10" y="204"/>
                    </a:lnTo>
                    <a:lnTo>
                      <a:pt x="0" y="220"/>
                    </a:lnTo>
                    <a:lnTo>
                      <a:pt x="9" y="235"/>
                    </a:lnTo>
                    <a:lnTo>
                      <a:pt x="10" y="246"/>
                    </a:lnTo>
                    <a:lnTo>
                      <a:pt x="16" y="232"/>
                    </a:lnTo>
                    <a:lnTo>
                      <a:pt x="31" y="250"/>
                    </a:lnTo>
                    <a:lnTo>
                      <a:pt x="28" y="268"/>
                    </a:lnTo>
                    <a:lnTo>
                      <a:pt x="21" y="276"/>
                    </a:lnTo>
                    <a:lnTo>
                      <a:pt x="31" y="292"/>
                    </a:lnTo>
                    <a:lnTo>
                      <a:pt x="43" y="297"/>
                    </a:lnTo>
                    <a:lnTo>
                      <a:pt x="64" y="310"/>
                    </a:lnTo>
                    <a:lnTo>
                      <a:pt x="82" y="325"/>
                    </a:lnTo>
                    <a:lnTo>
                      <a:pt x="85" y="334"/>
                    </a:lnTo>
                    <a:lnTo>
                      <a:pt x="105" y="343"/>
                    </a:lnTo>
                    <a:lnTo>
                      <a:pt x="123" y="334"/>
                    </a:lnTo>
                    <a:lnTo>
                      <a:pt x="146" y="322"/>
                    </a:lnTo>
                    <a:lnTo>
                      <a:pt x="157" y="300"/>
                    </a:lnTo>
                    <a:lnTo>
                      <a:pt x="166" y="286"/>
                    </a:lnTo>
                    <a:lnTo>
                      <a:pt x="184" y="253"/>
                    </a:lnTo>
                    <a:lnTo>
                      <a:pt x="190" y="228"/>
                    </a:lnTo>
                    <a:lnTo>
                      <a:pt x="193" y="204"/>
                    </a:lnTo>
                    <a:lnTo>
                      <a:pt x="205" y="189"/>
                    </a:lnTo>
                    <a:lnTo>
                      <a:pt x="184" y="184"/>
                    </a:lnTo>
                    <a:lnTo>
                      <a:pt x="177" y="174"/>
                    </a:lnTo>
                    <a:lnTo>
                      <a:pt x="166" y="177"/>
                    </a:lnTo>
                    <a:lnTo>
                      <a:pt x="148" y="168"/>
                    </a:lnTo>
                    <a:lnTo>
                      <a:pt x="144" y="145"/>
                    </a:lnTo>
                    <a:lnTo>
                      <a:pt x="139" y="128"/>
                    </a:lnTo>
                    <a:lnTo>
                      <a:pt x="148" y="110"/>
                    </a:lnTo>
                    <a:lnTo>
                      <a:pt x="148" y="56"/>
                    </a:lnTo>
                    <a:lnTo>
                      <a:pt x="148" y="39"/>
                    </a:lnTo>
                    <a:lnTo>
                      <a:pt x="139" y="27"/>
                    </a:lnTo>
                    <a:lnTo>
                      <a:pt x="121" y="26"/>
                    </a:lnTo>
                    <a:lnTo>
                      <a:pt x="108" y="21"/>
                    </a:lnTo>
                    <a:lnTo>
                      <a:pt x="97" y="3"/>
                    </a:lnTo>
                    <a:lnTo>
                      <a:pt x="85" y="0"/>
                    </a:lnTo>
                    <a:lnTo>
                      <a:pt x="79" y="8"/>
                    </a:lnTo>
                    <a:lnTo>
                      <a:pt x="78" y="3"/>
                    </a:lnTo>
                    <a:lnTo>
                      <a:pt x="57" y="5"/>
                    </a:lnTo>
                    <a:lnTo>
                      <a:pt x="46" y="0"/>
                    </a:lnTo>
                    <a:lnTo>
                      <a:pt x="31" y="9"/>
                    </a:lnTo>
                    <a:lnTo>
                      <a:pt x="28" y="41"/>
                    </a:lnTo>
                    <a:lnTo>
                      <a:pt x="24" y="61"/>
                    </a:lnTo>
                    <a:lnTo>
                      <a:pt x="16" y="77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62" name="Freeform 48">
                <a:extLst>
                  <a:ext uri="{FF2B5EF4-FFF2-40B4-BE49-F238E27FC236}">
                    <a16:creationId xmlns:a16="http://schemas.microsoft.com/office/drawing/2014/main" id="{9448A8C2-84E6-ADD4-4A71-39936A6E65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16303" y="2402513"/>
                <a:ext cx="359569" cy="242888"/>
              </a:xfrm>
              <a:custGeom>
                <a:avLst/>
                <a:gdLst>
                  <a:gd name="T0" fmla="*/ 106469 w 761"/>
                  <a:gd name="T1" fmla="*/ 36695 h 556"/>
                  <a:gd name="T2" fmla="*/ 88829 w 761"/>
                  <a:gd name="T3" fmla="*/ 46015 h 556"/>
                  <a:gd name="T4" fmla="*/ 82529 w 761"/>
                  <a:gd name="T5" fmla="*/ 104844 h 556"/>
                  <a:gd name="T6" fmla="*/ 54179 w 761"/>
                  <a:gd name="T7" fmla="*/ 135714 h 556"/>
                  <a:gd name="T8" fmla="*/ 16380 w 761"/>
                  <a:gd name="T9" fmla="*/ 152023 h 556"/>
                  <a:gd name="T10" fmla="*/ 0 w 761"/>
                  <a:gd name="T11" fmla="*/ 172992 h 556"/>
                  <a:gd name="T12" fmla="*/ 15120 w 761"/>
                  <a:gd name="T13" fmla="*/ 190466 h 556"/>
                  <a:gd name="T14" fmla="*/ 15120 w 761"/>
                  <a:gd name="T15" fmla="*/ 207940 h 556"/>
                  <a:gd name="T16" fmla="*/ 35910 w 761"/>
                  <a:gd name="T17" fmla="*/ 211434 h 556"/>
                  <a:gd name="T18" fmla="*/ 45360 w 761"/>
                  <a:gd name="T19" fmla="*/ 237645 h 556"/>
                  <a:gd name="T20" fmla="*/ 51659 w 761"/>
                  <a:gd name="T21" fmla="*/ 260944 h 556"/>
                  <a:gd name="T22" fmla="*/ 66149 w 761"/>
                  <a:gd name="T23" fmla="*/ 260944 h 556"/>
                  <a:gd name="T24" fmla="*/ 90719 w 761"/>
                  <a:gd name="T25" fmla="*/ 262691 h 556"/>
                  <a:gd name="T26" fmla="*/ 90719 w 761"/>
                  <a:gd name="T27" fmla="*/ 276088 h 556"/>
                  <a:gd name="T28" fmla="*/ 106469 w 761"/>
                  <a:gd name="T29" fmla="*/ 288320 h 556"/>
                  <a:gd name="T30" fmla="*/ 106469 w 761"/>
                  <a:gd name="T31" fmla="*/ 304046 h 556"/>
                  <a:gd name="T32" fmla="*/ 139229 w 761"/>
                  <a:gd name="T33" fmla="*/ 311618 h 556"/>
                  <a:gd name="T34" fmla="*/ 185848 w 761"/>
                  <a:gd name="T35" fmla="*/ 323850 h 556"/>
                  <a:gd name="T36" fmla="*/ 220498 w 761"/>
                  <a:gd name="T37" fmla="*/ 314531 h 556"/>
                  <a:gd name="T38" fmla="*/ 259557 w 761"/>
                  <a:gd name="T39" fmla="*/ 318025 h 556"/>
                  <a:gd name="T40" fmla="*/ 282237 w 761"/>
                  <a:gd name="T41" fmla="*/ 305794 h 556"/>
                  <a:gd name="T42" fmla="*/ 346496 w 761"/>
                  <a:gd name="T43" fmla="*/ 278418 h 556"/>
                  <a:gd name="T44" fmla="*/ 384296 w 761"/>
                  <a:gd name="T45" fmla="*/ 281913 h 556"/>
                  <a:gd name="T46" fmla="*/ 412646 w 761"/>
                  <a:gd name="T47" fmla="*/ 286572 h 556"/>
                  <a:gd name="T48" fmla="*/ 430286 w 761"/>
                  <a:gd name="T49" fmla="*/ 273176 h 556"/>
                  <a:gd name="T50" fmla="*/ 432175 w 761"/>
                  <a:gd name="T51" fmla="*/ 227161 h 556"/>
                  <a:gd name="T52" fmla="*/ 448555 w 761"/>
                  <a:gd name="T53" fmla="*/ 211434 h 556"/>
                  <a:gd name="T54" fmla="*/ 464305 w 761"/>
                  <a:gd name="T55" fmla="*/ 211434 h 556"/>
                  <a:gd name="T56" fmla="*/ 468085 w 761"/>
                  <a:gd name="T57" fmla="*/ 199785 h 556"/>
                  <a:gd name="T58" fmla="*/ 479425 w 761"/>
                  <a:gd name="T59" fmla="*/ 189301 h 556"/>
                  <a:gd name="T60" fmla="*/ 454855 w 761"/>
                  <a:gd name="T61" fmla="*/ 181729 h 556"/>
                  <a:gd name="T62" fmla="*/ 425876 w 761"/>
                  <a:gd name="T63" fmla="*/ 187553 h 556"/>
                  <a:gd name="T64" fmla="*/ 398156 w 761"/>
                  <a:gd name="T65" fmla="*/ 181729 h 556"/>
                  <a:gd name="T66" fmla="*/ 393746 w 761"/>
                  <a:gd name="T67" fmla="*/ 160760 h 556"/>
                  <a:gd name="T68" fmla="*/ 384296 w 761"/>
                  <a:gd name="T69" fmla="*/ 139791 h 556"/>
                  <a:gd name="T70" fmla="*/ 379256 w 761"/>
                  <a:gd name="T71" fmla="*/ 118823 h 556"/>
                  <a:gd name="T72" fmla="*/ 380516 w 761"/>
                  <a:gd name="T73" fmla="*/ 99601 h 556"/>
                  <a:gd name="T74" fmla="*/ 359726 w 761"/>
                  <a:gd name="T75" fmla="*/ 69896 h 556"/>
                  <a:gd name="T76" fmla="*/ 352796 w 761"/>
                  <a:gd name="T77" fmla="*/ 48927 h 556"/>
                  <a:gd name="T78" fmla="*/ 332007 w 761"/>
                  <a:gd name="T79" fmla="*/ 32618 h 556"/>
                  <a:gd name="T80" fmla="*/ 318147 w 761"/>
                  <a:gd name="T81" fmla="*/ 6990 h 556"/>
                  <a:gd name="T82" fmla="*/ 303027 w 761"/>
                  <a:gd name="T83" fmla="*/ 0 h 556"/>
                  <a:gd name="T84" fmla="*/ 286647 w 761"/>
                  <a:gd name="T85" fmla="*/ 10484 h 556"/>
                  <a:gd name="T86" fmla="*/ 267747 w 761"/>
                  <a:gd name="T87" fmla="*/ 12232 h 556"/>
                  <a:gd name="T88" fmla="*/ 250737 w 761"/>
                  <a:gd name="T89" fmla="*/ 20969 h 556"/>
                  <a:gd name="T90" fmla="*/ 225538 w 761"/>
                  <a:gd name="T91" fmla="*/ 23881 h 556"/>
                  <a:gd name="T92" fmla="*/ 204748 w 761"/>
                  <a:gd name="T93" fmla="*/ 10484 h 556"/>
                  <a:gd name="T94" fmla="*/ 177658 w 761"/>
                  <a:gd name="T95" fmla="*/ 19221 h 556"/>
                  <a:gd name="T96" fmla="*/ 156868 w 761"/>
                  <a:gd name="T97" fmla="*/ 17474 h 556"/>
                  <a:gd name="T98" fmla="*/ 130409 w 761"/>
                  <a:gd name="T99" fmla="*/ 15727 h 556"/>
                  <a:gd name="T100" fmla="*/ 117809 w 761"/>
                  <a:gd name="T101" fmla="*/ 22716 h 556"/>
                  <a:gd name="T102" fmla="*/ 111509 w 761"/>
                  <a:gd name="T103" fmla="*/ 25046 h 55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761" h="556">
                    <a:moveTo>
                      <a:pt x="183" y="48"/>
                    </a:moveTo>
                    <a:lnTo>
                      <a:pt x="169" y="63"/>
                    </a:lnTo>
                    <a:lnTo>
                      <a:pt x="159" y="74"/>
                    </a:lnTo>
                    <a:lnTo>
                      <a:pt x="141" y="79"/>
                    </a:lnTo>
                    <a:lnTo>
                      <a:pt x="133" y="164"/>
                    </a:lnTo>
                    <a:lnTo>
                      <a:pt x="131" y="180"/>
                    </a:lnTo>
                    <a:lnTo>
                      <a:pt x="111" y="213"/>
                    </a:lnTo>
                    <a:lnTo>
                      <a:pt x="86" y="233"/>
                    </a:lnTo>
                    <a:lnTo>
                      <a:pt x="69" y="251"/>
                    </a:lnTo>
                    <a:lnTo>
                      <a:pt x="26" y="261"/>
                    </a:lnTo>
                    <a:lnTo>
                      <a:pt x="4" y="280"/>
                    </a:lnTo>
                    <a:lnTo>
                      <a:pt x="0" y="297"/>
                    </a:lnTo>
                    <a:lnTo>
                      <a:pt x="15" y="310"/>
                    </a:lnTo>
                    <a:lnTo>
                      <a:pt x="24" y="327"/>
                    </a:lnTo>
                    <a:lnTo>
                      <a:pt x="21" y="340"/>
                    </a:lnTo>
                    <a:lnTo>
                      <a:pt x="24" y="357"/>
                    </a:lnTo>
                    <a:lnTo>
                      <a:pt x="36" y="363"/>
                    </a:lnTo>
                    <a:lnTo>
                      <a:pt x="57" y="363"/>
                    </a:lnTo>
                    <a:lnTo>
                      <a:pt x="64" y="379"/>
                    </a:lnTo>
                    <a:lnTo>
                      <a:pt x="72" y="408"/>
                    </a:lnTo>
                    <a:lnTo>
                      <a:pt x="75" y="430"/>
                    </a:lnTo>
                    <a:lnTo>
                      <a:pt x="82" y="448"/>
                    </a:lnTo>
                    <a:lnTo>
                      <a:pt x="95" y="453"/>
                    </a:lnTo>
                    <a:lnTo>
                      <a:pt x="105" y="448"/>
                    </a:lnTo>
                    <a:lnTo>
                      <a:pt x="123" y="435"/>
                    </a:lnTo>
                    <a:lnTo>
                      <a:pt x="144" y="451"/>
                    </a:lnTo>
                    <a:lnTo>
                      <a:pt x="141" y="466"/>
                    </a:lnTo>
                    <a:lnTo>
                      <a:pt x="144" y="474"/>
                    </a:lnTo>
                    <a:lnTo>
                      <a:pt x="154" y="478"/>
                    </a:lnTo>
                    <a:lnTo>
                      <a:pt x="169" y="495"/>
                    </a:lnTo>
                    <a:lnTo>
                      <a:pt x="165" y="513"/>
                    </a:lnTo>
                    <a:lnTo>
                      <a:pt x="169" y="522"/>
                    </a:lnTo>
                    <a:lnTo>
                      <a:pt x="192" y="522"/>
                    </a:lnTo>
                    <a:lnTo>
                      <a:pt x="221" y="535"/>
                    </a:lnTo>
                    <a:lnTo>
                      <a:pt x="274" y="556"/>
                    </a:lnTo>
                    <a:lnTo>
                      <a:pt x="295" y="556"/>
                    </a:lnTo>
                    <a:lnTo>
                      <a:pt x="325" y="550"/>
                    </a:lnTo>
                    <a:lnTo>
                      <a:pt x="350" y="540"/>
                    </a:lnTo>
                    <a:lnTo>
                      <a:pt x="391" y="547"/>
                    </a:lnTo>
                    <a:lnTo>
                      <a:pt x="412" y="546"/>
                    </a:lnTo>
                    <a:lnTo>
                      <a:pt x="422" y="543"/>
                    </a:lnTo>
                    <a:lnTo>
                      <a:pt x="448" y="525"/>
                    </a:lnTo>
                    <a:lnTo>
                      <a:pt x="506" y="492"/>
                    </a:lnTo>
                    <a:lnTo>
                      <a:pt x="550" y="478"/>
                    </a:lnTo>
                    <a:lnTo>
                      <a:pt x="574" y="477"/>
                    </a:lnTo>
                    <a:lnTo>
                      <a:pt x="610" y="484"/>
                    </a:lnTo>
                    <a:lnTo>
                      <a:pt x="640" y="487"/>
                    </a:lnTo>
                    <a:lnTo>
                      <a:pt x="655" y="492"/>
                    </a:lnTo>
                    <a:lnTo>
                      <a:pt x="679" y="489"/>
                    </a:lnTo>
                    <a:lnTo>
                      <a:pt x="683" y="469"/>
                    </a:lnTo>
                    <a:lnTo>
                      <a:pt x="683" y="430"/>
                    </a:lnTo>
                    <a:lnTo>
                      <a:pt x="686" y="390"/>
                    </a:lnTo>
                    <a:lnTo>
                      <a:pt x="698" y="369"/>
                    </a:lnTo>
                    <a:lnTo>
                      <a:pt x="712" y="363"/>
                    </a:lnTo>
                    <a:lnTo>
                      <a:pt x="725" y="372"/>
                    </a:lnTo>
                    <a:lnTo>
                      <a:pt x="737" y="363"/>
                    </a:lnTo>
                    <a:lnTo>
                      <a:pt x="745" y="354"/>
                    </a:lnTo>
                    <a:lnTo>
                      <a:pt x="743" y="343"/>
                    </a:lnTo>
                    <a:lnTo>
                      <a:pt x="758" y="339"/>
                    </a:lnTo>
                    <a:lnTo>
                      <a:pt x="761" y="325"/>
                    </a:lnTo>
                    <a:lnTo>
                      <a:pt x="745" y="318"/>
                    </a:lnTo>
                    <a:lnTo>
                      <a:pt x="722" y="312"/>
                    </a:lnTo>
                    <a:lnTo>
                      <a:pt x="704" y="318"/>
                    </a:lnTo>
                    <a:lnTo>
                      <a:pt x="676" y="322"/>
                    </a:lnTo>
                    <a:lnTo>
                      <a:pt x="650" y="322"/>
                    </a:lnTo>
                    <a:lnTo>
                      <a:pt x="632" y="312"/>
                    </a:lnTo>
                    <a:lnTo>
                      <a:pt x="625" y="297"/>
                    </a:lnTo>
                    <a:lnTo>
                      <a:pt x="625" y="276"/>
                    </a:lnTo>
                    <a:lnTo>
                      <a:pt x="622" y="256"/>
                    </a:lnTo>
                    <a:lnTo>
                      <a:pt x="610" y="240"/>
                    </a:lnTo>
                    <a:lnTo>
                      <a:pt x="602" y="225"/>
                    </a:lnTo>
                    <a:lnTo>
                      <a:pt x="602" y="204"/>
                    </a:lnTo>
                    <a:lnTo>
                      <a:pt x="604" y="184"/>
                    </a:lnTo>
                    <a:lnTo>
                      <a:pt x="604" y="171"/>
                    </a:lnTo>
                    <a:lnTo>
                      <a:pt x="592" y="141"/>
                    </a:lnTo>
                    <a:lnTo>
                      <a:pt x="571" y="120"/>
                    </a:lnTo>
                    <a:lnTo>
                      <a:pt x="563" y="99"/>
                    </a:lnTo>
                    <a:lnTo>
                      <a:pt x="560" y="84"/>
                    </a:lnTo>
                    <a:lnTo>
                      <a:pt x="556" y="77"/>
                    </a:lnTo>
                    <a:lnTo>
                      <a:pt x="527" y="56"/>
                    </a:lnTo>
                    <a:lnTo>
                      <a:pt x="517" y="39"/>
                    </a:lnTo>
                    <a:lnTo>
                      <a:pt x="505" y="12"/>
                    </a:lnTo>
                    <a:lnTo>
                      <a:pt x="494" y="3"/>
                    </a:lnTo>
                    <a:lnTo>
                      <a:pt x="481" y="0"/>
                    </a:lnTo>
                    <a:lnTo>
                      <a:pt x="469" y="5"/>
                    </a:lnTo>
                    <a:lnTo>
                      <a:pt x="455" y="18"/>
                    </a:lnTo>
                    <a:lnTo>
                      <a:pt x="448" y="21"/>
                    </a:lnTo>
                    <a:lnTo>
                      <a:pt x="425" y="21"/>
                    </a:lnTo>
                    <a:lnTo>
                      <a:pt x="409" y="23"/>
                    </a:lnTo>
                    <a:lnTo>
                      <a:pt x="398" y="36"/>
                    </a:lnTo>
                    <a:lnTo>
                      <a:pt x="379" y="43"/>
                    </a:lnTo>
                    <a:lnTo>
                      <a:pt x="358" y="41"/>
                    </a:lnTo>
                    <a:lnTo>
                      <a:pt x="347" y="30"/>
                    </a:lnTo>
                    <a:lnTo>
                      <a:pt x="325" y="18"/>
                    </a:lnTo>
                    <a:lnTo>
                      <a:pt x="306" y="23"/>
                    </a:lnTo>
                    <a:lnTo>
                      <a:pt x="282" y="33"/>
                    </a:lnTo>
                    <a:lnTo>
                      <a:pt x="264" y="36"/>
                    </a:lnTo>
                    <a:lnTo>
                      <a:pt x="249" y="30"/>
                    </a:lnTo>
                    <a:lnTo>
                      <a:pt x="231" y="21"/>
                    </a:lnTo>
                    <a:lnTo>
                      <a:pt x="207" y="27"/>
                    </a:lnTo>
                    <a:lnTo>
                      <a:pt x="192" y="36"/>
                    </a:lnTo>
                    <a:lnTo>
                      <a:pt x="187" y="39"/>
                    </a:lnTo>
                    <a:lnTo>
                      <a:pt x="183" y="41"/>
                    </a:lnTo>
                    <a:lnTo>
                      <a:pt x="177" y="43"/>
                    </a:lnTo>
                    <a:lnTo>
                      <a:pt x="183" y="4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63" name="Freeform 49">
                <a:extLst>
                  <a:ext uri="{FF2B5EF4-FFF2-40B4-BE49-F238E27FC236}">
                    <a16:creationId xmlns:a16="http://schemas.microsoft.com/office/drawing/2014/main" id="{A1C8DD0F-FE91-E738-C5E3-DBAADA9187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43600" y="2170341"/>
                <a:ext cx="136922" cy="111919"/>
              </a:xfrm>
              <a:custGeom>
                <a:avLst/>
                <a:gdLst>
                  <a:gd name="T0" fmla="*/ 0 w 290"/>
                  <a:gd name="T1" fmla="*/ 26231 h 256"/>
                  <a:gd name="T2" fmla="*/ 4407 w 290"/>
                  <a:gd name="T3" fmla="*/ 20985 h 256"/>
                  <a:gd name="T4" fmla="*/ 2518 w 290"/>
                  <a:gd name="T5" fmla="*/ 13407 h 256"/>
                  <a:gd name="T6" fmla="*/ 30217 w 290"/>
                  <a:gd name="T7" fmla="*/ 0 h 256"/>
                  <a:gd name="T8" fmla="*/ 33365 w 290"/>
                  <a:gd name="T9" fmla="*/ 4663 h 256"/>
                  <a:gd name="T10" fmla="*/ 52880 w 290"/>
                  <a:gd name="T11" fmla="*/ 1749 h 256"/>
                  <a:gd name="T12" fmla="*/ 68619 w 290"/>
                  <a:gd name="T13" fmla="*/ 2332 h 256"/>
                  <a:gd name="T14" fmla="*/ 62953 w 290"/>
                  <a:gd name="T15" fmla="*/ 9327 h 256"/>
                  <a:gd name="T16" fmla="*/ 66100 w 290"/>
                  <a:gd name="T17" fmla="*/ 19236 h 256"/>
                  <a:gd name="T18" fmla="*/ 79320 w 290"/>
                  <a:gd name="T19" fmla="*/ 23316 h 256"/>
                  <a:gd name="T20" fmla="*/ 92541 w 290"/>
                  <a:gd name="T21" fmla="*/ 22733 h 256"/>
                  <a:gd name="T22" fmla="*/ 102613 w 290"/>
                  <a:gd name="T23" fmla="*/ 15156 h 256"/>
                  <a:gd name="T24" fmla="*/ 120240 w 290"/>
                  <a:gd name="T25" fmla="*/ 13407 h 256"/>
                  <a:gd name="T26" fmla="*/ 125276 w 290"/>
                  <a:gd name="T27" fmla="*/ 19819 h 256"/>
                  <a:gd name="T28" fmla="*/ 135978 w 290"/>
                  <a:gd name="T29" fmla="*/ 25648 h 256"/>
                  <a:gd name="T30" fmla="*/ 150457 w 290"/>
                  <a:gd name="T31" fmla="*/ 26231 h 256"/>
                  <a:gd name="T32" fmla="*/ 147939 w 290"/>
                  <a:gd name="T33" fmla="*/ 37889 h 256"/>
                  <a:gd name="T34" fmla="*/ 149198 w 290"/>
                  <a:gd name="T35" fmla="*/ 60623 h 256"/>
                  <a:gd name="T36" fmla="*/ 151716 w 290"/>
                  <a:gd name="T37" fmla="*/ 74030 h 256"/>
                  <a:gd name="T38" fmla="*/ 168084 w 290"/>
                  <a:gd name="T39" fmla="*/ 72281 h 256"/>
                  <a:gd name="T40" fmla="*/ 173120 w 290"/>
                  <a:gd name="T41" fmla="*/ 82190 h 256"/>
                  <a:gd name="T42" fmla="*/ 174379 w 290"/>
                  <a:gd name="T43" fmla="*/ 90351 h 256"/>
                  <a:gd name="T44" fmla="*/ 182563 w 290"/>
                  <a:gd name="T45" fmla="*/ 101426 h 256"/>
                  <a:gd name="T46" fmla="*/ 172491 w 290"/>
                  <a:gd name="T47" fmla="*/ 109587 h 256"/>
                  <a:gd name="T48" fmla="*/ 163048 w 290"/>
                  <a:gd name="T49" fmla="*/ 115999 h 256"/>
                  <a:gd name="T50" fmla="*/ 152346 w 290"/>
                  <a:gd name="T51" fmla="*/ 115999 h 256"/>
                  <a:gd name="T52" fmla="*/ 140385 w 290"/>
                  <a:gd name="T53" fmla="*/ 118914 h 256"/>
                  <a:gd name="T54" fmla="*/ 140385 w 290"/>
                  <a:gd name="T55" fmla="*/ 131155 h 256"/>
                  <a:gd name="T56" fmla="*/ 134719 w 290"/>
                  <a:gd name="T57" fmla="*/ 139316 h 256"/>
                  <a:gd name="T58" fmla="*/ 122128 w 290"/>
                  <a:gd name="T59" fmla="*/ 149225 h 256"/>
                  <a:gd name="T60" fmla="*/ 100095 w 290"/>
                  <a:gd name="T61" fmla="*/ 133486 h 256"/>
                  <a:gd name="T62" fmla="*/ 93800 w 290"/>
                  <a:gd name="T63" fmla="*/ 120079 h 256"/>
                  <a:gd name="T64" fmla="*/ 74284 w 290"/>
                  <a:gd name="T65" fmla="*/ 115999 h 256"/>
                  <a:gd name="T66" fmla="*/ 67359 w 290"/>
                  <a:gd name="T67" fmla="*/ 98512 h 256"/>
                  <a:gd name="T68" fmla="*/ 52880 w 290"/>
                  <a:gd name="T69" fmla="*/ 88019 h 256"/>
                  <a:gd name="T70" fmla="*/ 47844 w 290"/>
                  <a:gd name="T71" fmla="*/ 74613 h 256"/>
                  <a:gd name="T72" fmla="*/ 36513 w 290"/>
                  <a:gd name="T73" fmla="*/ 61788 h 256"/>
                  <a:gd name="T74" fmla="*/ 28958 w 290"/>
                  <a:gd name="T75" fmla="*/ 48964 h 256"/>
                  <a:gd name="T76" fmla="*/ 13850 w 290"/>
                  <a:gd name="T77" fmla="*/ 39638 h 256"/>
                  <a:gd name="T78" fmla="*/ 0 w 290"/>
                  <a:gd name="T79" fmla="*/ 26231 h 25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290" h="256">
                    <a:moveTo>
                      <a:pt x="0" y="45"/>
                    </a:moveTo>
                    <a:lnTo>
                      <a:pt x="7" y="36"/>
                    </a:lnTo>
                    <a:lnTo>
                      <a:pt x="4" y="23"/>
                    </a:lnTo>
                    <a:lnTo>
                      <a:pt x="48" y="0"/>
                    </a:lnTo>
                    <a:lnTo>
                      <a:pt x="53" y="8"/>
                    </a:lnTo>
                    <a:lnTo>
                      <a:pt x="84" y="3"/>
                    </a:lnTo>
                    <a:lnTo>
                      <a:pt x="109" y="4"/>
                    </a:lnTo>
                    <a:lnTo>
                      <a:pt x="100" y="16"/>
                    </a:lnTo>
                    <a:lnTo>
                      <a:pt x="105" y="33"/>
                    </a:lnTo>
                    <a:lnTo>
                      <a:pt x="126" y="40"/>
                    </a:lnTo>
                    <a:lnTo>
                      <a:pt x="147" y="39"/>
                    </a:lnTo>
                    <a:lnTo>
                      <a:pt x="163" y="26"/>
                    </a:lnTo>
                    <a:lnTo>
                      <a:pt x="191" y="23"/>
                    </a:lnTo>
                    <a:lnTo>
                      <a:pt x="199" y="34"/>
                    </a:lnTo>
                    <a:lnTo>
                      <a:pt x="216" y="44"/>
                    </a:lnTo>
                    <a:lnTo>
                      <a:pt x="239" y="45"/>
                    </a:lnTo>
                    <a:lnTo>
                      <a:pt x="235" y="65"/>
                    </a:lnTo>
                    <a:lnTo>
                      <a:pt x="237" y="104"/>
                    </a:lnTo>
                    <a:lnTo>
                      <a:pt x="241" y="127"/>
                    </a:lnTo>
                    <a:lnTo>
                      <a:pt x="267" y="124"/>
                    </a:lnTo>
                    <a:lnTo>
                      <a:pt x="275" y="141"/>
                    </a:lnTo>
                    <a:lnTo>
                      <a:pt x="277" y="155"/>
                    </a:lnTo>
                    <a:lnTo>
                      <a:pt x="290" y="174"/>
                    </a:lnTo>
                    <a:lnTo>
                      <a:pt x="274" y="188"/>
                    </a:lnTo>
                    <a:lnTo>
                      <a:pt x="259" y="199"/>
                    </a:lnTo>
                    <a:lnTo>
                      <a:pt x="242" y="199"/>
                    </a:lnTo>
                    <a:lnTo>
                      <a:pt x="223" y="204"/>
                    </a:lnTo>
                    <a:lnTo>
                      <a:pt x="223" y="225"/>
                    </a:lnTo>
                    <a:lnTo>
                      <a:pt x="214" y="239"/>
                    </a:lnTo>
                    <a:lnTo>
                      <a:pt x="194" y="256"/>
                    </a:lnTo>
                    <a:lnTo>
                      <a:pt x="159" y="229"/>
                    </a:lnTo>
                    <a:lnTo>
                      <a:pt x="149" y="206"/>
                    </a:lnTo>
                    <a:lnTo>
                      <a:pt x="118" y="199"/>
                    </a:lnTo>
                    <a:lnTo>
                      <a:pt x="107" y="169"/>
                    </a:lnTo>
                    <a:lnTo>
                      <a:pt x="84" y="151"/>
                    </a:lnTo>
                    <a:lnTo>
                      <a:pt x="76" y="128"/>
                    </a:lnTo>
                    <a:lnTo>
                      <a:pt x="58" y="106"/>
                    </a:lnTo>
                    <a:lnTo>
                      <a:pt x="46" y="84"/>
                    </a:lnTo>
                    <a:lnTo>
                      <a:pt x="22" y="68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64" name="Freeform 50">
                <a:extLst>
                  <a:ext uri="{FF2B5EF4-FFF2-40B4-BE49-F238E27FC236}">
                    <a16:creationId xmlns:a16="http://schemas.microsoft.com/office/drawing/2014/main" id="{2AEB3CC9-A550-79B4-A49C-C25E984B73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37659" y="2257256"/>
                <a:ext cx="36909" cy="42863"/>
              </a:xfrm>
              <a:custGeom>
                <a:avLst/>
                <a:gdLst>
                  <a:gd name="T0" fmla="*/ 34884 w 79"/>
                  <a:gd name="T1" fmla="*/ 57150 h 98"/>
                  <a:gd name="T2" fmla="*/ 37999 w 79"/>
                  <a:gd name="T3" fmla="*/ 38489 h 98"/>
                  <a:gd name="T4" fmla="*/ 49212 w 79"/>
                  <a:gd name="T5" fmla="*/ 31491 h 98"/>
                  <a:gd name="T6" fmla="*/ 49212 w 79"/>
                  <a:gd name="T7" fmla="*/ 22743 h 98"/>
                  <a:gd name="T8" fmla="*/ 42983 w 79"/>
                  <a:gd name="T9" fmla="*/ 16329 h 98"/>
                  <a:gd name="T10" fmla="*/ 36753 w 79"/>
                  <a:gd name="T11" fmla="*/ 6998 h 98"/>
                  <a:gd name="T12" fmla="*/ 33639 w 79"/>
                  <a:gd name="T13" fmla="*/ 0 h 98"/>
                  <a:gd name="T14" fmla="*/ 22426 w 79"/>
                  <a:gd name="T15" fmla="*/ 0 h 98"/>
                  <a:gd name="T16" fmla="*/ 14328 w 79"/>
                  <a:gd name="T17" fmla="*/ 2916 h 98"/>
                  <a:gd name="T18" fmla="*/ 14328 w 79"/>
                  <a:gd name="T19" fmla="*/ 15162 h 98"/>
                  <a:gd name="T20" fmla="*/ 7475 w 79"/>
                  <a:gd name="T21" fmla="*/ 25659 h 98"/>
                  <a:gd name="T22" fmla="*/ 0 w 79"/>
                  <a:gd name="T23" fmla="*/ 29158 h 98"/>
                  <a:gd name="T24" fmla="*/ 3115 w 79"/>
                  <a:gd name="T25" fmla="*/ 37906 h 98"/>
                  <a:gd name="T26" fmla="*/ 13705 w 79"/>
                  <a:gd name="T27" fmla="*/ 40238 h 98"/>
                  <a:gd name="T28" fmla="*/ 24295 w 79"/>
                  <a:gd name="T29" fmla="*/ 42571 h 98"/>
                  <a:gd name="T30" fmla="*/ 29901 w 79"/>
                  <a:gd name="T31" fmla="*/ 48403 h 98"/>
                  <a:gd name="T32" fmla="*/ 34884 w 79"/>
                  <a:gd name="T33" fmla="*/ 57150 h 9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9" h="98">
                    <a:moveTo>
                      <a:pt x="56" y="98"/>
                    </a:moveTo>
                    <a:lnTo>
                      <a:pt x="61" y="66"/>
                    </a:lnTo>
                    <a:lnTo>
                      <a:pt x="79" y="54"/>
                    </a:lnTo>
                    <a:lnTo>
                      <a:pt x="79" y="39"/>
                    </a:lnTo>
                    <a:lnTo>
                      <a:pt x="69" y="28"/>
                    </a:lnTo>
                    <a:lnTo>
                      <a:pt x="59" y="12"/>
                    </a:lnTo>
                    <a:lnTo>
                      <a:pt x="54" y="0"/>
                    </a:lnTo>
                    <a:lnTo>
                      <a:pt x="36" y="0"/>
                    </a:lnTo>
                    <a:lnTo>
                      <a:pt x="23" y="5"/>
                    </a:lnTo>
                    <a:lnTo>
                      <a:pt x="23" y="26"/>
                    </a:lnTo>
                    <a:lnTo>
                      <a:pt x="12" y="44"/>
                    </a:lnTo>
                    <a:lnTo>
                      <a:pt x="0" y="50"/>
                    </a:lnTo>
                    <a:lnTo>
                      <a:pt x="5" y="65"/>
                    </a:lnTo>
                    <a:lnTo>
                      <a:pt x="22" y="69"/>
                    </a:lnTo>
                    <a:lnTo>
                      <a:pt x="39" y="73"/>
                    </a:lnTo>
                    <a:lnTo>
                      <a:pt x="48" y="83"/>
                    </a:lnTo>
                    <a:lnTo>
                      <a:pt x="56" y="9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65" name="Freeform 51">
                <a:extLst>
                  <a:ext uri="{FF2B5EF4-FFF2-40B4-BE49-F238E27FC236}">
                    <a16:creationId xmlns:a16="http://schemas.microsoft.com/office/drawing/2014/main" id="{DFD206E0-F0C5-3E66-4910-8DED80BCEA6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91225" y="2088188"/>
                <a:ext cx="140494" cy="138113"/>
              </a:xfrm>
              <a:custGeom>
                <a:avLst/>
                <a:gdLst>
                  <a:gd name="T0" fmla="*/ 77579 w 297"/>
                  <a:gd name="T1" fmla="*/ 4677 h 315"/>
                  <a:gd name="T2" fmla="*/ 58657 w 297"/>
                  <a:gd name="T3" fmla="*/ 26307 h 315"/>
                  <a:gd name="T4" fmla="*/ 58657 w 297"/>
                  <a:gd name="T5" fmla="*/ 32738 h 315"/>
                  <a:gd name="T6" fmla="*/ 47304 w 297"/>
                  <a:gd name="T7" fmla="*/ 43261 h 315"/>
                  <a:gd name="T8" fmla="*/ 48566 w 297"/>
                  <a:gd name="T9" fmla="*/ 46184 h 315"/>
                  <a:gd name="T10" fmla="*/ 45412 w 297"/>
                  <a:gd name="T11" fmla="*/ 53199 h 315"/>
                  <a:gd name="T12" fmla="*/ 34059 w 297"/>
                  <a:gd name="T13" fmla="*/ 63722 h 315"/>
                  <a:gd name="T14" fmla="*/ 22706 w 297"/>
                  <a:gd name="T15" fmla="*/ 75998 h 315"/>
                  <a:gd name="T16" fmla="*/ 18291 w 297"/>
                  <a:gd name="T17" fmla="*/ 82429 h 315"/>
                  <a:gd name="T18" fmla="*/ 22706 w 297"/>
                  <a:gd name="T19" fmla="*/ 88275 h 315"/>
                  <a:gd name="T20" fmla="*/ 18922 w 297"/>
                  <a:gd name="T21" fmla="*/ 97044 h 315"/>
                  <a:gd name="T22" fmla="*/ 13245 w 297"/>
                  <a:gd name="T23" fmla="*/ 104059 h 315"/>
                  <a:gd name="T24" fmla="*/ 7569 w 297"/>
                  <a:gd name="T25" fmla="*/ 108152 h 315"/>
                  <a:gd name="T26" fmla="*/ 0 w 297"/>
                  <a:gd name="T27" fmla="*/ 116921 h 315"/>
                  <a:gd name="T28" fmla="*/ 631 w 297"/>
                  <a:gd name="T29" fmla="*/ 125690 h 315"/>
                  <a:gd name="T30" fmla="*/ 9461 w 297"/>
                  <a:gd name="T31" fmla="*/ 130951 h 315"/>
                  <a:gd name="T32" fmla="*/ 30275 w 297"/>
                  <a:gd name="T33" fmla="*/ 130951 h 315"/>
                  <a:gd name="T34" fmla="*/ 42889 w 297"/>
                  <a:gd name="T35" fmla="*/ 124520 h 315"/>
                  <a:gd name="T36" fmla="*/ 54873 w 297"/>
                  <a:gd name="T37" fmla="*/ 122767 h 315"/>
                  <a:gd name="T38" fmla="*/ 64334 w 297"/>
                  <a:gd name="T39" fmla="*/ 130951 h 315"/>
                  <a:gd name="T40" fmla="*/ 74425 w 297"/>
                  <a:gd name="T41" fmla="*/ 135043 h 315"/>
                  <a:gd name="T42" fmla="*/ 87040 w 297"/>
                  <a:gd name="T43" fmla="*/ 136213 h 315"/>
                  <a:gd name="T44" fmla="*/ 83886 w 297"/>
                  <a:gd name="T45" fmla="*/ 150243 h 315"/>
                  <a:gd name="T46" fmla="*/ 88301 w 297"/>
                  <a:gd name="T47" fmla="*/ 184150 h 315"/>
                  <a:gd name="T48" fmla="*/ 99654 w 297"/>
                  <a:gd name="T49" fmla="*/ 183565 h 315"/>
                  <a:gd name="T50" fmla="*/ 106592 w 297"/>
                  <a:gd name="T51" fmla="*/ 182396 h 315"/>
                  <a:gd name="T52" fmla="*/ 109115 w 297"/>
                  <a:gd name="T53" fmla="*/ 173043 h 315"/>
                  <a:gd name="T54" fmla="*/ 111007 w 297"/>
                  <a:gd name="T55" fmla="*/ 152581 h 315"/>
                  <a:gd name="T56" fmla="*/ 119207 w 297"/>
                  <a:gd name="T57" fmla="*/ 142059 h 315"/>
                  <a:gd name="T58" fmla="*/ 119207 w 297"/>
                  <a:gd name="T59" fmla="*/ 124520 h 315"/>
                  <a:gd name="T60" fmla="*/ 126776 w 297"/>
                  <a:gd name="T61" fmla="*/ 113998 h 315"/>
                  <a:gd name="T62" fmla="*/ 141282 w 297"/>
                  <a:gd name="T63" fmla="*/ 108152 h 315"/>
                  <a:gd name="T64" fmla="*/ 168403 w 297"/>
                  <a:gd name="T65" fmla="*/ 78921 h 315"/>
                  <a:gd name="T66" fmla="*/ 171557 w 297"/>
                  <a:gd name="T67" fmla="*/ 67229 h 315"/>
                  <a:gd name="T68" fmla="*/ 167142 w 297"/>
                  <a:gd name="T69" fmla="*/ 47353 h 315"/>
                  <a:gd name="T70" fmla="*/ 184802 w 297"/>
                  <a:gd name="T71" fmla="*/ 34492 h 315"/>
                  <a:gd name="T72" fmla="*/ 187325 w 297"/>
                  <a:gd name="T73" fmla="*/ 12861 h 315"/>
                  <a:gd name="T74" fmla="*/ 175341 w 297"/>
                  <a:gd name="T75" fmla="*/ 2923 h 315"/>
                  <a:gd name="T76" fmla="*/ 167142 w 297"/>
                  <a:gd name="T77" fmla="*/ 1754 h 315"/>
                  <a:gd name="T78" fmla="*/ 152635 w 297"/>
                  <a:gd name="T79" fmla="*/ 0 h 315"/>
                  <a:gd name="T80" fmla="*/ 119207 w 297"/>
                  <a:gd name="T81" fmla="*/ 0 h 315"/>
                  <a:gd name="T82" fmla="*/ 109746 w 297"/>
                  <a:gd name="T83" fmla="*/ 7015 h 315"/>
                  <a:gd name="T84" fmla="*/ 102177 w 297"/>
                  <a:gd name="T85" fmla="*/ 15784 h 315"/>
                  <a:gd name="T86" fmla="*/ 104069 w 297"/>
                  <a:gd name="T87" fmla="*/ 23969 h 315"/>
                  <a:gd name="T88" fmla="*/ 115422 w 297"/>
                  <a:gd name="T89" fmla="*/ 31569 h 315"/>
                  <a:gd name="T90" fmla="*/ 122991 w 297"/>
                  <a:gd name="T91" fmla="*/ 40338 h 315"/>
                  <a:gd name="T92" fmla="*/ 122991 w 297"/>
                  <a:gd name="T93" fmla="*/ 52614 h 315"/>
                  <a:gd name="T94" fmla="*/ 109746 w 297"/>
                  <a:gd name="T95" fmla="*/ 61383 h 315"/>
                  <a:gd name="T96" fmla="*/ 96501 w 297"/>
                  <a:gd name="T97" fmla="*/ 63722 h 315"/>
                  <a:gd name="T98" fmla="*/ 87040 w 297"/>
                  <a:gd name="T99" fmla="*/ 65476 h 315"/>
                  <a:gd name="T100" fmla="*/ 82625 w 297"/>
                  <a:gd name="T101" fmla="*/ 57876 h 315"/>
                  <a:gd name="T102" fmla="*/ 79471 w 297"/>
                  <a:gd name="T103" fmla="*/ 47353 h 315"/>
                  <a:gd name="T104" fmla="*/ 85778 w 297"/>
                  <a:gd name="T105" fmla="*/ 38584 h 315"/>
                  <a:gd name="T106" fmla="*/ 83886 w 297"/>
                  <a:gd name="T107" fmla="*/ 28061 h 315"/>
                  <a:gd name="T108" fmla="*/ 82625 w 297"/>
                  <a:gd name="T109" fmla="*/ 17538 h 315"/>
                  <a:gd name="T110" fmla="*/ 77579 w 297"/>
                  <a:gd name="T111" fmla="*/ 4677 h 31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297" h="315">
                    <a:moveTo>
                      <a:pt x="123" y="8"/>
                    </a:moveTo>
                    <a:lnTo>
                      <a:pt x="93" y="45"/>
                    </a:lnTo>
                    <a:lnTo>
                      <a:pt x="93" y="56"/>
                    </a:lnTo>
                    <a:lnTo>
                      <a:pt x="75" y="74"/>
                    </a:lnTo>
                    <a:lnTo>
                      <a:pt x="77" y="79"/>
                    </a:lnTo>
                    <a:lnTo>
                      <a:pt x="72" y="91"/>
                    </a:lnTo>
                    <a:lnTo>
                      <a:pt x="54" y="109"/>
                    </a:lnTo>
                    <a:lnTo>
                      <a:pt x="36" y="130"/>
                    </a:lnTo>
                    <a:lnTo>
                      <a:pt x="29" y="141"/>
                    </a:lnTo>
                    <a:lnTo>
                      <a:pt x="36" y="151"/>
                    </a:lnTo>
                    <a:lnTo>
                      <a:pt x="30" y="166"/>
                    </a:lnTo>
                    <a:lnTo>
                      <a:pt x="21" y="178"/>
                    </a:lnTo>
                    <a:lnTo>
                      <a:pt x="12" y="185"/>
                    </a:lnTo>
                    <a:lnTo>
                      <a:pt x="0" y="200"/>
                    </a:lnTo>
                    <a:lnTo>
                      <a:pt x="1" y="215"/>
                    </a:lnTo>
                    <a:lnTo>
                      <a:pt x="15" y="224"/>
                    </a:lnTo>
                    <a:lnTo>
                      <a:pt x="48" y="224"/>
                    </a:lnTo>
                    <a:lnTo>
                      <a:pt x="68" y="213"/>
                    </a:lnTo>
                    <a:lnTo>
                      <a:pt x="87" y="210"/>
                    </a:lnTo>
                    <a:lnTo>
                      <a:pt x="102" y="224"/>
                    </a:lnTo>
                    <a:lnTo>
                      <a:pt x="118" y="231"/>
                    </a:lnTo>
                    <a:lnTo>
                      <a:pt x="138" y="233"/>
                    </a:lnTo>
                    <a:lnTo>
                      <a:pt x="133" y="257"/>
                    </a:lnTo>
                    <a:lnTo>
                      <a:pt x="140" y="315"/>
                    </a:lnTo>
                    <a:lnTo>
                      <a:pt x="158" y="314"/>
                    </a:lnTo>
                    <a:lnTo>
                      <a:pt x="169" y="312"/>
                    </a:lnTo>
                    <a:lnTo>
                      <a:pt x="173" y="296"/>
                    </a:lnTo>
                    <a:lnTo>
                      <a:pt x="176" y="261"/>
                    </a:lnTo>
                    <a:lnTo>
                      <a:pt x="189" y="243"/>
                    </a:lnTo>
                    <a:lnTo>
                      <a:pt x="189" y="213"/>
                    </a:lnTo>
                    <a:lnTo>
                      <a:pt x="201" y="195"/>
                    </a:lnTo>
                    <a:lnTo>
                      <a:pt x="224" y="185"/>
                    </a:lnTo>
                    <a:lnTo>
                      <a:pt x="267" y="135"/>
                    </a:lnTo>
                    <a:lnTo>
                      <a:pt x="272" y="115"/>
                    </a:lnTo>
                    <a:lnTo>
                      <a:pt x="265" y="81"/>
                    </a:lnTo>
                    <a:lnTo>
                      <a:pt x="293" y="59"/>
                    </a:lnTo>
                    <a:lnTo>
                      <a:pt x="297" y="22"/>
                    </a:lnTo>
                    <a:lnTo>
                      <a:pt x="278" y="5"/>
                    </a:lnTo>
                    <a:lnTo>
                      <a:pt x="265" y="3"/>
                    </a:lnTo>
                    <a:lnTo>
                      <a:pt x="242" y="0"/>
                    </a:lnTo>
                    <a:lnTo>
                      <a:pt x="189" y="0"/>
                    </a:lnTo>
                    <a:lnTo>
                      <a:pt x="174" y="12"/>
                    </a:lnTo>
                    <a:lnTo>
                      <a:pt x="162" y="27"/>
                    </a:lnTo>
                    <a:lnTo>
                      <a:pt x="165" y="41"/>
                    </a:lnTo>
                    <a:lnTo>
                      <a:pt x="183" y="54"/>
                    </a:lnTo>
                    <a:lnTo>
                      <a:pt x="195" y="69"/>
                    </a:lnTo>
                    <a:lnTo>
                      <a:pt x="195" y="90"/>
                    </a:lnTo>
                    <a:lnTo>
                      <a:pt x="174" y="105"/>
                    </a:lnTo>
                    <a:lnTo>
                      <a:pt x="153" y="109"/>
                    </a:lnTo>
                    <a:lnTo>
                      <a:pt x="138" y="112"/>
                    </a:lnTo>
                    <a:lnTo>
                      <a:pt x="131" y="99"/>
                    </a:lnTo>
                    <a:lnTo>
                      <a:pt x="126" y="81"/>
                    </a:lnTo>
                    <a:lnTo>
                      <a:pt x="136" y="66"/>
                    </a:lnTo>
                    <a:lnTo>
                      <a:pt x="133" y="48"/>
                    </a:lnTo>
                    <a:lnTo>
                      <a:pt x="131" y="30"/>
                    </a:lnTo>
                    <a:lnTo>
                      <a:pt x="123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66" name="Freeform 52">
                <a:extLst>
                  <a:ext uri="{FF2B5EF4-FFF2-40B4-BE49-F238E27FC236}">
                    <a16:creationId xmlns:a16="http://schemas.microsoft.com/office/drawing/2014/main" id="{7DE8FC47-1E82-4727-F880-A7633D8F05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12594" y="1872684"/>
                <a:ext cx="198835" cy="166688"/>
              </a:xfrm>
              <a:custGeom>
                <a:avLst/>
                <a:gdLst>
                  <a:gd name="T0" fmla="*/ 94276 w 419"/>
                  <a:gd name="T1" fmla="*/ 92266 h 383"/>
                  <a:gd name="T2" fmla="*/ 92378 w 419"/>
                  <a:gd name="T3" fmla="*/ 111415 h 383"/>
                  <a:gd name="T4" fmla="*/ 75295 w 419"/>
                  <a:gd name="T5" fmla="*/ 108514 h 383"/>
                  <a:gd name="T6" fmla="*/ 55047 w 419"/>
                  <a:gd name="T7" fmla="*/ 134046 h 383"/>
                  <a:gd name="T8" fmla="*/ 28473 w 419"/>
                  <a:gd name="T9" fmla="*/ 153196 h 383"/>
                  <a:gd name="T10" fmla="*/ 11389 w 419"/>
                  <a:gd name="T11" fmla="*/ 156678 h 383"/>
                  <a:gd name="T12" fmla="*/ 5062 w 419"/>
                  <a:gd name="T13" fmla="*/ 161320 h 383"/>
                  <a:gd name="T14" fmla="*/ 9491 w 419"/>
                  <a:gd name="T15" fmla="*/ 177568 h 383"/>
                  <a:gd name="T16" fmla="*/ 3164 w 419"/>
                  <a:gd name="T17" fmla="*/ 196717 h 383"/>
                  <a:gd name="T18" fmla="*/ 18982 w 419"/>
                  <a:gd name="T19" fmla="*/ 189174 h 383"/>
                  <a:gd name="T20" fmla="*/ 17084 w 419"/>
                  <a:gd name="T21" fmla="*/ 201360 h 383"/>
                  <a:gd name="T22" fmla="*/ 25942 w 419"/>
                  <a:gd name="T23" fmla="*/ 211805 h 383"/>
                  <a:gd name="T24" fmla="*/ 50618 w 419"/>
                  <a:gd name="T25" fmla="*/ 216447 h 383"/>
                  <a:gd name="T26" fmla="*/ 77826 w 419"/>
                  <a:gd name="T27" fmla="*/ 219349 h 383"/>
                  <a:gd name="T28" fmla="*/ 118953 w 419"/>
                  <a:gd name="T29" fmla="*/ 215287 h 383"/>
                  <a:gd name="T30" fmla="*/ 187287 w 419"/>
                  <a:gd name="T31" fmla="*/ 210064 h 383"/>
                  <a:gd name="T32" fmla="*/ 213229 w 419"/>
                  <a:gd name="T33" fmla="*/ 186852 h 383"/>
                  <a:gd name="T34" fmla="*/ 222720 w 419"/>
                  <a:gd name="T35" fmla="*/ 164802 h 383"/>
                  <a:gd name="T36" fmla="*/ 243600 w 419"/>
                  <a:gd name="T37" fmla="*/ 134046 h 383"/>
                  <a:gd name="T38" fmla="*/ 265113 w 419"/>
                  <a:gd name="T39" fmla="*/ 96328 h 383"/>
                  <a:gd name="T40" fmla="*/ 247397 w 419"/>
                  <a:gd name="T41" fmla="*/ 68474 h 383"/>
                  <a:gd name="T42" fmla="*/ 229048 w 419"/>
                  <a:gd name="T43" fmla="*/ 60930 h 383"/>
                  <a:gd name="T44" fmla="*/ 201840 w 419"/>
                  <a:gd name="T45" fmla="*/ 37138 h 383"/>
                  <a:gd name="T46" fmla="*/ 240437 w 419"/>
                  <a:gd name="T47" fmla="*/ 7544 h 383"/>
                  <a:gd name="T48" fmla="*/ 227149 w 419"/>
                  <a:gd name="T49" fmla="*/ 1741 h 383"/>
                  <a:gd name="T50" fmla="*/ 183491 w 419"/>
                  <a:gd name="T51" fmla="*/ 10445 h 383"/>
                  <a:gd name="T52" fmla="*/ 164509 w 419"/>
                  <a:gd name="T53" fmla="*/ 13927 h 383"/>
                  <a:gd name="T54" fmla="*/ 162611 w 419"/>
                  <a:gd name="T55" fmla="*/ 25533 h 383"/>
                  <a:gd name="T56" fmla="*/ 167040 w 419"/>
                  <a:gd name="T57" fmla="*/ 37138 h 383"/>
                  <a:gd name="T58" fmla="*/ 118953 w 419"/>
                  <a:gd name="T59" fmla="*/ 33076 h 383"/>
                  <a:gd name="T60" fmla="*/ 92378 w 419"/>
                  <a:gd name="T61" fmla="*/ 29595 h 383"/>
                  <a:gd name="T62" fmla="*/ 89215 w 419"/>
                  <a:gd name="T63" fmla="*/ 50485 h 383"/>
                  <a:gd name="T64" fmla="*/ 75295 w 419"/>
                  <a:gd name="T65" fmla="*/ 58029 h 383"/>
                  <a:gd name="T66" fmla="*/ 75295 w 419"/>
                  <a:gd name="T67" fmla="*/ 74857 h 383"/>
                  <a:gd name="T68" fmla="*/ 73396 w 419"/>
                  <a:gd name="T69" fmla="*/ 102711 h 383"/>
                  <a:gd name="T70" fmla="*/ 98073 w 419"/>
                  <a:gd name="T71" fmla="*/ 83561 h 38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419" h="383">
                    <a:moveTo>
                      <a:pt x="155" y="144"/>
                    </a:moveTo>
                    <a:lnTo>
                      <a:pt x="149" y="159"/>
                    </a:lnTo>
                    <a:lnTo>
                      <a:pt x="155" y="180"/>
                    </a:lnTo>
                    <a:lnTo>
                      <a:pt x="146" y="192"/>
                    </a:lnTo>
                    <a:lnTo>
                      <a:pt x="134" y="184"/>
                    </a:lnTo>
                    <a:lnTo>
                      <a:pt x="119" y="187"/>
                    </a:lnTo>
                    <a:lnTo>
                      <a:pt x="119" y="202"/>
                    </a:lnTo>
                    <a:lnTo>
                      <a:pt x="87" y="231"/>
                    </a:lnTo>
                    <a:lnTo>
                      <a:pt x="69" y="238"/>
                    </a:lnTo>
                    <a:lnTo>
                      <a:pt x="45" y="264"/>
                    </a:lnTo>
                    <a:lnTo>
                      <a:pt x="30" y="271"/>
                    </a:lnTo>
                    <a:lnTo>
                      <a:pt x="18" y="270"/>
                    </a:lnTo>
                    <a:lnTo>
                      <a:pt x="12" y="274"/>
                    </a:lnTo>
                    <a:lnTo>
                      <a:pt x="8" y="278"/>
                    </a:lnTo>
                    <a:lnTo>
                      <a:pt x="15" y="288"/>
                    </a:lnTo>
                    <a:lnTo>
                      <a:pt x="15" y="306"/>
                    </a:lnTo>
                    <a:lnTo>
                      <a:pt x="0" y="322"/>
                    </a:lnTo>
                    <a:lnTo>
                      <a:pt x="5" y="339"/>
                    </a:lnTo>
                    <a:lnTo>
                      <a:pt x="23" y="339"/>
                    </a:lnTo>
                    <a:lnTo>
                      <a:pt x="30" y="326"/>
                    </a:lnTo>
                    <a:lnTo>
                      <a:pt x="41" y="338"/>
                    </a:lnTo>
                    <a:lnTo>
                      <a:pt x="27" y="347"/>
                    </a:lnTo>
                    <a:lnTo>
                      <a:pt x="33" y="362"/>
                    </a:lnTo>
                    <a:lnTo>
                      <a:pt x="41" y="365"/>
                    </a:lnTo>
                    <a:lnTo>
                      <a:pt x="74" y="371"/>
                    </a:lnTo>
                    <a:lnTo>
                      <a:pt x="80" y="373"/>
                    </a:lnTo>
                    <a:lnTo>
                      <a:pt x="110" y="383"/>
                    </a:lnTo>
                    <a:lnTo>
                      <a:pt x="123" y="378"/>
                    </a:lnTo>
                    <a:lnTo>
                      <a:pt x="149" y="362"/>
                    </a:lnTo>
                    <a:lnTo>
                      <a:pt x="188" y="371"/>
                    </a:lnTo>
                    <a:lnTo>
                      <a:pt x="257" y="371"/>
                    </a:lnTo>
                    <a:lnTo>
                      <a:pt x="296" y="362"/>
                    </a:lnTo>
                    <a:lnTo>
                      <a:pt x="314" y="335"/>
                    </a:lnTo>
                    <a:lnTo>
                      <a:pt x="337" y="322"/>
                    </a:lnTo>
                    <a:lnTo>
                      <a:pt x="344" y="306"/>
                    </a:lnTo>
                    <a:lnTo>
                      <a:pt x="352" y="284"/>
                    </a:lnTo>
                    <a:lnTo>
                      <a:pt x="370" y="270"/>
                    </a:lnTo>
                    <a:lnTo>
                      <a:pt x="385" y="231"/>
                    </a:lnTo>
                    <a:lnTo>
                      <a:pt x="383" y="187"/>
                    </a:lnTo>
                    <a:lnTo>
                      <a:pt x="419" y="166"/>
                    </a:lnTo>
                    <a:lnTo>
                      <a:pt x="398" y="148"/>
                    </a:lnTo>
                    <a:lnTo>
                      <a:pt x="391" y="118"/>
                    </a:lnTo>
                    <a:lnTo>
                      <a:pt x="377" y="105"/>
                    </a:lnTo>
                    <a:lnTo>
                      <a:pt x="362" y="105"/>
                    </a:lnTo>
                    <a:lnTo>
                      <a:pt x="347" y="97"/>
                    </a:lnTo>
                    <a:lnTo>
                      <a:pt x="319" y="64"/>
                    </a:lnTo>
                    <a:lnTo>
                      <a:pt x="332" y="57"/>
                    </a:lnTo>
                    <a:lnTo>
                      <a:pt x="380" y="13"/>
                    </a:lnTo>
                    <a:lnTo>
                      <a:pt x="374" y="0"/>
                    </a:lnTo>
                    <a:lnTo>
                      <a:pt x="359" y="3"/>
                    </a:lnTo>
                    <a:lnTo>
                      <a:pt x="308" y="6"/>
                    </a:lnTo>
                    <a:lnTo>
                      <a:pt x="290" y="18"/>
                    </a:lnTo>
                    <a:lnTo>
                      <a:pt x="278" y="26"/>
                    </a:lnTo>
                    <a:lnTo>
                      <a:pt x="260" y="24"/>
                    </a:lnTo>
                    <a:lnTo>
                      <a:pt x="249" y="31"/>
                    </a:lnTo>
                    <a:lnTo>
                      <a:pt x="257" y="44"/>
                    </a:lnTo>
                    <a:lnTo>
                      <a:pt x="282" y="61"/>
                    </a:lnTo>
                    <a:lnTo>
                      <a:pt x="264" y="64"/>
                    </a:lnTo>
                    <a:lnTo>
                      <a:pt x="218" y="69"/>
                    </a:lnTo>
                    <a:lnTo>
                      <a:pt x="188" y="57"/>
                    </a:lnTo>
                    <a:lnTo>
                      <a:pt x="156" y="44"/>
                    </a:lnTo>
                    <a:lnTo>
                      <a:pt x="146" y="51"/>
                    </a:lnTo>
                    <a:lnTo>
                      <a:pt x="138" y="75"/>
                    </a:lnTo>
                    <a:lnTo>
                      <a:pt x="141" y="87"/>
                    </a:lnTo>
                    <a:lnTo>
                      <a:pt x="137" y="93"/>
                    </a:lnTo>
                    <a:lnTo>
                      <a:pt x="119" y="100"/>
                    </a:lnTo>
                    <a:lnTo>
                      <a:pt x="120" y="123"/>
                    </a:lnTo>
                    <a:lnTo>
                      <a:pt x="119" y="129"/>
                    </a:lnTo>
                    <a:lnTo>
                      <a:pt x="99" y="154"/>
                    </a:lnTo>
                    <a:lnTo>
                      <a:pt x="116" y="177"/>
                    </a:lnTo>
                    <a:lnTo>
                      <a:pt x="123" y="174"/>
                    </a:lnTo>
                    <a:lnTo>
                      <a:pt x="155" y="14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67" name="Freeform 53">
                <a:extLst>
                  <a:ext uri="{FF2B5EF4-FFF2-40B4-BE49-F238E27FC236}">
                    <a16:creationId xmlns:a16="http://schemas.microsoft.com/office/drawing/2014/main" id="{B4A4CD10-14EF-9201-7928-32F614C07C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87678" y="1916738"/>
                <a:ext cx="95250" cy="108347"/>
              </a:xfrm>
              <a:custGeom>
                <a:avLst/>
                <a:gdLst>
                  <a:gd name="T0" fmla="*/ 9478 w 201"/>
                  <a:gd name="T1" fmla="*/ 123407 h 247"/>
                  <a:gd name="T2" fmla="*/ 16428 w 201"/>
                  <a:gd name="T3" fmla="*/ 133934 h 247"/>
                  <a:gd name="T4" fmla="*/ 30960 w 201"/>
                  <a:gd name="T5" fmla="*/ 133934 h 247"/>
                  <a:gd name="T6" fmla="*/ 43597 w 201"/>
                  <a:gd name="T7" fmla="*/ 137444 h 247"/>
                  <a:gd name="T8" fmla="*/ 53706 w 201"/>
                  <a:gd name="T9" fmla="*/ 144462 h 247"/>
                  <a:gd name="T10" fmla="*/ 63816 w 201"/>
                  <a:gd name="T11" fmla="*/ 144462 h 247"/>
                  <a:gd name="T12" fmla="*/ 56866 w 201"/>
                  <a:gd name="T13" fmla="*/ 135689 h 247"/>
                  <a:gd name="T14" fmla="*/ 61920 w 201"/>
                  <a:gd name="T15" fmla="*/ 123407 h 247"/>
                  <a:gd name="T16" fmla="*/ 68239 w 201"/>
                  <a:gd name="T17" fmla="*/ 109955 h 247"/>
                  <a:gd name="T18" fmla="*/ 72030 w 201"/>
                  <a:gd name="T19" fmla="*/ 94748 h 247"/>
                  <a:gd name="T20" fmla="*/ 86562 w 201"/>
                  <a:gd name="T21" fmla="*/ 85390 h 247"/>
                  <a:gd name="T22" fmla="*/ 98567 w 201"/>
                  <a:gd name="T23" fmla="*/ 78957 h 247"/>
                  <a:gd name="T24" fmla="*/ 97935 w 201"/>
                  <a:gd name="T25" fmla="*/ 70184 h 247"/>
                  <a:gd name="T26" fmla="*/ 97935 w 201"/>
                  <a:gd name="T27" fmla="*/ 55562 h 247"/>
                  <a:gd name="T28" fmla="*/ 100463 w 201"/>
                  <a:gd name="T29" fmla="*/ 49129 h 247"/>
                  <a:gd name="T30" fmla="*/ 111836 w 201"/>
                  <a:gd name="T31" fmla="*/ 47374 h 247"/>
                  <a:gd name="T32" fmla="*/ 116891 w 201"/>
                  <a:gd name="T33" fmla="*/ 50883 h 247"/>
                  <a:gd name="T34" fmla="*/ 127000 w 201"/>
                  <a:gd name="T35" fmla="*/ 40356 h 247"/>
                  <a:gd name="T36" fmla="*/ 123209 w 201"/>
                  <a:gd name="T37" fmla="*/ 31583 h 247"/>
                  <a:gd name="T38" fmla="*/ 116891 w 201"/>
                  <a:gd name="T39" fmla="*/ 29828 h 247"/>
                  <a:gd name="T40" fmla="*/ 106149 w 201"/>
                  <a:gd name="T41" fmla="*/ 29828 h 247"/>
                  <a:gd name="T42" fmla="*/ 100463 w 201"/>
                  <a:gd name="T43" fmla="*/ 29828 h 247"/>
                  <a:gd name="T44" fmla="*/ 97935 w 201"/>
                  <a:gd name="T45" fmla="*/ 16376 h 247"/>
                  <a:gd name="T46" fmla="*/ 98567 w 201"/>
                  <a:gd name="T47" fmla="*/ 2924 h 247"/>
                  <a:gd name="T48" fmla="*/ 90985 w 201"/>
                  <a:gd name="T49" fmla="*/ 0 h 247"/>
                  <a:gd name="T50" fmla="*/ 87194 w 201"/>
                  <a:gd name="T51" fmla="*/ 4679 h 247"/>
                  <a:gd name="T52" fmla="*/ 68239 w 201"/>
                  <a:gd name="T53" fmla="*/ 1755 h 247"/>
                  <a:gd name="T54" fmla="*/ 63816 w 201"/>
                  <a:gd name="T55" fmla="*/ 5849 h 247"/>
                  <a:gd name="T56" fmla="*/ 68239 w 201"/>
                  <a:gd name="T57" fmla="*/ 17546 h 247"/>
                  <a:gd name="T58" fmla="*/ 66343 w 201"/>
                  <a:gd name="T59" fmla="*/ 29828 h 247"/>
                  <a:gd name="T60" fmla="*/ 58761 w 201"/>
                  <a:gd name="T61" fmla="*/ 21055 h 247"/>
                  <a:gd name="T62" fmla="*/ 54970 w 201"/>
                  <a:gd name="T63" fmla="*/ 13452 h 247"/>
                  <a:gd name="T64" fmla="*/ 43597 w 201"/>
                  <a:gd name="T65" fmla="*/ 15207 h 247"/>
                  <a:gd name="T66" fmla="*/ 39174 w 201"/>
                  <a:gd name="T67" fmla="*/ 22810 h 247"/>
                  <a:gd name="T68" fmla="*/ 36015 w 201"/>
                  <a:gd name="T69" fmla="*/ 25734 h 247"/>
                  <a:gd name="T70" fmla="*/ 36015 w 201"/>
                  <a:gd name="T71" fmla="*/ 36262 h 247"/>
                  <a:gd name="T72" fmla="*/ 34119 w 201"/>
                  <a:gd name="T73" fmla="*/ 34507 h 247"/>
                  <a:gd name="T74" fmla="*/ 24642 w 201"/>
                  <a:gd name="T75" fmla="*/ 21055 h 247"/>
                  <a:gd name="T76" fmla="*/ 19587 w 201"/>
                  <a:gd name="T77" fmla="*/ 16376 h 247"/>
                  <a:gd name="T78" fmla="*/ 13269 w 201"/>
                  <a:gd name="T79" fmla="*/ 19301 h 247"/>
                  <a:gd name="T80" fmla="*/ 15164 w 201"/>
                  <a:gd name="T81" fmla="*/ 26319 h 247"/>
                  <a:gd name="T82" fmla="*/ 15164 w 201"/>
                  <a:gd name="T83" fmla="*/ 31583 h 247"/>
                  <a:gd name="T84" fmla="*/ 6318 w 201"/>
                  <a:gd name="T85" fmla="*/ 34507 h 247"/>
                  <a:gd name="T86" fmla="*/ 6318 w 201"/>
                  <a:gd name="T87" fmla="*/ 45035 h 247"/>
                  <a:gd name="T88" fmla="*/ 13269 w 201"/>
                  <a:gd name="T89" fmla="*/ 55562 h 247"/>
                  <a:gd name="T90" fmla="*/ 13269 w 201"/>
                  <a:gd name="T91" fmla="*/ 63166 h 247"/>
                  <a:gd name="T92" fmla="*/ 9478 w 201"/>
                  <a:gd name="T93" fmla="*/ 70184 h 247"/>
                  <a:gd name="T94" fmla="*/ 0 w 201"/>
                  <a:gd name="T95" fmla="*/ 77787 h 247"/>
                  <a:gd name="T96" fmla="*/ 1896 w 201"/>
                  <a:gd name="T97" fmla="*/ 85390 h 247"/>
                  <a:gd name="T98" fmla="*/ 11373 w 201"/>
                  <a:gd name="T99" fmla="*/ 92994 h 247"/>
                  <a:gd name="T100" fmla="*/ 15164 w 201"/>
                  <a:gd name="T101" fmla="*/ 100012 h 247"/>
                  <a:gd name="T102" fmla="*/ 13269 w 201"/>
                  <a:gd name="T103" fmla="*/ 114634 h 247"/>
                  <a:gd name="T104" fmla="*/ 9478 w 201"/>
                  <a:gd name="T105" fmla="*/ 123407 h 24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01" h="247">
                    <a:moveTo>
                      <a:pt x="15" y="211"/>
                    </a:moveTo>
                    <a:lnTo>
                      <a:pt x="26" y="229"/>
                    </a:lnTo>
                    <a:lnTo>
                      <a:pt x="49" y="229"/>
                    </a:lnTo>
                    <a:lnTo>
                      <a:pt x="69" y="235"/>
                    </a:lnTo>
                    <a:lnTo>
                      <a:pt x="85" y="247"/>
                    </a:lnTo>
                    <a:lnTo>
                      <a:pt x="101" y="247"/>
                    </a:lnTo>
                    <a:lnTo>
                      <a:pt x="90" y="232"/>
                    </a:lnTo>
                    <a:lnTo>
                      <a:pt x="98" y="211"/>
                    </a:lnTo>
                    <a:lnTo>
                      <a:pt x="108" y="188"/>
                    </a:lnTo>
                    <a:lnTo>
                      <a:pt x="114" y="162"/>
                    </a:lnTo>
                    <a:lnTo>
                      <a:pt x="137" y="146"/>
                    </a:lnTo>
                    <a:lnTo>
                      <a:pt x="156" y="135"/>
                    </a:lnTo>
                    <a:lnTo>
                      <a:pt x="155" y="120"/>
                    </a:lnTo>
                    <a:lnTo>
                      <a:pt x="155" y="95"/>
                    </a:lnTo>
                    <a:lnTo>
                      <a:pt x="159" y="84"/>
                    </a:lnTo>
                    <a:lnTo>
                      <a:pt x="177" y="81"/>
                    </a:lnTo>
                    <a:lnTo>
                      <a:pt x="185" y="87"/>
                    </a:lnTo>
                    <a:lnTo>
                      <a:pt x="201" y="69"/>
                    </a:lnTo>
                    <a:lnTo>
                      <a:pt x="195" y="54"/>
                    </a:lnTo>
                    <a:lnTo>
                      <a:pt x="185" y="51"/>
                    </a:lnTo>
                    <a:lnTo>
                      <a:pt x="168" y="51"/>
                    </a:lnTo>
                    <a:lnTo>
                      <a:pt x="159" y="51"/>
                    </a:lnTo>
                    <a:lnTo>
                      <a:pt x="155" y="28"/>
                    </a:lnTo>
                    <a:lnTo>
                      <a:pt x="156" y="5"/>
                    </a:lnTo>
                    <a:lnTo>
                      <a:pt x="144" y="0"/>
                    </a:lnTo>
                    <a:lnTo>
                      <a:pt x="138" y="8"/>
                    </a:lnTo>
                    <a:lnTo>
                      <a:pt x="108" y="3"/>
                    </a:lnTo>
                    <a:lnTo>
                      <a:pt x="101" y="10"/>
                    </a:lnTo>
                    <a:lnTo>
                      <a:pt x="108" y="30"/>
                    </a:lnTo>
                    <a:lnTo>
                      <a:pt x="105" y="51"/>
                    </a:lnTo>
                    <a:lnTo>
                      <a:pt x="93" y="36"/>
                    </a:lnTo>
                    <a:lnTo>
                      <a:pt x="87" y="23"/>
                    </a:lnTo>
                    <a:lnTo>
                      <a:pt x="69" y="26"/>
                    </a:lnTo>
                    <a:lnTo>
                      <a:pt x="62" y="39"/>
                    </a:lnTo>
                    <a:lnTo>
                      <a:pt x="57" y="44"/>
                    </a:lnTo>
                    <a:lnTo>
                      <a:pt x="57" y="62"/>
                    </a:lnTo>
                    <a:lnTo>
                      <a:pt x="54" y="59"/>
                    </a:lnTo>
                    <a:lnTo>
                      <a:pt x="39" y="36"/>
                    </a:lnTo>
                    <a:lnTo>
                      <a:pt x="31" y="28"/>
                    </a:lnTo>
                    <a:lnTo>
                      <a:pt x="21" y="33"/>
                    </a:lnTo>
                    <a:lnTo>
                      <a:pt x="24" y="45"/>
                    </a:lnTo>
                    <a:lnTo>
                      <a:pt x="24" y="54"/>
                    </a:lnTo>
                    <a:lnTo>
                      <a:pt x="10" y="59"/>
                    </a:lnTo>
                    <a:lnTo>
                      <a:pt x="10" y="77"/>
                    </a:lnTo>
                    <a:lnTo>
                      <a:pt x="21" y="95"/>
                    </a:lnTo>
                    <a:lnTo>
                      <a:pt x="21" y="108"/>
                    </a:lnTo>
                    <a:lnTo>
                      <a:pt x="15" y="120"/>
                    </a:lnTo>
                    <a:lnTo>
                      <a:pt x="0" y="133"/>
                    </a:lnTo>
                    <a:lnTo>
                      <a:pt x="3" y="146"/>
                    </a:lnTo>
                    <a:lnTo>
                      <a:pt x="18" y="159"/>
                    </a:lnTo>
                    <a:lnTo>
                      <a:pt x="24" y="171"/>
                    </a:lnTo>
                    <a:lnTo>
                      <a:pt x="21" y="196"/>
                    </a:lnTo>
                    <a:lnTo>
                      <a:pt x="15" y="21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68" name="Freeform 54">
                <a:extLst>
                  <a:ext uri="{FF2B5EF4-FFF2-40B4-BE49-F238E27FC236}">
                    <a16:creationId xmlns:a16="http://schemas.microsoft.com/office/drawing/2014/main" id="{572163A0-F552-2A9C-F556-770EF46A1A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07918" y="1884591"/>
                <a:ext cx="71438" cy="40481"/>
              </a:xfrm>
              <a:custGeom>
                <a:avLst/>
                <a:gdLst>
                  <a:gd name="T0" fmla="*/ 0 w 150"/>
                  <a:gd name="T1" fmla="*/ 52252 h 94"/>
                  <a:gd name="T2" fmla="*/ 7620 w 150"/>
                  <a:gd name="T3" fmla="*/ 53975 h 94"/>
                  <a:gd name="T4" fmla="*/ 17145 w 150"/>
                  <a:gd name="T5" fmla="*/ 47659 h 94"/>
                  <a:gd name="T6" fmla="*/ 27305 w 150"/>
                  <a:gd name="T7" fmla="*/ 37323 h 94"/>
                  <a:gd name="T8" fmla="*/ 53340 w 150"/>
                  <a:gd name="T9" fmla="*/ 37323 h 94"/>
                  <a:gd name="T10" fmla="*/ 76200 w 150"/>
                  <a:gd name="T11" fmla="*/ 33304 h 94"/>
                  <a:gd name="T12" fmla="*/ 89535 w 150"/>
                  <a:gd name="T13" fmla="*/ 23542 h 94"/>
                  <a:gd name="T14" fmla="*/ 93980 w 150"/>
                  <a:gd name="T15" fmla="*/ 12058 h 94"/>
                  <a:gd name="T16" fmla="*/ 95250 w 150"/>
                  <a:gd name="T17" fmla="*/ 0 h 94"/>
                  <a:gd name="T18" fmla="*/ 78105 w 150"/>
                  <a:gd name="T19" fmla="*/ 6890 h 94"/>
                  <a:gd name="T20" fmla="*/ 45720 w 150"/>
                  <a:gd name="T21" fmla="*/ 20671 h 94"/>
                  <a:gd name="T22" fmla="*/ 36830 w 150"/>
                  <a:gd name="T23" fmla="*/ 22394 h 94"/>
                  <a:gd name="T24" fmla="*/ 27305 w 150"/>
                  <a:gd name="T25" fmla="*/ 28710 h 94"/>
                  <a:gd name="T26" fmla="*/ 7620 w 150"/>
                  <a:gd name="T27" fmla="*/ 31581 h 94"/>
                  <a:gd name="T28" fmla="*/ 0 w 150"/>
                  <a:gd name="T29" fmla="*/ 35601 h 94"/>
                  <a:gd name="T30" fmla="*/ 0 w 150"/>
                  <a:gd name="T31" fmla="*/ 52252 h 9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50" h="94">
                    <a:moveTo>
                      <a:pt x="0" y="91"/>
                    </a:moveTo>
                    <a:lnTo>
                      <a:pt x="12" y="94"/>
                    </a:lnTo>
                    <a:lnTo>
                      <a:pt x="27" y="83"/>
                    </a:lnTo>
                    <a:lnTo>
                      <a:pt x="43" y="65"/>
                    </a:lnTo>
                    <a:lnTo>
                      <a:pt x="84" y="65"/>
                    </a:lnTo>
                    <a:lnTo>
                      <a:pt x="120" y="58"/>
                    </a:lnTo>
                    <a:lnTo>
                      <a:pt x="141" y="41"/>
                    </a:lnTo>
                    <a:lnTo>
                      <a:pt x="148" y="21"/>
                    </a:lnTo>
                    <a:lnTo>
                      <a:pt x="150" y="0"/>
                    </a:lnTo>
                    <a:lnTo>
                      <a:pt x="123" y="12"/>
                    </a:lnTo>
                    <a:lnTo>
                      <a:pt x="72" y="36"/>
                    </a:lnTo>
                    <a:lnTo>
                      <a:pt x="58" y="39"/>
                    </a:lnTo>
                    <a:lnTo>
                      <a:pt x="43" y="50"/>
                    </a:lnTo>
                    <a:lnTo>
                      <a:pt x="12" y="55"/>
                    </a:lnTo>
                    <a:lnTo>
                      <a:pt x="0" y="62"/>
                    </a:lnTo>
                    <a:lnTo>
                      <a:pt x="0" y="9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69" name="Freeform 55">
                <a:extLst>
                  <a:ext uri="{FF2B5EF4-FFF2-40B4-BE49-F238E27FC236}">
                    <a16:creationId xmlns:a16="http://schemas.microsoft.com/office/drawing/2014/main" id="{97B6A046-6A35-19C6-9618-1AAA4CCA47B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44829" y="1985794"/>
                <a:ext cx="30956" cy="34528"/>
              </a:xfrm>
              <a:custGeom>
                <a:avLst/>
                <a:gdLst>
                  <a:gd name="T0" fmla="*/ 13335 w 65"/>
                  <a:gd name="T1" fmla="*/ 0 h 79"/>
                  <a:gd name="T2" fmla="*/ 39370 w 65"/>
                  <a:gd name="T3" fmla="*/ 15734 h 79"/>
                  <a:gd name="T4" fmla="*/ 41275 w 65"/>
                  <a:gd name="T5" fmla="*/ 23310 h 79"/>
                  <a:gd name="T6" fmla="*/ 31750 w 65"/>
                  <a:gd name="T7" fmla="*/ 32051 h 79"/>
                  <a:gd name="T8" fmla="*/ 22860 w 65"/>
                  <a:gd name="T9" fmla="*/ 38461 h 79"/>
                  <a:gd name="T10" fmla="*/ 24765 w 65"/>
                  <a:gd name="T11" fmla="*/ 46037 h 79"/>
                  <a:gd name="T12" fmla="*/ 13335 w 65"/>
                  <a:gd name="T13" fmla="*/ 44289 h 79"/>
                  <a:gd name="T14" fmla="*/ 1905 w 65"/>
                  <a:gd name="T15" fmla="*/ 32051 h 79"/>
                  <a:gd name="T16" fmla="*/ 0 w 65"/>
                  <a:gd name="T17" fmla="*/ 23310 h 79"/>
                  <a:gd name="T18" fmla="*/ 5080 w 65"/>
                  <a:gd name="T19" fmla="*/ 13403 h 79"/>
                  <a:gd name="T20" fmla="*/ 13335 w 65"/>
                  <a:gd name="T21" fmla="*/ 0 h 7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5" h="79">
                    <a:moveTo>
                      <a:pt x="21" y="0"/>
                    </a:moveTo>
                    <a:lnTo>
                      <a:pt x="62" y="27"/>
                    </a:lnTo>
                    <a:lnTo>
                      <a:pt x="65" y="40"/>
                    </a:lnTo>
                    <a:lnTo>
                      <a:pt x="50" y="55"/>
                    </a:lnTo>
                    <a:lnTo>
                      <a:pt x="36" y="66"/>
                    </a:lnTo>
                    <a:lnTo>
                      <a:pt x="39" y="79"/>
                    </a:lnTo>
                    <a:lnTo>
                      <a:pt x="21" y="76"/>
                    </a:lnTo>
                    <a:lnTo>
                      <a:pt x="3" y="55"/>
                    </a:lnTo>
                    <a:lnTo>
                      <a:pt x="0" y="40"/>
                    </a:lnTo>
                    <a:lnTo>
                      <a:pt x="8" y="23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70" name="Freeform 56">
                <a:extLst>
                  <a:ext uri="{FF2B5EF4-FFF2-40B4-BE49-F238E27FC236}">
                    <a16:creationId xmlns:a16="http://schemas.microsoft.com/office/drawing/2014/main" id="{CA333667-1B56-87DC-26F9-F9EE66C200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82928" y="1976270"/>
                <a:ext cx="45244" cy="48815"/>
              </a:xfrm>
              <a:custGeom>
                <a:avLst/>
                <a:gdLst>
                  <a:gd name="T0" fmla="*/ 57150 w 95"/>
                  <a:gd name="T1" fmla="*/ 0 h 114"/>
                  <a:gd name="T2" fmla="*/ 60325 w 95"/>
                  <a:gd name="T3" fmla="*/ 2855 h 114"/>
                  <a:gd name="T4" fmla="*/ 57150 w 95"/>
                  <a:gd name="T5" fmla="*/ 6851 h 114"/>
                  <a:gd name="T6" fmla="*/ 60325 w 95"/>
                  <a:gd name="T7" fmla="*/ 13703 h 114"/>
                  <a:gd name="T8" fmla="*/ 55880 w 95"/>
                  <a:gd name="T9" fmla="*/ 22838 h 114"/>
                  <a:gd name="T10" fmla="*/ 46990 w 95"/>
                  <a:gd name="T11" fmla="*/ 29118 h 114"/>
                  <a:gd name="T12" fmla="*/ 50800 w 95"/>
                  <a:gd name="T13" fmla="*/ 35969 h 114"/>
                  <a:gd name="T14" fmla="*/ 46990 w 95"/>
                  <a:gd name="T15" fmla="*/ 42249 h 114"/>
                  <a:gd name="T16" fmla="*/ 50800 w 95"/>
                  <a:gd name="T17" fmla="*/ 49672 h 114"/>
                  <a:gd name="T18" fmla="*/ 39370 w 95"/>
                  <a:gd name="T19" fmla="*/ 65087 h 114"/>
                  <a:gd name="T20" fmla="*/ 13970 w 95"/>
                  <a:gd name="T21" fmla="*/ 49672 h 114"/>
                  <a:gd name="T22" fmla="*/ 0 w 95"/>
                  <a:gd name="T23" fmla="*/ 41108 h 114"/>
                  <a:gd name="T24" fmla="*/ 7620 w 95"/>
                  <a:gd name="T25" fmla="*/ 35969 h 114"/>
                  <a:gd name="T26" fmla="*/ 7620 w 95"/>
                  <a:gd name="T27" fmla="*/ 25692 h 114"/>
                  <a:gd name="T28" fmla="*/ 23495 w 95"/>
                  <a:gd name="T29" fmla="*/ 17128 h 114"/>
                  <a:gd name="T30" fmla="*/ 31115 w 95"/>
                  <a:gd name="T31" fmla="*/ 20554 h 114"/>
                  <a:gd name="T32" fmla="*/ 39370 w 95"/>
                  <a:gd name="T33" fmla="*/ 17128 h 114"/>
                  <a:gd name="T34" fmla="*/ 52705 w 95"/>
                  <a:gd name="T35" fmla="*/ 8564 h 114"/>
                  <a:gd name="T36" fmla="*/ 57150 w 95"/>
                  <a:gd name="T37" fmla="*/ 0 h 11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95" h="114">
                    <a:moveTo>
                      <a:pt x="90" y="0"/>
                    </a:moveTo>
                    <a:lnTo>
                      <a:pt x="95" y="5"/>
                    </a:lnTo>
                    <a:lnTo>
                      <a:pt x="90" y="12"/>
                    </a:lnTo>
                    <a:lnTo>
                      <a:pt x="95" y="24"/>
                    </a:lnTo>
                    <a:lnTo>
                      <a:pt x="88" y="40"/>
                    </a:lnTo>
                    <a:lnTo>
                      <a:pt x="74" y="51"/>
                    </a:lnTo>
                    <a:lnTo>
                      <a:pt x="80" y="63"/>
                    </a:lnTo>
                    <a:lnTo>
                      <a:pt x="74" y="74"/>
                    </a:lnTo>
                    <a:lnTo>
                      <a:pt x="80" y="87"/>
                    </a:lnTo>
                    <a:lnTo>
                      <a:pt x="62" y="114"/>
                    </a:lnTo>
                    <a:lnTo>
                      <a:pt x="22" y="87"/>
                    </a:lnTo>
                    <a:lnTo>
                      <a:pt x="0" y="72"/>
                    </a:lnTo>
                    <a:lnTo>
                      <a:pt x="12" y="63"/>
                    </a:lnTo>
                    <a:lnTo>
                      <a:pt x="12" y="45"/>
                    </a:lnTo>
                    <a:lnTo>
                      <a:pt x="37" y="30"/>
                    </a:lnTo>
                    <a:lnTo>
                      <a:pt x="49" y="36"/>
                    </a:lnTo>
                    <a:lnTo>
                      <a:pt x="62" y="30"/>
                    </a:lnTo>
                    <a:lnTo>
                      <a:pt x="83" y="15"/>
                    </a:lnTo>
                    <a:lnTo>
                      <a:pt x="9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71" name="Freeform 57">
                <a:extLst>
                  <a:ext uri="{FF2B5EF4-FFF2-40B4-BE49-F238E27FC236}">
                    <a16:creationId xmlns:a16="http://schemas.microsoft.com/office/drawing/2014/main" id="{02814F4B-BC53-DEC7-F102-D7A382F9B3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6975" y="2027466"/>
                <a:ext cx="19050" cy="21431"/>
              </a:xfrm>
              <a:custGeom>
                <a:avLst/>
                <a:gdLst>
                  <a:gd name="T0" fmla="*/ 0 w 39"/>
                  <a:gd name="T1" fmla="*/ 0 h 48"/>
                  <a:gd name="T2" fmla="*/ 17585 w 39"/>
                  <a:gd name="T3" fmla="*/ 4763 h 48"/>
                  <a:gd name="T4" fmla="*/ 23446 w 39"/>
                  <a:gd name="T5" fmla="*/ 11906 h 48"/>
                  <a:gd name="T6" fmla="*/ 25400 w 39"/>
                  <a:gd name="T7" fmla="*/ 22622 h 48"/>
                  <a:gd name="T8" fmla="*/ 17585 w 39"/>
                  <a:gd name="T9" fmla="*/ 28575 h 48"/>
                  <a:gd name="T10" fmla="*/ 4559 w 39"/>
                  <a:gd name="T11" fmla="*/ 23813 h 48"/>
                  <a:gd name="T12" fmla="*/ 1954 w 39"/>
                  <a:gd name="T13" fmla="*/ 16073 h 48"/>
                  <a:gd name="T14" fmla="*/ 0 w 39"/>
                  <a:gd name="T15" fmla="*/ 0 h 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27" y="8"/>
                    </a:lnTo>
                    <a:lnTo>
                      <a:pt x="36" y="20"/>
                    </a:lnTo>
                    <a:lnTo>
                      <a:pt x="39" y="38"/>
                    </a:lnTo>
                    <a:lnTo>
                      <a:pt x="27" y="48"/>
                    </a:lnTo>
                    <a:lnTo>
                      <a:pt x="7" y="40"/>
                    </a:lnTo>
                    <a:lnTo>
                      <a:pt x="3" y="2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72" name="Freeform 58">
                <a:extLst>
                  <a:ext uri="{FF2B5EF4-FFF2-40B4-BE49-F238E27FC236}">
                    <a16:creationId xmlns:a16="http://schemas.microsoft.com/office/drawing/2014/main" id="{275DB2CF-2C99-9162-8C42-04445828403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2662" y="2017941"/>
                <a:ext cx="334566" cy="413147"/>
              </a:xfrm>
              <a:custGeom>
                <a:avLst/>
                <a:gdLst>
                  <a:gd name="T0" fmla="*/ 175159 w 708"/>
                  <a:gd name="T1" fmla="*/ 12216 h 947"/>
                  <a:gd name="T2" fmla="*/ 180199 w 708"/>
                  <a:gd name="T3" fmla="*/ 38392 h 947"/>
                  <a:gd name="T4" fmla="*/ 176419 w 708"/>
                  <a:gd name="T5" fmla="*/ 58169 h 947"/>
                  <a:gd name="T6" fmla="*/ 200992 w 708"/>
                  <a:gd name="T7" fmla="*/ 86091 h 947"/>
                  <a:gd name="T8" fmla="*/ 165078 w 708"/>
                  <a:gd name="T9" fmla="*/ 77365 h 947"/>
                  <a:gd name="T10" fmla="*/ 137355 w 708"/>
                  <a:gd name="T11" fmla="*/ 98306 h 947"/>
                  <a:gd name="T12" fmla="*/ 118453 w 708"/>
                  <a:gd name="T13" fmla="*/ 80274 h 947"/>
                  <a:gd name="T14" fmla="*/ 82539 w 708"/>
                  <a:gd name="T15" fmla="*/ 98306 h 947"/>
                  <a:gd name="T16" fmla="*/ 89470 w 708"/>
                  <a:gd name="T17" fmla="*/ 126227 h 947"/>
                  <a:gd name="T18" fmla="*/ 71198 w 708"/>
                  <a:gd name="T19" fmla="*/ 141351 h 947"/>
                  <a:gd name="T20" fmla="*/ 74978 w 708"/>
                  <a:gd name="T21" fmla="*/ 168109 h 947"/>
                  <a:gd name="T22" fmla="*/ 50405 w 708"/>
                  <a:gd name="T23" fmla="*/ 196030 h 947"/>
                  <a:gd name="T24" fmla="*/ 23943 w 708"/>
                  <a:gd name="T25" fmla="*/ 219298 h 947"/>
                  <a:gd name="T26" fmla="*/ 16382 w 708"/>
                  <a:gd name="T27" fmla="*/ 262925 h 947"/>
                  <a:gd name="T28" fmla="*/ 12601 w 708"/>
                  <a:gd name="T29" fmla="*/ 282121 h 947"/>
                  <a:gd name="T30" fmla="*/ 1260 w 708"/>
                  <a:gd name="T31" fmla="*/ 322258 h 947"/>
                  <a:gd name="T32" fmla="*/ 16382 w 708"/>
                  <a:gd name="T33" fmla="*/ 342035 h 947"/>
                  <a:gd name="T34" fmla="*/ 0 w 708"/>
                  <a:gd name="T35" fmla="*/ 367048 h 947"/>
                  <a:gd name="T36" fmla="*/ 23943 w 708"/>
                  <a:gd name="T37" fmla="*/ 394388 h 947"/>
                  <a:gd name="T38" fmla="*/ 70568 w 708"/>
                  <a:gd name="T39" fmla="*/ 399623 h 947"/>
                  <a:gd name="T40" fmla="*/ 78128 w 708"/>
                  <a:gd name="T41" fmla="*/ 418819 h 947"/>
                  <a:gd name="T42" fmla="*/ 57336 w 708"/>
                  <a:gd name="T43" fmla="*/ 445577 h 947"/>
                  <a:gd name="T44" fmla="*/ 39064 w 708"/>
                  <a:gd name="T45" fmla="*/ 489785 h 947"/>
                  <a:gd name="T46" fmla="*/ 63637 w 708"/>
                  <a:gd name="T47" fmla="*/ 516543 h 947"/>
                  <a:gd name="T48" fmla="*/ 86319 w 708"/>
                  <a:gd name="T49" fmla="*/ 506073 h 947"/>
                  <a:gd name="T50" fmla="*/ 109002 w 708"/>
                  <a:gd name="T51" fmla="*/ 514216 h 947"/>
                  <a:gd name="T52" fmla="*/ 129794 w 708"/>
                  <a:gd name="T53" fmla="*/ 531667 h 947"/>
                  <a:gd name="T54" fmla="*/ 171378 w 708"/>
                  <a:gd name="T55" fmla="*/ 537484 h 947"/>
                  <a:gd name="T56" fmla="*/ 199101 w 708"/>
                  <a:gd name="T57" fmla="*/ 542138 h 947"/>
                  <a:gd name="T58" fmla="*/ 241316 w 708"/>
                  <a:gd name="T59" fmla="*/ 542138 h 947"/>
                  <a:gd name="T60" fmla="*/ 268409 w 708"/>
                  <a:gd name="T61" fmla="*/ 538647 h 947"/>
                  <a:gd name="T62" fmla="*/ 298022 w 708"/>
                  <a:gd name="T63" fmla="*/ 538647 h 947"/>
                  <a:gd name="T64" fmla="*/ 332676 w 708"/>
                  <a:gd name="T65" fmla="*/ 546209 h 947"/>
                  <a:gd name="T66" fmla="*/ 324485 w 708"/>
                  <a:gd name="T67" fmla="*/ 522942 h 947"/>
                  <a:gd name="T68" fmla="*/ 376150 w 708"/>
                  <a:gd name="T69" fmla="*/ 477570 h 947"/>
                  <a:gd name="T70" fmla="*/ 350948 w 708"/>
                  <a:gd name="T71" fmla="*/ 456629 h 947"/>
                  <a:gd name="T72" fmla="*/ 302433 w 708"/>
                  <a:gd name="T73" fmla="*/ 411838 h 947"/>
                  <a:gd name="T74" fmla="*/ 289831 w 708"/>
                  <a:gd name="T75" fmla="*/ 371702 h 947"/>
                  <a:gd name="T76" fmla="*/ 306213 w 708"/>
                  <a:gd name="T77" fmla="*/ 361813 h 947"/>
                  <a:gd name="T78" fmla="*/ 403243 w 708"/>
                  <a:gd name="T79" fmla="*/ 322258 h 947"/>
                  <a:gd name="T80" fmla="*/ 437897 w 708"/>
                  <a:gd name="T81" fmla="*/ 319931 h 947"/>
                  <a:gd name="T82" fmla="*/ 446088 w 708"/>
                  <a:gd name="T83" fmla="*/ 292591 h 947"/>
                  <a:gd name="T84" fmla="*/ 436007 w 708"/>
                  <a:gd name="T85" fmla="*/ 241984 h 947"/>
                  <a:gd name="T86" fmla="*/ 428446 w 708"/>
                  <a:gd name="T87" fmla="*/ 206501 h 947"/>
                  <a:gd name="T88" fmla="*/ 417105 w 708"/>
                  <a:gd name="T89" fmla="*/ 166364 h 947"/>
                  <a:gd name="T90" fmla="*/ 398833 w 708"/>
                  <a:gd name="T91" fmla="*/ 104705 h 947"/>
                  <a:gd name="T92" fmla="*/ 360399 w 708"/>
                  <a:gd name="T93" fmla="*/ 68640 h 947"/>
                  <a:gd name="T94" fmla="*/ 330156 w 708"/>
                  <a:gd name="T95" fmla="*/ 66895 h 947"/>
                  <a:gd name="T96" fmla="*/ 277860 w 708"/>
                  <a:gd name="T97" fmla="*/ 85509 h 947"/>
                  <a:gd name="T98" fmla="*/ 273449 w 708"/>
                  <a:gd name="T99" fmla="*/ 69803 h 947"/>
                  <a:gd name="T100" fmla="*/ 246987 w 708"/>
                  <a:gd name="T101" fmla="*/ 47699 h 947"/>
                  <a:gd name="T102" fmla="*/ 226194 w 708"/>
                  <a:gd name="T103" fmla="*/ 12216 h 947"/>
                  <a:gd name="T104" fmla="*/ 195951 w 708"/>
                  <a:gd name="T105" fmla="*/ 1745 h 94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708" h="947">
                    <a:moveTo>
                      <a:pt x="293" y="0"/>
                    </a:moveTo>
                    <a:lnTo>
                      <a:pt x="278" y="10"/>
                    </a:lnTo>
                    <a:lnTo>
                      <a:pt x="278" y="21"/>
                    </a:lnTo>
                    <a:lnTo>
                      <a:pt x="280" y="30"/>
                    </a:lnTo>
                    <a:lnTo>
                      <a:pt x="283" y="46"/>
                    </a:lnTo>
                    <a:lnTo>
                      <a:pt x="286" y="66"/>
                    </a:lnTo>
                    <a:lnTo>
                      <a:pt x="278" y="75"/>
                    </a:lnTo>
                    <a:lnTo>
                      <a:pt x="278" y="87"/>
                    </a:lnTo>
                    <a:lnTo>
                      <a:pt x="280" y="100"/>
                    </a:lnTo>
                    <a:lnTo>
                      <a:pt x="301" y="118"/>
                    </a:lnTo>
                    <a:lnTo>
                      <a:pt x="314" y="120"/>
                    </a:lnTo>
                    <a:lnTo>
                      <a:pt x="319" y="148"/>
                    </a:lnTo>
                    <a:lnTo>
                      <a:pt x="290" y="141"/>
                    </a:lnTo>
                    <a:lnTo>
                      <a:pt x="275" y="126"/>
                    </a:lnTo>
                    <a:lnTo>
                      <a:pt x="262" y="133"/>
                    </a:lnTo>
                    <a:lnTo>
                      <a:pt x="239" y="162"/>
                    </a:lnTo>
                    <a:lnTo>
                      <a:pt x="229" y="171"/>
                    </a:lnTo>
                    <a:lnTo>
                      <a:pt x="218" y="169"/>
                    </a:lnTo>
                    <a:lnTo>
                      <a:pt x="217" y="156"/>
                    </a:lnTo>
                    <a:lnTo>
                      <a:pt x="209" y="147"/>
                    </a:lnTo>
                    <a:lnTo>
                      <a:pt x="188" y="138"/>
                    </a:lnTo>
                    <a:lnTo>
                      <a:pt x="157" y="138"/>
                    </a:lnTo>
                    <a:lnTo>
                      <a:pt x="148" y="151"/>
                    </a:lnTo>
                    <a:lnTo>
                      <a:pt x="131" y="169"/>
                    </a:lnTo>
                    <a:lnTo>
                      <a:pt x="145" y="181"/>
                    </a:lnTo>
                    <a:lnTo>
                      <a:pt x="145" y="205"/>
                    </a:lnTo>
                    <a:lnTo>
                      <a:pt x="142" y="217"/>
                    </a:lnTo>
                    <a:lnTo>
                      <a:pt x="137" y="228"/>
                    </a:lnTo>
                    <a:lnTo>
                      <a:pt x="119" y="241"/>
                    </a:lnTo>
                    <a:lnTo>
                      <a:pt x="113" y="243"/>
                    </a:lnTo>
                    <a:lnTo>
                      <a:pt x="116" y="261"/>
                    </a:lnTo>
                    <a:lnTo>
                      <a:pt x="124" y="274"/>
                    </a:lnTo>
                    <a:lnTo>
                      <a:pt x="119" y="289"/>
                    </a:lnTo>
                    <a:lnTo>
                      <a:pt x="106" y="307"/>
                    </a:lnTo>
                    <a:lnTo>
                      <a:pt x="91" y="325"/>
                    </a:lnTo>
                    <a:lnTo>
                      <a:pt x="80" y="337"/>
                    </a:lnTo>
                    <a:lnTo>
                      <a:pt x="62" y="353"/>
                    </a:lnTo>
                    <a:lnTo>
                      <a:pt x="48" y="357"/>
                    </a:lnTo>
                    <a:lnTo>
                      <a:pt x="38" y="377"/>
                    </a:lnTo>
                    <a:lnTo>
                      <a:pt x="36" y="408"/>
                    </a:lnTo>
                    <a:lnTo>
                      <a:pt x="26" y="426"/>
                    </a:lnTo>
                    <a:lnTo>
                      <a:pt x="26" y="452"/>
                    </a:lnTo>
                    <a:lnTo>
                      <a:pt x="15" y="465"/>
                    </a:lnTo>
                    <a:lnTo>
                      <a:pt x="12" y="473"/>
                    </a:lnTo>
                    <a:lnTo>
                      <a:pt x="20" y="485"/>
                    </a:lnTo>
                    <a:lnTo>
                      <a:pt x="26" y="506"/>
                    </a:lnTo>
                    <a:lnTo>
                      <a:pt x="38" y="524"/>
                    </a:lnTo>
                    <a:lnTo>
                      <a:pt x="2" y="554"/>
                    </a:lnTo>
                    <a:lnTo>
                      <a:pt x="9" y="572"/>
                    </a:lnTo>
                    <a:lnTo>
                      <a:pt x="23" y="585"/>
                    </a:lnTo>
                    <a:lnTo>
                      <a:pt x="26" y="588"/>
                    </a:lnTo>
                    <a:lnTo>
                      <a:pt x="26" y="600"/>
                    </a:lnTo>
                    <a:lnTo>
                      <a:pt x="8" y="613"/>
                    </a:lnTo>
                    <a:lnTo>
                      <a:pt x="0" y="631"/>
                    </a:lnTo>
                    <a:lnTo>
                      <a:pt x="8" y="654"/>
                    </a:lnTo>
                    <a:lnTo>
                      <a:pt x="18" y="669"/>
                    </a:lnTo>
                    <a:lnTo>
                      <a:pt x="38" y="678"/>
                    </a:lnTo>
                    <a:lnTo>
                      <a:pt x="65" y="682"/>
                    </a:lnTo>
                    <a:lnTo>
                      <a:pt x="91" y="684"/>
                    </a:lnTo>
                    <a:lnTo>
                      <a:pt x="112" y="687"/>
                    </a:lnTo>
                    <a:lnTo>
                      <a:pt x="127" y="698"/>
                    </a:lnTo>
                    <a:lnTo>
                      <a:pt x="142" y="711"/>
                    </a:lnTo>
                    <a:lnTo>
                      <a:pt x="124" y="720"/>
                    </a:lnTo>
                    <a:lnTo>
                      <a:pt x="109" y="736"/>
                    </a:lnTo>
                    <a:lnTo>
                      <a:pt x="94" y="749"/>
                    </a:lnTo>
                    <a:lnTo>
                      <a:pt x="91" y="766"/>
                    </a:lnTo>
                    <a:lnTo>
                      <a:pt x="83" y="803"/>
                    </a:lnTo>
                    <a:lnTo>
                      <a:pt x="70" y="827"/>
                    </a:lnTo>
                    <a:lnTo>
                      <a:pt x="62" y="842"/>
                    </a:lnTo>
                    <a:lnTo>
                      <a:pt x="83" y="870"/>
                    </a:lnTo>
                    <a:lnTo>
                      <a:pt x="88" y="878"/>
                    </a:lnTo>
                    <a:lnTo>
                      <a:pt x="101" y="888"/>
                    </a:lnTo>
                    <a:lnTo>
                      <a:pt x="113" y="886"/>
                    </a:lnTo>
                    <a:lnTo>
                      <a:pt x="130" y="878"/>
                    </a:lnTo>
                    <a:lnTo>
                      <a:pt x="137" y="870"/>
                    </a:lnTo>
                    <a:lnTo>
                      <a:pt x="139" y="866"/>
                    </a:lnTo>
                    <a:lnTo>
                      <a:pt x="163" y="870"/>
                    </a:lnTo>
                    <a:lnTo>
                      <a:pt x="173" y="884"/>
                    </a:lnTo>
                    <a:lnTo>
                      <a:pt x="181" y="899"/>
                    </a:lnTo>
                    <a:lnTo>
                      <a:pt x="191" y="911"/>
                    </a:lnTo>
                    <a:lnTo>
                      <a:pt x="206" y="914"/>
                    </a:lnTo>
                    <a:lnTo>
                      <a:pt x="236" y="911"/>
                    </a:lnTo>
                    <a:lnTo>
                      <a:pt x="251" y="908"/>
                    </a:lnTo>
                    <a:lnTo>
                      <a:pt x="272" y="924"/>
                    </a:lnTo>
                    <a:lnTo>
                      <a:pt x="287" y="917"/>
                    </a:lnTo>
                    <a:lnTo>
                      <a:pt x="303" y="921"/>
                    </a:lnTo>
                    <a:lnTo>
                      <a:pt x="316" y="932"/>
                    </a:lnTo>
                    <a:lnTo>
                      <a:pt x="341" y="921"/>
                    </a:lnTo>
                    <a:lnTo>
                      <a:pt x="365" y="921"/>
                    </a:lnTo>
                    <a:lnTo>
                      <a:pt x="383" y="932"/>
                    </a:lnTo>
                    <a:lnTo>
                      <a:pt x="395" y="937"/>
                    </a:lnTo>
                    <a:lnTo>
                      <a:pt x="410" y="926"/>
                    </a:lnTo>
                    <a:lnTo>
                      <a:pt x="426" y="926"/>
                    </a:lnTo>
                    <a:lnTo>
                      <a:pt x="452" y="921"/>
                    </a:lnTo>
                    <a:lnTo>
                      <a:pt x="470" y="932"/>
                    </a:lnTo>
                    <a:lnTo>
                      <a:pt x="473" y="926"/>
                    </a:lnTo>
                    <a:lnTo>
                      <a:pt x="492" y="939"/>
                    </a:lnTo>
                    <a:lnTo>
                      <a:pt x="509" y="947"/>
                    </a:lnTo>
                    <a:lnTo>
                      <a:pt x="528" y="939"/>
                    </a:lnTo>
                    <a:lnTo>
                      <a:pt x="531" y="926"/>
                    </a:lnTo>
                    <a:lnTo>
                      <a:pt x="518" y="908"/>
                    </a:lnTo>
                    <a:lnTo>
                      <a:pt x="515" y="899"/>
                    </a:lnTo>
                    <a:lnTo>
                      <a:pt x="509" y="868"/>
                    </a:lnTo>
                    <a:lnTo>
                      <a:pt x="579" y="821"/>
                    </a:lnTo>
                    <a:lnTo>
                      <a:pt x="597" y="821"/>
                    </a:lnTo>
                    <a:lnTo>
                      <a:pt x="600" y="814"/>
                    </a:lnTo>
                    <a:lnTo>
                      <a:pt x="575" y="805"/>
                    </a:lnTo>
                    <a:lnTo>
                      <a:pt x="557" y="785"/>
                    </a:lnTo>
                    <a:lnTo>
                      <a:pt x="511" y="745"/>
                    </a:lnTo>
                    <a:lnTo>
                      <a:pt x="506" y="713"/>
                    </a:lnTo>
                    <a:lnTo>
                      <a:pt x="480" y="708"/>
                    </a:lnTo>
                    <a:lnTo>
                      <a:pt x="477" y="678"/>
                    </a:lnTo>
                    <a:lnTo>
                      <a:pt x="471" y="651"/>
                    </a:lnTo>
                    <a:lnTo>
                      <a:pt x="460" y="639"/>
                    </a:lnTo>
                    <a:lnTo>
                      <a:pt x="467" y="626"/>
                    </a:lnTo>
                    <a:lnTo>
                      <a:pt x="473" y="621"/>
                    </a:lnTo>
                    <a:lnTo>
                      <a:pt x="486" y="622"/>
                    </a:lnTo>
                    <a:lnTo>
                      <a:pt x="529" y="610"/>
                    </a:lnTo>
                    <a:lnTo>
                      <a:pt x="621" y="563"/>
                    </a:lnTo>
                    <a:lnTo>
                      <a:pt x="640" y="554"/>
                    </a:lnTo>
                    <a:lnTo>
                      <a:pt x="659" y="542"/>
                    </a:lnTo>
                    <a:lnTo>
                      <a:pt x="674" y="559"/>
                    </a:lnTo>
                    <a:lnTo>
                      <a:pt x="695" y="550"/>
                    </a:lnTo>
                    <a:lnTo>
                      <a:pt x="701" y="530"/>
                    </a:lnTo>
                    <a:lnTo>
                      <a:pt x="699" y="517"/>
                    </a:lnTo>
                    <a:lnTo>
                      <a:pt x="708" y="503"/>
                    </a:lnTo>
                    <a:lnTo>
                      <a:pt x="697" y="487"/>
                    </a:lnTo>
                    <a:lnTo>
                      <a:pt x="684" y="458"/>
                    </a:lnTo>
                    <a:lnTo>
                      <a:pt x="692" y="416"/>
                    </a:lnTo>
                    <a:lnTo>
                      <a:pt x="679" y="395"/>
                    </a:lnTo>
                    <a:lnTo>
                      <a:pt x="673" y="375"/>
                    </a:lnTo>
                    <a:lnTo>
                      <a:pt x="680" y="355"/>
                    </a:lnTo>
                    <a:lnTo>
                      <a:pt x="676" y="337"/>
                    </a:lnTo>
                    <a:lnTo>
                      <a:pt x="647" y="306"/>
                    </a:lnTo>
                    <a:lnTo>
                      <a:pt x="662" y="286"/>
                    </a:lnTo>
                    <a:lnTo>
                      <a:pt x="662" y="253"/>
                    </a:lnTo>
                    <a:lnTo>
                      <a:pt x="665" y="214"/>
                    </a:lnTo>
                    <a:lnTo>
                      <a:pt x="633" y="180"/>
                    </a:lnTo>
                    <a:lnTo>
                      <a:pt x="618" y="159"/>
                    </a:lnTo>
                    <a:lnTo>
                      <a:pt x="600" y="141"/>
                    </a:lnTo>
                    <a:lnTo>
                      <a:pt x="572" y="118"/>
                    </a:lnTo>
                    <a:lnTo>
                      <a:pt x="554" y="105"/>
                    </a:lnTo>
                    <a:lnTo>
                      <a:pt x="542" y="102"/>
                    </a:lnTo>
                    <a:lnTo>
                      <a:pt x="524" y="115"/>
                    </a:lnTo>
                    <a:lnTo>
                      <a:pt x="510" y="123"/>
                    </a:lnTo>
                    <a:lnTo>
                      <a:pt x="470" y="153"/>
                    </a:lnTo>
                    <a:lnTo>
                      <a:pt x="441" y="147"/>
                    </a:lnTo>
                    <a:lnTo>
                      <a:pt x="428" y="147"/>
                    </a:lnTo>
                    <a:lnTo>
                      <a:pt x="428" y="136"/>
                    </a:lnTo>
                    <a:lnTo>
                      <a:pt x="434" y="120"/>
                    </a:lnTo>
                    <a:lnTo>
                      <a:pt x="441" y="108"/>
                    </a:lnTo>
                    <a:lnTo>
                      <a:pt x="403" y="84"/>
                    </a:lnTo>
                    <a:lnTo>
                      <a:pt x="392" y="82"/>
                    </a:lnTo>
                    <a:lnTo>
                      <a:pt x="374" y="66"/>
                    </a:lnTo>
                    <a:lnTo>
                      <a:pt x="368" y="39"/>
                    </a:lnTo>
                    <a:lnTo>
                      <a:pt x="359" y="21"/>
                    </a:lnTo>
                    <a:lnTo>
                      <a:pt x="347" y="24"/>
                    </a:lnTo>
                    <a:lnTo>
                      <a:pt x="332" y="6"/>
                    </a:lnTo>
                    <a:lnTo>
                      <a:pt x="311" y="3"/>
                    </a:lnTo>
                    <a:lnTo>
                      <a:pt x="293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73" name="Freeform 59">
                <a:extLst>
                  <a:ext uri="{FF2B5EF4-FFF2-40B4-BE49-F238E27FC236}">
                    <a16:creationId xmlns:a16="http://schemas.microsoft.com/office/drawing/2014/main" id="{C845DA96-9364-4514-DF90-B607FDBCE1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68653" y="2050088"/>
                <a:ext cx="361950" cy="314325"/>
              </a:xfrm>
              <a:custGeom>
                <a:avLst/>
                <a:gdLst>
                  <a:gd name="T0" fmla="*/ 9500 w 762"/>
                  <a:gd name="T1" fmla="*/ 105067 h 718"/>
                  <a:gd name="T2" fmla="*/ 0 w 762"/>
                  <a:gd name="T3" fmla="*/ 133085 h 718"/>
                  <a:gd name="T4" fmla="*/ 20900 w 762"/>
                  <a:gd name="T5" fmla="*/ 160519 h 718"/>
                  <a:gd name="T6" fmla="*/ 17100 w 762"/>
                  <a:gd name="T7" fmla="*/ 183283 h 718"/>
                  <a:gd name="T8" fmla="*/ 25967 w 762"/>
                  <a:gd name="T9" fmla="*/ 202546 h 718"/>
                  <a:gd name="T10" fmla="*/ 32300 w 762"/>
                  <a:gd name="T11" fmla="*/ 240486 h 718"/>
                  <a:gd name="T12" fmla="*/ 34200 w 762"/>
                  <a:gd name="T13" fmla="*/ 255079 h 718"/>
                  <a:gd name="T14" fmla="*/ 28500 w 762"/>
                  <a:gd name="T15" fmla="*/ 269088 h 718"/>
                  <a:gd name="T16" fmla="*/ 41800 w 762"/>
                  <a:gd name="T17" fmla="*/ 276092 h 718"/>
                  <a:gd name="T18" fmla="*/ 55100 w 762"/>
                  <a:gd name="T19" fmla="*/ 284848 h 718"/>
                  <a:gd name="T20" fmla="*/ 68400 w 762"/>
                  <a:gd name="T21" fmla="*/ 307612 h 718"/>
                  <a:gd name="T22" fmla="*/ 82967 w 762"/>
                  <a:gd name="T23" fmla="*/ 322789 h 718"/>
                  <a:gd name="T24" fmla="*/ 110833 w 762"/>
                  <a:gd name="T25" fmla="*/ 330377 h 718"/>
                  <a:gd name="T26" fmla="*/ 130467 w 762"/>
                  <a:gd name="T27" fmla="*/ 328626 h 718"/>
                  <a:gd name="T28" fmla="*/ 158333 w 762"/>
                  <a:gd name="T29" fmla="*/ 352558 h 718"/>
                  <a:gd name="T30" fmla="*/ 191900 w 762"/>
                  <a:gd name="T31" fmla="*/ 365399 h 718"/>
                  <a:gd name="T32" fmla="*/ 215967 w 762"/>
                  <a:gd name="T33" fmla="*/ 361897 h 718"/>
                  <a:gd name="T34" fmla="*/ 242567 w 762"/>
                  <a:gd name="T35" fmla="*/ 377657 h 718"/>
                  <a:gd name="T36" fmla="*/ 255867 w 762"/>
                  <a:gd name="T37" fmla="*/ 379408 h 718"/>
                  <a:gd name="T38" fmla="*/ 274867 w 762"/>
                  <a:gd name="T39" fmla="*/ 386413 h 718"/>
                  <a:gd name="T40" fmla="*/ 297667 w 762"/>
                  <a:gd name="T41" fmla="*/ 402756 h 718"/>
                  <a:gd name="T42" fmla="*/ 316667 w 762"/>
                  <a:gd name="T43" fmla="*/ 405091 h 718"/>
                  <a:gd name="T44" fmla="*/ 331867 w 762"/>
                  <a:gd name="T45" fmla="*/ 396336 h 718"/>
                  <a:gd name="T46" fmla="*/ 421800 w 762"/>
                  <a:gd name="T47" fmla="*/ 419100 h 718"/>
                  <a:gd name="T48" fmla="*/ 425600 w 762"/>
                  <a:gd name="T49" fmla="*/ 396336 h 718"/>
                  <a:gd name="T50" fmla="*/ 469300 w 762"/>
                  <a:gd name="T51" fmla="*/ 330377 h 718"/>
                  <a:gd name="T52" fmla="*/ 482600 w 762"/>
                  <a:gd name="T53" fmla="*/ 302943 h 718"/>
                  <a:gd name="T54" fmla="*/ 465500 w 762"/>
                  <a:gd name="T55" fmla="*/ 262083 h 718"/>
                  <a:gd name="T56" fmla="*/ 442067 w 762"/>
                  <a:gd name="T57" fmla="*/ 232314 h 718"/>
                  <a:gd name="T58" fmla="*/ 442067 w 762"/>
                  <a:gd name="T59" fmla="*/ 206048 h 718"/>
                  <a:gd name="T60" fmla="*/ 440167 w 762"/>
                  <a:gd name="T61" fmla="*/ 183283 h 718"/>
                  <a:gd name="T62" fmla="*/ 440167 w 762"/>
                  <a:gd name="T63" fmla="*/ 168691 h 718"/>
                  <a:gd name="T64" fmla="*/ 457900 w 762"/>
                  <a:gd name="T65" fmla="*/ 147094 h 718"/>
                  <a:gd name="T66" fmla="*/ 450300 w 762"/>
                  <a:gd name="T67" fmla="*/ 103316 h 718"/>
                  <a:gd name="T68" fmla="*/ 444600 w 762"/>
                  <a:gd name="T69" fmla="*/ 73547 h 718"/>
                  <a:gd name="T70" fmla="*/ 421800 w 762"/>
                  <a:gd name="T71" fmla="*/ 47864 h 718"/>
                  <a:gd name="T72" fmla="*/ 366067 w 762"/>
                  <a:gd name="T73" fmla="*/ 44945 h 718"/>
                  <a:gd name="T74" fmla="*/ 300833 w 762"/>
                  <a:gd name="T75" fmla="*/ 40276 h 718"/>
                  <a:gd name="T76" fmla="*/ 267267 w 762"/>
                  <a:gd name="T77" fmla="*/ 31520 h 718"/>
                  <a:gd name="T78" fmla="*/ 245733 w 762"/>
                  <a:gd name="T79" fmla="*/ 42027 h 718"/>
                  <a:gd name="T80" fmla="*/ 226100 w 762"/>
                  <a:gd name="T81" fmla="*/ 29769 h 718"/>
                  <a:gd name="T82" fmla="*/ 210267 w 762"/>
                  <a:gd name="T83" fmla="*/ 25683 h 718"/>
                  <a:gd name="T84" fmla="*/ 191900 w 762"/>
                  <a:gd name="T85" fmla="*/ 1751 h 718"/>
                  <a:gd name="T86" fmla="*/ 160867 w 762"/>
                  <a:gd name="T87" fmla="*/ 4670 h 718"/>
                  <a:gd name="T88" fmla="*/ 132367 w 762"/>
                  <a:gd name="T89" fmla="*/ 16344 h 718"/>
                  <a:gd name="T90" fmla="*/ 86767 w 762"/>
                  <a:gd name="T91" fmla="*/ 35022 h 718"/>
                  <a:gd name="T92" fmla="*/ 45600 w 762"/>
                  <a:gd name="T93" fmla="*/ 50782 h 718"/>
                  <a:gd name="T94" fmla="*/ 20900 w 762"/>
                  <a:gd name="T95" fmla="*/ 73547 h 71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762" h="718">
                    <a:moveTo>
                      <a:pt x="18" y="136"/>
                    </a:moveTo>
                    <a:lnTo>
                      <a:pt x="15" y="180"/>
                    </a:lnTo>
                    <a:lnTo>
                      <a:pt x="15" y="207"/>
                    </a:lnTo>
                    <a:lnTo>
                      <a:pt x="0" y="228"/>
                    </a:lnTo>
                    <a:lnTo>
                      <a:pt x="30" y="264"/>
                    </a:lnTo>
                    <a:lnTo>
                      <a:pt x="33" y="275"/>
                    </a:lnTo>
                    <a:lnTo>
                      <a:pt x="26" y="299"/>
                    </a:lnTo>
                    <a:lnTo>
                      <a:pt x="27" y="314"/>
                    </a:lnTo>
                    <a:lnTo>
                      <a:pt x="43" y="335"/>
                    </a:lnTo>
                    <a:lnTo>
                      <a:pt x="41" y="347"/>
                    </a:lnTo>
                    <a:lnTo>
                      <a:pt x="39" y="386"/>
                    </a:lnTo>
                    <a:lnTo>
                      <a:pt x="51" y="412"/>
                    </a:lnTo>
                    <a:lnTo>
                      <a:pt x="61" y="427"/>
                    </a:lnTo>
                    <a:lnTo>
                      <a:pt x="54" y="437"/>
                    </a:lnTo>
                    <a:lnTo>
                      <a:pt x="54" y="452"/>
                    </a:lnTo>
                    <a:lnTo>
                      <a:pt x="45" y="461"/>
                    </a:lnTo>
                    <a:lnTo>
                      <a:pt x="45" y="470"/>
                    </a:lnTo>
                    <a:lnTo>
                      <a:pt x="66" y="473"/>
                    </a:lnTo>
                    <a:lnTo>
                      <a:pt x="81" y="478"/>
                    </a:lnTo>
                    <a:lnTo>
                      <a:pt x="87" y="488"/>
                    </a:lnTo>
                    <a:lnTo>
                      <a:pt x="87" y="506"/>
                    </a:lnTo>
                    <a:lnTo>
                      <a:pt x="108" y="527"/>
                    </a:lnTo>
                    <a:lnTo>
                      <a:pt x="127" y="535"/>
                    </a:lnTo>
                    <a:lnTo>
                      <a:pt x="131" y="553"/>
                    </a:lnTo>
                    <a:lnTo>
                      <a:pt x="155" y="584"/>
                    </a:lnTo>
                    <a:lnTo>
                      <a:pt x="175" y="566"/>
                    </a:lnTo>
                    <a:lnTo>
                      <a:pt x="193" y="560"/>
                    </a:lnTo>
                    <a:lnTo>
                      <a:pt x="206" y="563"/>
                    </a:lnTo>
                    <a:lnTo>
                      <a:pt x="242" y="602"/>
                    </a:lnTo>
                    <a:lnTo>
                      <a:pt x="250" y="604"/>
                    </a:lnTo>
                    <a:lnTo>
                      <a:pt x="293" y="624"/>
                    </a:lnTo>
                    <a:lnTo>
                      <a:pt x="303" y="626"/>
                    </a:lnTo>
                    <a:lnTo>
                      <a:pt x="321" y="622"/>
                    </a:lnTo>
                    <a:lnTo>
                      <a:pt x="341" y="620"/>
                    </a:lnTo>
                    <a:lnTo>
                      <a:pt x="359" y="626"/>
                    </a:lnTo>
                    <a:lnTo>
                      <a:pt x="383" y="647"/>
                    </a:lnTo>
                    <a:lnTo>
                      <a:pt x="393" y="658"/>
                    </a:lnTo>
                    <a:lnTo>
                      <a:pt x="404" y="650"/>
                    </a:lnTo>
                    <a:lnTo>
                      <a:pt x="416" y="647"/>
                    </a:lnTo>
                    <a:lnTo>
                      <a:pt x="434" y="662"/>
                    </a:lnTo>
                    <a:lnTo>
                      <a:pt x="455" y="679"/>
                    </a:lnTo>
                    <a:lnTo>
                      <a:pt x="470" y="690"/>
                    </a:lnTo>
                    <a:lnTo>
                      <a:pt x="491" y="697"/>
                    </a:lnTo>
                    <a:lnTo>
                      <a:pt x="500" y="694"/>
                    </a:lnTo>
                    <a:lnTo>
                      <a:pt x="510" y="685"/>
                    </a:lnTo>
                    <a:lnTo>
                      <a:pt x="524" y="679"/>
                    </a:lnTo>
                    <a:lnTo>
                      <a:pt x="549" y="687"/>
                    </a:lnTo>
                    <a:lnTo>
                      <a:pt x="666" y="718"/>
                    </a:lnTo>
                    <a:lnTo>
                      <a:pt x="684" y="702"/>
                    </a:lnTo>
                    <a:lnTo>
                      <a:pt x="672" y="679"/>
                    </a:lnTo>
                    <a:lnTo>
                      <a:pt x="659" y="640"/>
                    </a:lnTo>
                    <a:lnTo>
                      <a:pt x="741" y="566"/>
                    </a:lnTo>
                    <a:lnTo>
                      <a:pt x="756" y="548"/>
                    </a:lnTo>
                    <a:lnTo>
                      <a:pt x="762" y="519"/>
                    </a:lnTo>
                    <a:lnTo>
                      <a:pt x="749" y="481"/>
                    </a:lnTo>
                    <a:lnTo>
                      <a:pt x="735" y="449"/>
                    </a:lnTo>
                    <a:lnTo>
                      <a:pt x="713" y="413"/>
                    </a:lnTo>
                    <a:lnTo>
                      <a:pt x="698" y="398"/>
                    </a:lnTo>
                    <a:lnTo>
                      <a:pt x="695" y="376"/>
                    </a:lnTo>
                    <a:lnTo>
                      <a:pt x="698" y="353"/>
                    </a:lnTo>
                    <a:lnTo>
                      <a:pt x="705" y="329"/>
                    </a:lnTo>
                    <a:lnTo>
                      <a:pt x="695" y="314"/>
                    </a:lnTo>
                    <a:lnTo>
                      <a:pt x="683" y="304"/>
                    </a:lnTo>
                    <a:lnTo>
                      <a:pt x="695" y="289"/>
                    </a:lnTo>
                    <a:lnTo>
                      <a:pt x="716" y="259"/>
                    </a:lnTo>
                    <a:lnTo>
                      <a:pt x="723" y="252"/>
                    </a:lnTo>
                    <a:lnTo>
                      <a:pt x="719" y="202"/>
                    </a:lnTo>
                    <a:lnTo>
                      <a:pt x="711" y="177"/>
                    </a:lnTo>
                    <a:lnTo>
                      <a:pt x="702" y="151"/>
                    </a:lnTo>
                    <a:lnTo>
                      <a:pt x="702" y="126"/>
                    </a:lnTo>
                    <a:lnTo>
                      <a:pt x="687" y="102"/>
                    </a:lnTo>
                    <a:lnTo>
                      <a:pt x="666" y="82"/>
                    </a:lnTo>
                    <a:lnTo>
                      <a:pt x="644" y="79"/>
                    </a:lnTo>
                    <a:lnTo>
                      <a:pt x="578" y="77"/>
                    </a:lnTo>
                    <a:lnTo>
                      <a:pt x="542" y="75"/>
                    </a:lnTo>
                    <a:lnTo>
                      <a:pt x="475" y="69"/>
                    </a:lnTo>
                    <a:lnTo>
                      <a:pt x="449" y="57"/>
                    </a:lnTo>
                    <a:lnTo>
                      <a:pt x="422" y="54"/>
                    </a:lnTo>
                    <a:lnTo>
                      <a:pt x="406" y="60"/>
                    </a:lnTo>
                    <a:lnTo>
                      <a:pt x="388" y="72"/>
                    </a:lnTo>
                    <a:lnTo>
                      <a:pt x="372" y="66"/>
                    </a:lnTo>
                    <a:lnTo>
                      <a:pt x="357" y="51"/>
                    </a:lnTo>
                    <a:lnTo>
                      <a:pt x="339" y="51"/>
                    </a:lnTo>
                    <a:lnTo>
                      <a:pt x="332" y="44"/>
                    </a:lnTo>
                    <a:lnTo>
                      <a:pt x="326" y="21"/>
                    </a:lnTo>
                    <a:lnTo>
                      <a:pt x="303" y="3"/>
                    </a:lnTo>
                    <a:lnTo>
                      <a:pt x="286" y="0"/>
                    </a:lnTo>
                    <a:lnTo>
                      <a:pt x="254" y="8"/>
                    </a:lnTo>
                    <a:lnTo>
                      <a:pt x="229" y="15"/>
                    </a:lnTo>
                    <a:lnTo>
                      <a:pt x="209" y="28"/>
                    </a:lnTo>
                    <a:lnTo>
                      <a:pt x="173" y="48"/>
                    </a:lnTo>
                    <a:lnTo>
                      <a:pt x="137" y="60"/>
                    </a:lnTo>
                    <a:lnTo>
                      <a:pt x="105" y="72"/>
                    </a:lnTo>
                    <a:lnTo>
                      <a:pt x="72" y="87"/>
                    </a:lnTo>
                    <a:lnTo>
                      <a:pt x="54" y="108"/>
                    </a:lnTo>
                    <a:lnTo>
                      <a:pt x="33" y="126"/>
                    </a:lnTo>
                    <a:lnTo>
                      <a:pt x="18" y="13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74" name="Freeform 60">
                <a:extLst>
                  <a:ext uri="{FF2B5EF4-FFF2-40B4-BE49-F238E27FC236}">
                    <a16:creationId xmlns:a16="http://schemas.microsoft.com/office/drawing/2014/main" id="{833D466C-6F7A-1D50-FC77-066C82F4FA1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11541" y="1972697"/>
                <a:ext cx="188119" cy="135731"/>
              </a:xfrm>
              <a:custGeom>
                <a:avLst/>
                <a:gdLst>
                  <a:gd name="T0" fmla="*/ 1886 w 399"/>
                  <a:gd name="T1" fmla="*/ 19203 h 311"/>
                  <a:gd name="T2" fmla="*/ 0 w 399"/>
                  <a:gd name="T3" fmla="*/ 25022 h 311"/>
                  <a:gd name="T4" fmla="*/ 3772 w 399"/>
                  <a:gd name="T5" fmla="*/ 47135 h 311"/>
                  <a:gd name="T6" fmla="*/ 15087 w 399"/>
                  <a:gd name="T7" fmla="*/ 77976 h 311"/>
                  <a:gd name="T8" fmla="*/ 24517 w 399"/>
                  <a:gd name="T9" fmla="*/ 87287 h 311"/>
                  <a:gd name="T10" fmla="*/ 47148 w 399"/>
                  <a:gd name="T11" fmla="*/ 94852 h 311"/>
                  <a:gd name="T12" fmla="*/ 56577 w 399"/>
                  <a:gd name="T13" fmla="*/ 97761 h 311"/>
                  <a:gd name="T14" fmla="*/ 58463 w 399"/>
                  <a:gd name="T15" fmla="*/ 108236 h 311"/>
                  <a:gd name="T16" fmla="*/ 58463 w 399"/>
                  <a:gd name="T17" fmla="*/ 125693 h 311"/>
                  <a:gd name="T18" fmla="*/ 81094 w 399"/>
                  <a:gd name="T19" fmla="*/ 146642 h 311"/>
                  <a:gd name="T20" fmla="*/ 94924 w 399"/>
                  <a:gd name="T21" fmla="*/ 153043 h 311"/>
                  <a:gd name="T22" fmla="*/ 101839 w 399"/>
                  <a:gd name="T23" fmla="*/ 156535 h 311"/>
                  <a:gd name="T24" fmla="*/ 121326 w 399"/>
                  <a:gd name="T25" fmla="*/ 178065 h 311"/>
                  <a:gd name="T26" fmla="*/ 126984 w 399"/>
                  <a:gd name="T27" fmla="*/ 173992 h 311"/>
                  <a:gd name="T28" fmla="*/ 140185 w 399"/>
                  <a:gd name="T29" fmla="*/ 172246 h 311"/>
                  <a:gd name="T30" fmla="*/ 155273 w 399"/>
                  <a:gd name="T31" fmla="*/ 180975 h 311"/>
                  <a:gd name="T32" fmla="*/ 166588 w 399"/>
                  <a:gd name="T33" fmla="*/ 175738 h 311"/>
                  <a:gd name="T34" fmla="*/ 181675 w 399"/>
                  <a:gd name="T35" fmla="*/ 158862 h 311"/>
                  <a:gd name="T36" fmla="*/ 192991 w 399"/>
                  <a:gd name="T37" fmla="*/ 153043 h 311"/>
                  <a:gd name="T38" fmla="*/ 205563 w 399"/>
                  <a:gd name="T39" fmla="*/ 157117 h 311"/>
                  <a:gd name="T40" fmla="*/ 212478 w 399"/>
                  <a:gd name="T41" fmla="*/ 154789 h 311"/>
                  <a:gd name="T42" fmla="*/ 213107 w 399"/>
                  <a:gd name="T43" fmla="*/ 148388 h 311"/>
                  <a:gd name="T44" fmla="*/ 214993 w 399"/>
                  <a:gd name="T45" fmla="*/ 114637 h 311"/>
                  <a:gd name="T46" fmla="*/ 221908 w 399"/>
                  <a:gd name="T47" fmla="*/ 104162 h 311"/>
                  <a:gd name="T48" fmla="*/ 221908 w 399"/>
                  <a:gd name="T49" fmla="*/ 88451 h 311"/>
                  <a:gd name="T50" fmla="*/ 224422 w 399"/>
                  <a:gd name="T51" fmla="*/ 83214 h 311"/>
                  <a:gd name="T52" fmla="*/ 237624 w 399"/>
                  <a:gd name="T53" fmla="*/ 74485 h 311"/>
                  <a:gd name="T54" fmla="*/ 250825 w 399"/>
                  <a:gd name="T55" fmla="*/ 72739 h 311"/>
                  <a:gd name="T56" fmla="*/ 250825 w 399"/>
                  <a:gd name="T57" fmla="*/ 55864 h 311"/>
                  <a:gd name="T58" fmla="*/ 247053 w 399"/>
                  <a:gd name="T59" fmla="*/ 43062 h 311"/>
                  <a:gd name="T60" fmla="*/ 237624 w 399"/>
                  <a:gd name="T61" fmla="*/ 37824 h 311"/>
                  <a:gd name="T62" fmla="*/ 233223 w 399"/>
                  <a:gd name="T63" fmla="*/ 39570 h 311"/>
                  <a:gd name="T64" fmla="*/ 216879 w 399"/>
                  <a:gd name="T65" fmla="*/ 25022 h 311"/>
                  <a:gd name="T66" fmla="*/ 206821 w 399"/>
                  <a:gd name="T67" fmla="*/ 15712 h 311"/>
                  <a:gd name="T68" fmla="*/ 194877 w 399"/>
                  <a:gd name="T69" fmla="*/ 15712 h 311"/>
                  <a:gd name="T70" fmla="*/ 172246 w 399"/>
                  <a:gd name="T71" fmla="*/ 15712 h 311"/>
                  <a:gd name="T72" fmla="*/ 167845 w 399"/>
                  <a:gd name="T73" fmla="*/ 12220 h 311"/>
                  <a:gd name="T74" fmla="*/ 162816 w 399"/>
                  <a:gd name="T75" fmla="*/ 1746 h 311"/>
                  <a:gd name="T76" fmla="*/ 156530 w 399"/>
                  <a:gd name="T77" fmla="*/ 0 h 311"/>
                  <a:gd name="T78" fmla="*/ 136414 w 399"/>
                  <a:gd name="T79" fmla="*/ 0 h 311"/>
                  <a:gd name="T80" fmla="*/ 128870 w 399"/>
                  <a:gd name="T81" fmla="*/ 9311 h 311"/>
                  <a:gd name="T82" fmla="*/ 121326 w 399"/>
                  <a:gd name="T83" fmla="*/ 7565 h 311"/>
                  <a:gd name="T84" fmla="*/ 108125 w 399"/>
                  <a:gd name="T85" fmla="*/ 5237 h 311"/>
                  <a:gd name="T86" fmla="*/ 101839 w 399"/>
                  <a:gd name="T87" fmla="*/ 3491 h 311"/>
                  <a:gd name="T88" fmla="*/ 92409 w 399"/>
                  <a:gd name="T89" fmla="*/ 5819 h 311"/>
                  <a:gd name="T90" fmla="*/ 85494 w 399"/>
                  <a:gd name="T91" fmla="*/ 10474 h 311"/>
                  <a:gd name="T92" fmla="*/ 72293 w 399"/>
                  <a:gd name="T93" fmla="*/ 5819 h 311"/>
                  <a:gd name="T94" fmla="*/ 45262 w 399"/>
                  <a:gd name="T95" fmla="*/ 1746 h 311"/>
                  <a:gd name="T96" fmla="*/ 38347 w 399"/>
                  <a:gd name="T97" fmla="*/ 0 h 311"/>
                  <a:gd name="T98" fmla="*/ 30803 w 399"/>
                  <a:gd name="T99" fmla="*/ 5819 h 311"/>
                  <a:gd name="T100" fmla="*/ 17602 w 399"/>
                  <a:gd name="T101" fmla="*/ 13966 h 311"/>
                  <a:gd name="T102" fmla="*/ 1886 w 399"/>
                  <a:gd name="T103" fmla="*/ 19203 h 311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99" h="311">
                    <a:moveTo>
                      <a:pt x="3" y="33"/>
                    </a:moveTo>
                    <a:lnTo>
                      <a:pt x="0" y="43"/>
                    </a:lnTo>
                    <a:lnTo>
                      <a:pt x="6" y="81"/>
                    </a:lnTo>
                    <a:lnTo>
                      <a:pt x="24" y="134"/>
                    </a:lnTo>
                    <a:lnTo>
                      <a:pt x="39" y="150"/>
                    </a:lnTo>
                    <a:lnTo>
                      <a:pt x="75" y="163"/>
                    </a:lnTo>
                    <a:lnTo>
                      <a:pt x="90" y="168"/>
                    </a:lnTo>
                    <a:lnTo>
                      <a:pt x="93" y="186"/>
                    </a:lnTo>
                    <a:lnTo>
                      <a:pt x="93" y="216"/>
                    </a:lnTo>
                    <a:lnTo>
                      <a:pt x="129" y="252"/>
                    </a:lnTo>
                    <a:lnTo>
                      <a:pt x="151" y="263"/>
                    </a:lnTo>
                    <a:lnTo>
                      <a:pt x="162" y="269"/>
                    </a:lnTo>
                    <a:lnTo>
                      <a:pt x="193" y="306"/>
                    </a:lnTo>
                    <a:lnTo>
                      <a:pt x="202" y="299"/>
                    </a:lnTo>
                    <a:lnTo>
                      <a:pt x="223" y="296"/>
                    </a:lnTo>
                    <a:lnTo>
                      <a:pt x="247" y="311"/>
                    </a:lnTo>
                    <a:lnTo>
                      <a:pt x="265" y="302"/>
                    </a:lnTo>
                    <a:lnTo>
                      <a:pt x="289" y="273"/>
                    </a:lnTo>
                    <a:lnTo>
                      <a:pt x="307" y="263"/>
                    </a:lnTo>
                    <a:lnTo>
                      <a:pt x="327" y="270"/>
                    </a:lnTo>
                    <a:lnTo>
                      <a:pt x="338" y="266"/>
                    </a:lnTo>
                    <a:lnTo>
                      <a:pt x="339" y="255"/>
                    </a:lnTo>
                    <a:lnTo>
                      <a:pt x="342" y="197"/>
                    </a:lnTo>
                    <a:lnTo>
                      <a:pt x="353" y="179"/>
                    </a:lnTo>
                    <a:lnTo>
                      <a:pt x="353" y="152"/>
                    </a:lnTo>
                    <a:lnTo>
                      <a:pt x="357" y="143"/>
                    </a:lnTo>
                    <a:lnTo>
                      <a:pt x="378" y="128"/>
                    </a:lnTo>
                    <a:lnTo>
                      <a:pt x="399" y="125"/>
                    </a:lnTo>
                    <a:lnTo>
                      <a:pt x="399" y="96"/>
                    </a:lnTo>
                    <a:lnTo>
                      <a:pt x="393" y="74"/>
                    </a:lnTo>
                    <a:lnTo>
                      <a:pt x="378" y="65"/>
                    </a:lnTo>
                    <a:lnTo>
                      <a:pt x="371" y="68"/>
                    </a:lnTo>
                    <a:lnTo>
                      <a:pt x="345" y="43"/>
                    </a:lnTo>
                    <a:lnTo>
                      <a:pt x="329" y="27"/>
                    </a:lnTo>
                    <a:lnTo>
                      <a:pt x="310" y="27"/>
                    </a:lnTo>
                    <a:lnTo>
                      <a:pt x="274" y="27"/>
                    </a:lnTo>
                    <a:lnTo>
                      <a:pt x="267" y="21"/>
                    </a:lnTo>
                    <a:lnTo>
                      <a:pt x="259" y="3"/>
                    </a:lnTo>
                    <a:lnTo>
                      <a:pt x="249" y="0"/>
                    </a:lnTo>
                    <a:lnTo>
                      <a:pt x="217" y="0"/>
                    </a:lnTo>
                    <a:lnTo>
                      <a:pt x="205" y="16"/>
                    </a:lnTo>
                    <a:lnTo>
                      <a:pt x="193" y="13"/>
                    </a:lnTo>
                    <a:lnTo>
                      <a:pt x="172" y="9"/>
                    </a:lnTo>
                    <a:lnTo>
                      <a:pt x="162" y="6"/>
                    </a:lnTo>
                    <a:lnTo>
                      <a:pt x="147" y="10"/>
                    </a:lnTo>
                    <a:lnTo>
                      <a:pt x="136" y="18"/>
                    </a:lnTo>
                    <a:lnTo>
                      <a:pt x="115" y="10"/>
                    </a:lnTo>
                    <a:lnTo>
                      <a:pt x="72" y="3"/>
                    </a:lnTo>
                    <a:lnTo>
                      <a:pt x="61" y="0"/>
                    </a:lnTo>
                    <a:lnTo>
                      <a:pt x="49" y="10"/>
                    </a:lnTo>
                    <a:lnTo>
                      <a:pt x="28" y="24"/>
                    </a:lnTo>
                    <a:lnTo>
                      <a:pt x="3" y="3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75" name="Freeform 61">
                <a:extLst>
                  <a:ext uri="{FF2B5EF4-FFF2-40B4-BE49-F238E27FC236}">
                    <a16:creationId xmlns:a16="http://schemas.microsoft.com/office/drawing/2014/main" id="{B4A9014D-352F-7BF7-FA37-EC5558512FE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74644" y="1788151"/>
                <a:ext cx="141685" cy="115490"/>
              </a:xfrm>
              <a:custGeom>
                <a:avLst/>
                <a:gdLst>
                  <a:gd name="T0" fmla="*/ 182552 w 297"/>
                  <a:gd name="T1" fmla="*/ 145238 h 264"/>
                  <a:gd name="T2" fmla="*/ 180644 w 297"/>
                  <a:gd name="T3" fmla="*/ 136488 h 264"/>
                  <a:gd name="T4" fmla="*/ 187005 w 297"/>
                  <a:gd name="T5" fmla="*/ 128323 h 264"/>
                  <a:gd name="T6" fmla="*/ 187005 w 297"/>
                  <a:gd name="T7" fmla="*/ 116657 h 264"/>
                  <a:gd name="T8" fmla="*/ 173647 w 297"/>
                  <a:gd name="T9" fmla="*/ 107908 h 264"/>
                  <a:gd name="T10" fmla="*/ 169195 w 297"/>
                  <a:gd name="T11" fmla="*/ 103241 h 264"/>
                  <a:gd name="T12" fmla="*/ 166014 w 297"/>
                  <a:gd name="T13" fmla="*/ 88076 h 264"/>
                  <a:gd name="T14" fmla="*/ 157746 w 297"/>
                  <a:gd name="T15" fmla="*/ 75244 h 264"/>
                  <a:gd name="T16" fmla="*/ 149477 w 297"/>
                  <a:gd name="T17" fmla="*/ 64745 h 264"/>
                  <a:gd name="T18" fmla="*/ 149477 w 297"/>
                  <a:gd name="T19" fmla="*/ 55412 h 264"/>
                  <a:gd name="T20" fmla="*/ 154565 w 297"/>
                  <a:gd name="T21" fmla="*/ 48996 h 264"/>
                  <a:gd name="T22" fmla="*/ 175556 w 297"/>
                  <a:gd name="T23" fmla="*/ 50746 h 264"/>
                  <a:gd name="T24" fmla="*/ 183824 w 297"/>
                  <a:gd name="T25" fmla="*/ 41996 h 264"/>
                  <a:gd name="T26" fmla="*/ 188913 w 297"/>
                  <a:gd name="T27" fmla="*/ 19248 h 264"/>
                  <a:gd name="T28" fmla="*/ 187005 w 297"/>
                  <a:gd name="T29" fmla="*/ 12249 h 264"/>
                  <a:gd name="T30" fmla="*/ 177464 w 297"/>
                  <a:gd name="T31" fmla="*/ 10499 h 264"/>
                  <a:gd name="T32" fmla="*/ 159654 w 297"/>
                  <a:gd name="T33" fmla="*/ 12249 h 264"/>
                  <a:gd name="T34" fmla="*/ 134847 w 297"/>
                  <a:gd name="T35" fmla="*/ 12249 h 264"/>
                  <a:gd name="T36" fmla="*/ 115765 w 297"/>
                  <a:gd name="T37" fmla="*/ 4666 h 264"/>
                  <a:gd name="T38" fmla="*/ 102407 w 297"/>
                  <a:gd name="T39" fmla="*/ 1750 h 264"/>
                  <a:gd name="T40" fmla="*/ 90958 w 297"/>
                  <a:gd name="T41" fmla="*/ 0 h 264"/>
                  <a:gd name="T42" fmla="*/ 79509 w 297"/>
                  <a:gd name="T43" fmla="*/ 13416 h 264"/>
                  <a:gd name="T44" fmla="*/ 66787 w 297"/>
                  <a:gd name="T45" fmla="*/ 22748 h 264"/>
                  <a:gd name="T46" fmla="*/ 47069 w 297"/>
                  <a:gd name="T47" fmla="*/ 20998 h 264"/>
                  <a:gd name="T48" fmla="*/ 35620 w 297"/>
                  <a:gd name="T49" fmla="*/ 27998 h 264"/>
                  <a:gd name="T50" fmla="*/ 17174 w 297"/>
                  <a:gd name="T51" fmla="*/ 44913 h 264"/>
                  <a:gd name="T52" fmla="*/ 3180 w 297"/>
                  <a:gd name="T53" fmla="*/ 55412 h 264"/>
                  <a:gd name="T54" fmla="*/ 0 w 297"/>
                  <a:gd name="T55" fmla="*/ 62995 h 264"/>
                  <a:gd name="T56" fmla="*/ 7633 w 297"/>
                  <a:gd name="T57" fmla="*/ 76410 h 264"/>
                  <a:gd name="T58" fmla="*/ 16538 w 297"/>
                  <a:gd name="T59" fmla="*/ 94492 h 264"/>
                  <a:gd name="T60" fmla="*/ 26079 w 297"/>
                  <a:gd name="T61" fmla="*/ 104991 h 264"/>
                  <a:gd name="T62" fmla="*/ 35620 w 297"/>
                  <a:gd name="T63" fmla="*/ 101491 h 264"/>
                  <a:gd name="T64" fmla="*/ 52158 w 297"/>
                  <a:gd name="T65" fmla="*/ 96242 h 264"/>
                  <a:gd name="T66" fmla="*/ 50886 w 297"/>
                  <a:gd name="T67" fmla="*/ 110241 h 264"/>
                  <a:gd name="T68" fmla="*/ 45161 w 297"/>
                  <a:gd name="T69" fmla="*/ 128323 h 264"/>
                  <a:gd name="T70" fmla="*/ 47069 w 297"/>
                  <a:gd name="T71" fmla="*/ 131239 h 264"/>
                  <a:gd name="T72" fmla="*/ 55338 w 297"/>
                  <a:gd name="T73" fmla="*/ 131239 h 264"/>
                  <a:gd name="T74" fmla="*/ 66787 w 297"/>
                  <a:gd name="T75" fmla="*/ 128323 h 264"/>
                  <a:gd name="T76" fmla="*/ 90958 w 297"/>
                  <a:gd name="T77" fmla="*/ 130656 h 264"/>
                  <a:gd name="T78" fmla="*/ 97955 w 297"/>
                  <a:gd name="T79" fmla="*/ 138822 h 264"/>
                  <a:gd name="T80" fmla="*/ 112585 w 297"/>
                  <a:gd name="T81" fmla="*/ 143488 h 264"/>
                  <a:gd name="T82" fmla="*/ 124670 w 297"/>
                  <a:gd name="T83" fmla="*/ 153987 h 264"/>
                  <a:gd name="T84" fmla="*/ 132303 w 297"/>
                  <a:gd name="T85" fmla="*/ 152237 h 264"/>
                  <a:gd name="T86" fmla="*/ 147568 w 297"/>
                  <a:gd name="T87" fmla="*/ 145238 h 264"/>
                  <a:gd name="T88" fmla="*/ 162198 w 297"/>
                  <a:gd name="T89" fmla="*/ 143488 h 264"/>
                  <a:gd name="T90" fmla="*/ 182552 w 297"/>
                  <a:gd name="T91" fmla="*/ 145238 h 26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297" h="264">
                    <a:moveTo>
                      <a:pt x="287" y="249"/>
                    </a:moveTo>
                    <a:lnTo>
                      <a:pt x="284" y="234"/>
                    </a:lnTo>
                    <a:lnTo>
                      <a:pt x="294" y="220"/>
                    </a:lnTo>
                    <a:lnTo>
                      <a:pt x="294" y="200"/>
                    </a:lnTo>
                    <a:lnTo>
                      <a:pt x="273" y="185"/>
                    </a:lnTo>
                    <a:lnTo>
                      <a:pt x="266" y="177"/>
                    </a:lnTo>
                    <a:lnTo>
                      <a:pt x="261" y="151"/>
                    </a:lnTo>
                    <a:lnTo>
                      <a:pt x="248" y="129"/>
                    </a:lnTo>
                    <a:lnTo>
                      <a:pt x="235" y="111"/>
                    </a:lnTo>
                    <a:lnTo>
                      <a:pt x="235" y="95"/>
                    </a:lnTo>
                    <a:lnTo>
                      <a:pt x="243" y="84"/>
                    </a:lnTo>
                    <a:lnTo>
                      <a:pt x="276" y="87"/>
                    </a:lnTo>
                    <a:lnTo>
                      <a:pt x="289" y="72"/>
                    </a:lnTo>
                    <a:lnTo>
                      <a:pt x="297" y="33"/>
                    </a:lnTo>
                    <a:lnTo>
                      <a:pt x="294" y="21"/>
                    </a:lnTo>
                    <a:lnTo>
                      <a:pt x="279" y="18"/>
                    </a:lnTo>
                    <a:lnTo>
                      <a:pt x="251" y="21"/>
                    </a:lnTo>
                    <a:lnTo>
                      <a:pt x="212" y="21"/>
                    </a:lnTo>
                    <a:lnTo>
                      <a:pt x="182" y="8"/>
                    </a:lnTo>
                    <a:lnTo>
                      <a:pt x="161" y="3"/>
                    </a:lnTo>
                    <a:lnTo>
                      <a:pt x="143" y="0"/>
                    </a:lnTo>
                    <a:lnTo>
                      <a:pt x="125" y="23"/>
                    </a:lnTo>
                    <a:lnTo>
                      <a:pt x="105" y="39"/>
                    </a:lnTo>
                    <a:lnTo>
                      <a:pt x="74" y="36"/>
                    </a:lnTo>
                    <a:lnTo>
                      <a:pt x="56" y="48"/>
                    </a:lnTo>
                    <a:lnTo>
                      <a:pt x="27" y="77"/>
                    </a:lnTo>
                    <a:lnTo>
                      <a:pt x="5" y="95"/>
                    </a:lnTo>
                    <a:lnTo>
                      <a:pt x="0" y="108"/>
                    </a:lnTo>
                    <a:lnTo>
                      <a:pt x="12" y="131"/>
                    </a:lnTo>
                    <a:lnTo>
                      <a:pt x="26" y="162"/>
                    </a:lnTo>
                    <a:lnTo>
                      <a:pt x="41" y="180"/>
                    </a:lnTo>
                    <a:lnTo>
                      <a:pt x="56" y="174"/>
                    </a:lnTo>
                    <a:lnTo>
                      <a:pt x="82" y="165"/>
                    </a:lnTo>
                    <a:lnTo>
                      <a:pt x="80" y="189"/>
                    </a:lnTo>
                    <a:lnTo>
                      <a:pt x="71" y="220"/>
                    </a:lnTo>
                    <a:lnTo>
                      <a:pt x="74" y="225"/>
                    </a:lnTo>
                    <a:lnTo>
                      <a:pt x="87" y="225"/>
                    </a:lnTo>
                    <a:lnTo>
                      <a:pt x="105" y="220"/>
                    </a:lnTo>
                    <a:lnTo>
                      <a:pt x="143" y="224"/>
                    </a:lnTo>
                    <a:lnTo>
                      <a:pt x="154" y="238"/>
                    </a:lnTo>
                    <a:lnTo>
                      <a:pt x="177" y="246"/>
                    </a:lnTo>
                    <a:lnTo>
                      <a:pt x="196" y="264"/>
                    </a:lnTo>
                    <a:lnTo>
                      <a:pt x="208" y="261"/>
                    </a:lnTo>
                    <a:lnTo>
                      <a:pt x="232" y="249"/>
                    </a:lnTo>
                    <a:lnTo>
                      <a:pt x="255" y="246"/>
                    </a:lnTo>
                    <a:lnTo>
                      <a:pt x="287" y="249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76" name="Freeform 62">
                <a:extLst>
                  <a:ext uri="{FF2B5EF4-FFF2-40B4-BE49-F238E27FC236}">
                    <a16:creationId xmlns:a16="http://schemas.microsoft.com/office/drawing/2014/main" id="{DD380DF5-E1A4-1743-17F8-D4ABAD0DE53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04397" y="1396434"/>
                <a:ext cx="267890" cy="390525"/>
              </a:xfrm>
              <a:custGeom>
                <a:avLst/>
                <a:gdLst>
                  <a:gd name="T0" fmla="*/ 78197 w 539"/>
                  <a:gd name="T1" fmla="*/ 496881 h 787"/>
                  <a:gd name="T2" fmla="*/ 55003 w 539"/>
                  <a:gd name="T3" fmla="*/ 479018 h 787"/>
                  <a:gd name="T4" fmla="*/ 25182 w 539"/>
                  <a:gd name="T5" fmla="*/ 473725 h 787"/>
                  <a:gd name="T6" fmla="*/ 25182 w 539"/>
                  <a:gd name="T7" fmla="*/ 415501 h 787"/>
                  <a:gd name="T8" fmla="*/ 11928 w 539"/>
                  <a:gd name="T9" fmla="*/ 377127 h 787"/>
                  <a:gd name="T10" fmla="*/ 9278 w 539"/>
                  <a:gd name="T11" fmla="*/ 347354 h 787"/>
                  <a:gd name="T12" fmla="*/ 0 w 539"/>
                  <a:gd name="T13" fmla="*/ 320889 h 787"/>
                  <a:gd name="T14" fmla="*/ 19218 w 539"/>
                  <a:gd name="T15" fmla="*/ 294424 h 787"/>
                  <a:gd name="T16" fmla="*/ 29158 w 539"/>
                  <a:gd name="T17" fmla="*/ 269944 h 787"/>
                  <a:gd name="T18" fmla="*/ 66931 w 539"/>
                  <a:gd name="T19" fmla="*/ 240170 h 787"/>
                  <a:gd name="T20" fmla="*/ 94101 w 539"/>
                  <a:gd name="T21" fmla="*/ 204443 h 787"/>
                  <a:gd name="T22" fmla="*/ 112656 w 539"/>
                  <a:gd name="T23" fmla="*/ 174669 h 787"/>
                  <a:gd name="T24" fmla="*/ 129886 w 539"/>
                  <a:gd name="T25" fmla="*/ 154159 h 787"/>
                  <a:gd name="T26" fmla="*/ 132537 w 539"/>
                  <a:gd name="T27" fmla="*/ 132987 h 787"/>
                  <a:gd name="T28" fmla="*/ 125910 w 539"/>
                  <a:gd name="T29" fmla="*/ 111815 h 787"/>
                  <a:gd name="T30" fmla="*/ 107355 w 539"/>
                  <a:gd name="T31" fmla="*/ 103214 h 787"/>
                  <a:gd name="T32" fmla="*/ 78197 w 539"/>
                  <a:gd name="T33" fmla="*/ 46314 h 787"/>
                  <a:gd name="T34" fmla="*/ 81510 w 539"/>
                  <a:gd name="T35" fmla="*/ 0 h 787"/>
                  <a:gd name="T36" fmla="*/ 253146 w 539"/>
                  <a:gd name="T37" fmla="*/ 3970 h 787"/>
                  <a:gd name="T38" fmla="*/ 278990 w 539"/>
                  <a:gd name="T39" fmla="*/ 75425 h 787"/>
                  <a:gd name="T40" fmla="*/ 288930 w 539"/>
                  <a:gd name="T41" fmla="*/ 154159 h 787"/>
                  <a:gd name="T42" fmla="*/ 302184 w 539"/>
                  <a:gd name="T43" fmla="*/ 210397 h 787"/>
                  <a:gd name="T44" fmla="*/ 340620 w 539"/>
                  <a:gd name="T45" fmla="*/ 248772 h 787"/>
                  <a:gd name="T46" fmla="*/ 357187 w 539"/>
                  <a:gd name="T47" fmla="*/ 279868 h 787"/>
                  <a:gd name="T48" fmla="*/ 337969 w 539"/>
                  <a:gd name="T49" fmla="*/ 341399 h 787"/>
                  <a:gd name="T50" fmla="*/ 328029 w 539"/>
                  <a:gd name="T51" fmla="*/ 374481 h 787"/>
                  <a:gd name="T52" fmla="*/ 308148 w 539"/>
                  <a:gd name="T53" fmla="*/ 392344 h 787"/>
                  <a:gd name="T54" fmla="*/ 260435 w 539"/>
                  <a:gd name="T55" fmla="*/ 436673 h 787"/>
                  <a:gd name="T56" fmla="*/ 237241 w 539"/>
                  <a:gd name="T57" fmla="*/ 457845 h 787"/>
                  <a:gd name="T58" fmla="*/ 208083 w 539"/>
                  <a:gd name="T59" fmla="*/ 469755 h 787"/>
                  <a:gd name="T60" fmla="*/ 162358 w 539"/>
                  <a:gd name="T61" fmla="*/ 482326 h 787"/>
                  <a:gd name="T62" fmla="*/ 116632 w 539"/>
                  <a:gd name="T63" fmla="*/ 499528 h 787"/>
                  <a:gd name="T64" fmla="*/ 80185 w 539"/>
                  <a:gd name="T65" fmla="*/ 520700 h 78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539" h="787">
                    <a:moveTo>
                      <a:pt x="121" y="787"/>
                    </a:moveTo>
                    <a:lnTo>
                      <a:pt x="118" y="751"/>
                    </a:lnTo>
                    <a:lnTo>
                      <a:pt x="98" y="732"/>
                    </a:lnTo>
                    <a:lnTo>
                      <a:pt x="83" y="724"/>
                    </a:lnTo>
                    <a:lnTo>
                      <a:pt x="58" y="716"/>
                    </a:lnTo>
                    <a:lnTo>
                      <a:pt x="38" y="716"/>
                    </a:lnTo>
                    <a:lnTo>
                      <a:pt x="29" y="697"/>
                    </a:lnTo>
                    <a:lnTo>
                      <a:pt x="38" y="628"/>
                    </a:lnTo>
                    <a:lnTo>
                      <a:pt x="35" y="589"/>
                    </a:lnTo>
                    <a:lnTo>
                      <a:pt x="18" y="570"/>
                    </a:lnTo>
                    <a:lnTo>
                      <a:pt x="10" y="561"/>
                    </a:lnTo>
                    <a:lnTo>
                      <a:pt x="14" y="525"/>
                    </a:lnTo>
                    <a:lnTo>
                      <a:pt x="10" y="502"/>
                    </a:lnTo>
                    <a:lnTo>
                      <a:pt x="0" y="485"/>
                    </a:lnTo>
                    <a:lnTo>
                      <a:pt x="14" y="445"/>
                    </a:lnTo>
                    <a:lnTo>
                      <a:pt x="29" y="445"/>
                    </a:lnTo>
                    <a:lnTo>
                      <a:pt x="38" y="436"/>
                    </a:lnTo>
                    <a:lnTo>
                      <a:pt x="44" y="408"/>
                    </a:lnTo>
                    <a:lnTo>
                      <a:pt x="73" y="386"/>
                    </a:lnTo>
                    <a:lnTo>
                      <a:pt x="101" y="363"/>
                    </a:lnTo>
                    <a:lnTo>
                      <a:pt x="107" y="337"/>
                    </a:lnTo>
                    <a:lnTo>
                      <a:pt x="142" y="309"/>
                    </a:lnTo>
                    <a:lnTo>
                      <a:pt x="176" y="278"/>
                    </a:lnTo>
                    <a:lnTo>
                      <a:pt x="170" y="264"/>
                    </a:lnTo>
                    <a:lnTo>
                      <a:pt x="170" y="246"/>
                    </a:lnTo>
                    <a:lnTo>
                      <a:pt x="196" y="233"/>
                    </a:lnTo>
                    <a:lnTo>
                      <a:pt x="205" y="228"/>
                    </a:lnTo>
                    <a:lnTo>
                      <a:pt x="200" y="201"/>
                    </a:lnTo>
                    <a:lnTo>
                      <a:pt x="200" y="174"/>
                    </a:lnTo>
                    <a:lnTo>
                      <a:pt x="190" y="169"/>
                    </a:lnTo>
                    <a:lnTo>
                      <a:pt x="176" y="174"/>
                    </a:lnTo>
                    <a:lnTo>
                      <a:pt x="162" y="156"/>
                    </a:lnTo>
                    <a:lnTo>
                      <a:pt x="146" y="106"/>
                    </a:lnTo>
                    <a:lnTo>
                      <a:pt x="118" y="70"/>
                    </a:lnTo>
                    <a:lnTo>
                      <a:pt x="127" y="19"/>
                    </a:lnTo>
                    <a:lnTo>
                      <a:pt x="123" y="0"/>
                    </a:lnTo>
                    <a:lnTo>
                      <a:pt x="387" y="0"/>
                    </a:lnTo>
                    <a:lnTo>
                      <a:pt x="382" y="6"/>
                    </a:lnTo>
                    <a:lnTo>
                      <a:pt x="398" y="66"/>
                    </a:lnTo>
                    <a:lnTo>
                      <a:pt x="421" y="114"/>
                    </a:lnTo>
                    <a:lnTo>
                      <a:pt x="417" y="188"/>
                    </a:lnTo>
                    <a:lnTo>
                      <a:pt x="436" y="233"/>
                    </a:lnTo>
                    <a:lnTo>
                      <a:pt x="446" y="251"/>
                    </a:lnTo>
                    <a:lnTo>
                      <a:pt x="456" y="318"/>
                    </a:lnTo>
                    <a:lnTo>
                      <a:pt x="465" y="346"/>
                    </a:lnTo>
                    <a:lnTo>
                      <a:pt x="514" y="376"/>
                    </a:lnTo>
                    <a:lnTo>
                      <a:pt x="539" y="404"/>
                    </a:lnTo>
                    <a:lnTo>
                      <a:pt x="539" y="423"/>
                    </a:lnTo>
                    <a:lnTo>
                      <a:pt x="519" y="507"/>
                    </a:lnTo>
                    <a:lnTo>
                      <a:pt x="510" y="516"/>
                    </a:lnTo>
                    <a:lnTo>
                      <a:pt x="519" y="534"/>
                    </a:lnTo>
                    <a:lnTo>
                      <a:pt x="495" y="566"/>
                    </a:lnTo>
                    <a:lnTo>
                      <a:pt x="465" y="579"/>
                    </a:lnTo>
                    <a:lnTo>
                      <a:pt x="465" y="593"/>
                    </a:lnTo>
                    <a:lnTo>
                      <a:pt x="421" y="647"/>
                    </a:lnTo>
                    <a:lnTo>
                      <a:pt x="393" y="660"/>
                    </a:lnTo>
                    <a:lnTo>
                      <a:pt x="387" y="692"/>
                    </a:lnTo>
                    <a:lnTo>
                      <a:pt x="358" y="692"/>
                    </a:lnTo>
                    <a:lnTo>
                      <a:pt x="343" y="702"/>
                    </a:lnTo>
                    <a:lnTo>
                      <a:pt x="314" y="710"/>
                    </a:lnTo>
                    <a:lnTo>
                      <a:pt x="273" y="706"/>
                    </a:lnTo>
                    <a:lnTo>
                      <a:pt x="245" y="729"/>
                    </a:lnTo>
                    <a:lnTo>
                      <a:pt x="210" y="747"/>
                    </a:lnTo>
                    <a:lnTo>
                      <a:pt x="176" y="755"/>
                    </a:lnTo>
                    <a:lnTo>
                      <a:pt x="151" y="774"/>
                    </a:lnTo>
                    <a:lnTo>
                      <a:pt x="121" y="787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77" name="Freeform 63">
                <a:extLst>
                  <a:ext uri="{FF2B5EF4-FFF2-40B4-BE49-F238E27FC236}">
                    <a16:creationId xmlns:a16="http://schemas.microsoft.com/office/drawing/2014/main" id="{FBC3408C-407F-C317-2428-7993F5B28C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81737" y="2253684"/>
                <a:ext cx="263129" cy="133350"/>
              </a:xfrm>
              <a:custGeom>
                <a:avLst/>
                <a:gdLst>
                  <a:gd name="T0" fmla="*/ 85662 w 557"/>
                  <a:gd name="T1" fmla="*/ 170197 h 304"/>
                  <a:gd name="T2" fmla="*/ 83143 w 557"/>
                  <a:gd name="T3" fmla="*/ 160839 h 304"/>
                  <a:gd name="T4" fmla="*/ 71805 w 557"/>
                  <a:gd name="T5" fmla="*/ 154990 h 304"/>
                  <a:gd name="T6" fmla="*/ 30864 w 557"/>
                  <a:gd name="T7" fmla="*/ 120483 h 304"/>
                  <a:gd name="T8" fmla="*/ 28344 w 557"/>
                  <a:gd name="T9" fmla="*/ 101767 h 304"/>
                  <a:gd name="T10" fmla="*/ 10078 w 557"/>
                  <a:gd name="T11" fmla="*/ 99428 h 304"/>
                  <a:gd name="T12" fmla="*/ 11338 w 557"/>
                  <a:gd name="T13" fmla="*/ 82466 h 304"/>
                  <a:gd name="T14" fmla="*/ 5039 w 557"/>
                  <a:gd name="T15" fmla="*/ 66090 h 304"/>
                  <a:gd name="T16" fmla="*/ 0 w 557"/>
                  <a:gd name="T17" fmla="*/ 57317 h 304"/>
                  <a:gd name="T18" fmla="*/ 3149 w 557"/>
                  <a:gd name="T19" fmla="*/ 47374 h 304"/>
                  <a:gd name="T20" fmla="*/ 16377 w 557"/>
                  <a:gd name="T21" fmla="*/ 47374 h 304"/>
                  <a:gd name="T22" fmla="*/ 39052 w 557"/>
                  <a:gd name="T23" fmla="*/ 42695 h 304"/>
                  <a:gd name="T24" fmla="*/ 109598 w 557"/>
                  <a:gd name="T25" fmla="*/ 8773 h 304"/>
                  <a:gd name="T26" fmla="*/ 124085 w 557"/>
                  <a:gd name="T27" fmla="*/ 0 h 304"/>
                  <a:gd name="T28" fmla="*/ 133533 w 557"/>
                  <a:gd name="T29" fmla="*/ 10528 h 304"/>
                  <a:gd name="T30" fmla="*/ 148649 w 557"/>
                  <a:gd name="T31" fmla="*/ 4679 h 304"/>
                  <a:gd name="T32" fmla="*/ 162507 w 557"/>
                  <a:gd name="T33" fmla="*/ 5264 h 304"/>
                  <a:gd name="T34" fmla="*/ 171325 w 557"/>
                  <a:gd name="T35" fmla="*/ 11113 h 304"/>
                  <a:gd name="T36" fmla="*/ 171325 w 557"/>
                  <a:gd name="T37" fmla="*/ 26319 h 304"/>
                  <a:gd name="T38" fmla="*/ 197150 w 557"/>
                  <a:gd name="T39" fmla="*/ 42111 h 304"/>
                  <a:gd name="T40" fmla="*/ 199039 w 557"/>
                  <a:gd name="T41" fmla="*/ 52638 h 304"/>
                  <a:gd name="T42" fmla="*/ 208487 w 557"/>
                  <a:gd name="T43" fmla="*/ 64336 h 304"/>
                  <a:gd name="T44" fmla="*/ 215416 w 557"/>
                  <a:gd name="T45" fmla="*/ 69599 h 304"/>
                  <a:gd name="T46" fmla="*/ 219825 w 557"/>
                  <a:gd name="T47" fmla="*/ 64336 h 304"/>
                  <a:gd name="T48" fmla="*/ 238091 w 557"/>
                  <a:gd name="T49" fmla="*/ 55563 h 304"/>
                  <a:gd name="T50" fmla="*/ 246279 w 557"/>
                  <a:gd name="T51" fmla="*/ 57317 h 304"/>
                  <a:gd name="T52" fmla="*/ 268955 w 557"/>
                  <a:gd name="T53" fmla="*/ 80712 h 304"/>
                  <a:gd name="T54" fmla="*/ 273994 w 557"/>
                  <a:gd name="T55" fmla="*/ 80127 h 304"/>
                  <a:gd name="T56" fmla="*/ 297299 w 557"/>
                  <a:gd name="T57" fmla="*/ 92994 h 304"/>
                  <a:gd name="T58" fmla="*/ 332572 w 557"/>
                  <a:gd name="T59" fmla="*/ 91239 h 304"/>
                  <a:gd name="T60" fmla="*/ 350838 w 557"/>
                  <a:gd name="T61" fmla="*/ 101767 h 304"/>
                  <a:gd name="T62" fmla="*/ 312416 w 557"/>
                  <a:gd name="T63" fmla="*/ 121653 h 304"/>
                  <a:gd name="T64" fmla="*/ 310526 w 557"/>
                  <a:gd name="T65" fmla="*/ 146217 h 304"/>
                  <a:gd name="T66" fmla="*/ 287221 w 557"/>
                  <a:gd name="T67" fmla="*/ 166103 h 304"/>
                  <a:gd name="T68" fmla="*/ 262026 w 557"/>
                  <a:gd name="T69" fmla="*/ 165518 h 304"/>
                  <a:gd name="T70" fmla="*/ 248169 w 557"/>
                  <a:gd name="T71" fmla="*/ 171366 h 304"/>
                  <a:gd name="T72" fmla="*/ 230533 w 557"/>
                  <a:gd name="T73" fmla="*/ 177800 h 304"/>
                  <a:gd name="T74" fmla="*/ 208487 w 557"/>
                  <a:gd name="T75" fmla="*/ 164933 h 304"/>
                  <a:gd name="T76" fmla="*/ 194630 w 557"/>
                  <a:gd name="T77" fmla="*/ 171366 h 304"/>
                  <a:gd name="T78" fmla="*/ 182033 w 557"/>
                  <a:gd name="T79" fmla="*/ 173706 h 304"/>
                  <a:gd name="T80" fmla="*/ 171325 w 557"/>
                  <a:gd name="T81" fmla="*/ 158499 h 304"/>
                  <a:gd name="T82" fmla="*/ 141091 w 557"/>
                  <a:gd name="T83" fmla="*/ 159084 h 304"/>
                  <a:gd name="T84" fmla="*/ 131013 w 557"/>
                  <a:gd name="T85" fmla="*/ 165518 h 304"/>
                  <a:gd name="T86" fmla="*/ 124085 w 557"/>
                  <a:gd name="T87" fmla="*/ 171951 h 304"/>
                  <a:gd name="T88" fmla="*/ 111487 w 557"/>
                  <a:gd name="T89" fmla="*/ 171951 h 304"/>
                  <a:gd name="T90" fmla="*/ 97000 w 557"/>
                  <a:gd name="T91" fmla="*/ 174291 h 304"/>
                  <a:gd name="T92" fmla="*/ 85662 w 557"/>
                  <a:gd name="T93" fmla="*/ 170197 h 30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557" h="304">
                    <a:moveTo>
                      <a:pt x="136" y="291"/>
                    </a:moveTo>
                    <a:lnTo>
                      <a:pt x="132" y="275"/>
                    </a:lnTo>
                    <a:lnTo>
                      <a:pt x="114" y="265"/>
                    </a:lnTo>
                    <a:lnTo>
                      <a:pt x="49" y="206"/>
                    </a:lnTo>
                    <a:lnTo>
                      <a:pt x="45" y="174"/>
                    </a:lnTo>
                    <a:lnTo>
                      <a:pt x="16" y="170"/>
                    </a:lnTo>
                    <a:lnTo>
                      <a:pt x="18" y="141"/>
                    </a:lnTo>
                    <a:lnTo>
                      <a:pt x="8" y="113"/>
                    </a:lnTo>
                    <a:lnTo>
                      <a:pt x="0" y="98"/>
                    </a:lnTo>
                    <a:lnTo>
                      <a:pt x="5" y="81"/>
                    </a:lnTo>
                    <a:lnTo>
                      <a:pt x="26" y="81"/>
                    </a:lnTo>
                    <a:lnTo>
                      <a:pt x="62" y="73"/>
                    </a:lnTo>
                    <a:lnTo>
                      <a:pt x="174" y="15"/>
                    </a:lnTo>
                    <a:lnTo>
                      <a:pt x="197" y="0"/>
                    </a:lnTo>
                    <a:lnTo>
                      <a:pt x="212" y="18"/>
                    </a:lnTo>
                    <a:lnTo>
                      <a:pt x="236" y="8"/>
                    </a:lnTo>
                    <a:lnTo>
                      <a:pt x="258" y="9"/>
                    </a:lnTo>
                    <a:lnTo>
                      <a:pt x="272" y="19"/>
                    </a:lnTo>
                    <a:lnTo>
                      <a:pt x="272" y="45"/>
                    </a:lnTo>
                    <a:lnTo>
                      <a:pt x="313" y="72"/>
                    </a:lnTo>
                    <a:lnTo>
                      <a:pt x="316" y="90"/>
                    </a:lnTo>
                    <a:lnTo>
                      <a:pt x="331" y="110"/>
                    </a:lnTo>
                    <a:lnTo>
                      <a:pt x="342" y="119"/>
                    </a:lnTo>
                    <a:lnTo>
                      <a:pt x="349" y="110"/>
                    </a:lnTo>
                    <a:lnTo>
                      <a:pt x="378" y="95"/>
                    </a:lnTo>
                    <a:lnTo>
                      <a:pt x="391" y="98"/>
                    </a:lnTo>
                    <a:lnTo>
                      <a:pt x="427" y="138"/>
                    </a:lnTo>
                    <a:lnTo>
                      <a:pt x="435" y="137"/>
                    </a:lnTo>
                    <a:lnTo>
                      <a:pt x="472" y="159"/>
                    </a:lnTo>
                    <a:lnTo>
                      <a:pt x="528" y="156"/>
                    </a:lnTo>
                    <a:lnTo>
                      <a:pt x="557" y="174"/>
                    </a:lnTo>
                    <a:lnTo>
                      <a:pt x="496" y="208"/>
                    </a:lnTo>
                    <a:lnTo>
                      <a:pt x="493" y="250"/>
                    </a:lnTo>
                    <a:lnTo>
                      <a:pt x="456" y="284"/>
                    </a:lnTo>
                    <a:lnTo>
                      <a:pt x="416" y="283"/>
                    </a:lnTo>
                    <a:lnTo>
                      <a:pt x="394" y="293"/>
                    </a:lnTo>
                    <a:lnTo>
                      <a:pt x="366" y="304"/>
                    </a:lnTo>
                    <a:lnTo>
                      <a:pt x="331" y="282"/>
                    </a:lnTo>
                    <a:lnTo>
                      <a:pt x="309" y="293"/>
                    </a:lnTo>
                    <a:lnTo>
                      <a:pt x="289" y="297"/>
                    </a:lnTo>
                    <a:lnTo>
                      <a:pt x="272" y="271"/>
                    </a:lnTo>
                    <a:lnTo>
                      <a:pt x="224" y="272"/>
                    </a:lnTo>
                    <a:lnTo>
                      <a:pt x="208" y="283"/>
                    </a:lnTo>
                    <a:lnTo>
                      <a:pt x="197" y="294"/>
                    </a:lnTo>
                    <a:lnTo>
                      <a:pt x="177" y="294"/>
                    </a:lnTo>
                    <a:lnTo>
                      <a:pt x="154" y="298"/>
                    </a:lnTo>
                    <a:lnTo>
                      <a:pt x="136" y="291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78" name="Freeform 64">
                <a:extLst>
                  <a:ext uri="{FF2B5EF4-FFF2-40B4-BE49-F238E27FC236}">
                    <a16:creationId xmlns:a16="http://schemas.microsoft.com/office/drawing/2014/main" id="{68961022-F361-58A2-112B-C63E7724DB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07931" y="2500144"/>
                <a:ext cx="236935" cy="216694"/>
              </a:xfrm>
              <a:custGeom>
                <a:avLst/>
                <a:gdLst>
                  <a:gd name="T0" fmla="*/ 6281 w 503"/>
                  <a:gd name="T1" fmla="*/ 82466 h 494"/>
                  <a:gd name="T2" fmla="*/ 18842 w 503"/>
                  <a:gd name="T3" fmla="*/ 105276 h 494"/>
                  <a:gd name="T4" fmla="*/ 35799 w 503"/>
                  <a:gd name="T5" fmla="*/ 101767 h 494"/>
                  <a:gd name="T6" fmla="*/ 48360 w 503"/>
                  <a:gd name="T7" fmla="*/ 79542 h 494"/>
                  <a:gd name="T8" fmla="*/ 70971 w 503"/>
                  <a:gd name="T9" fmla="*/ 90070 h 494"/>
                  <a:gd name="T10" fmla="*/ 77251 w 503"/>
                  <a:gd name="T11" fmla="*/ 109370 h 494"/>
                  <a:gd name="T12" fmla="*/ 88556 w 503"/>
                  <a:gd name="T13" fmla="*/ 135105 h 494"/>
                  <a:gd name="T14" fmla="*/ 99861 w 503"/>
                  <a:gd name="T15" fmla="*/ 153236 h 494"/>
                  <a:gd name="T16" fmla="*/ 91696 w 503"/>
                  <a:gd name="T17" fmla="*/ 160839 h 494"/>
                  <a:gd name="T18" fmla="*/ 139429 w 503"/>
                  <a:gd name="T19" fmla="*/ 210553 h 494"/>
                  <a:gd name="T20" fmla="*/ 163295 w 503"/>
                  <a:gd name="T21" fmla="*/ 212892 h 494"/>
                  <a:gd name="T22" fmla="*/ 198466 w 503"/>
                  <a:gd name="T23" fmla="*/ 235702 h 494"/>
                  <a:gd name="T24" fmla="*/ 208515 w 503"/>
                  <a:gd name="T25" fmla="*/ 253833 h 494"/>
                  <a:gd name="T26" fmla="*/ 217936 w 503"/>
                  <a:gd name="T27" fmla="*/ 253248 h 494"/>
                  <a:gd name="T28" fmla="*/ 238662 w 503"/>
                  <a:gd name="T29" fmla="*/ 263776 h 494"/>
                  <a:gd name="T30" fmla="*/ 252479 w 503"/>
                  <a:gd name="T31" fmla="*/ 263191 h 494"/>
                  <a:gd name="T32" fmla="*/ 251851 w 503"/>
                  <a:gd name="T33" fmla="*/ 243305 h 494"/>
                  <a:gd name="T34" fmla="*/ 236150 w 503"/>
                  <a:gd name="T35" fmla="*/ 222250 h 494"/>
                  <a:gd name="T36" fmla="*/ 198466 w 503"/>
                  <a:gd name="T37" fmla="*/ 187743 h 494"/>
                  <a:gd name="T38" fmla="*/ 185905 w 503"/>
                  <a:gd name="T39" fmla="*/ 184234 h 494"/>
                  <a:gd name="T40" fmla="*/ 172716 w 503"/>
                  <a:gd name="T41" fmla="*/ 175461 h 494"/>
                  <a:gd name="T42" fmla="*/ 163295 w 503"/>
                  <a:gd name="T43" fmla="*/ 159669 h 494"/>
                  <a:gd name="T44" fmla="*/ 146965 w 503"/>
                  <a:gd name="T45" fmla="*/ 133350 h 494"/>
                  <a:gd name="T46" fmla="*/ 118703 w 503"/>
                  <a:gd name="T47" fmla="*/ 101767 h 494"/>
                  <a:gd name="T48" fmla="*/ 133776 w 503"/>
                  <a:gd name="T49" fmla="*/ 96503 h 494"/>
                  <a:gd name="T50" fmla="*/ 193442 w 503"/>
                  <a:gd name="T51" fmla="*/ 82466 h 494"/>
                  <a:gd name="T52" fmla="*/ 221076 w 503"/>
                  <a:gd name="T53" fmla="*/ 98843 h 494"/>
                  <a:gd name="T54" fmla="*/ 232381 w 503"/>
                  <a:gd name="T55" fmla="*/ 98843 h 494"/>
                  <a:gd name="T56" fmla="*/ 256876 w 503"/>
                  <a:gd name="T57" fmla="*/ 100597 h 494"/>
                  <a:gd name="T58" fmla="*/ 288907 w 503"/>
                  <a:gd name="T59" fmla="*/ 98843 h 494"/>
                  <a:gd name="T60" fmla="*/ 309632 w 503"/>
                  <a:gd name="T61" fmla="*/ 109370 h 494"/>
                  <a:gd name="T62" fmla="*/ 315913 w 503"/>
                  <a:gd name="T63" fmla="*/ 90070 h 494"/>
                  <a:gd name="T64" fmla="*/ 299584 w 503"/>
                  <a:gd name="T65" fmla="*/ 73693 h 494"/>
                  <a:gd name="T66" fmla="*/ 298327 w 503"/>
                  <a:gd name="T67" fmla="*/ 56147 h 494"/>
                  <a:gd name="T68" fmla="*/ 285766 w 503"/>
                  <a:gd name="T69" fmla="*/ 43865 h 494"/>
                  <a:gd name="T70" fmla="*/ 271949 w 503"/>
                  <a:gd name="T71" fmla="*/ 46789 h 494"/>
                  <a:gd name="T72" fmla="*/ 254991 w 503"/>
                  <a:gd name="T73" fmla="*/ 52638 h 494"/>
                  <a:gd name="T74" fmla="*/ 231125 w 503"/>
                  <a:gd name="T75" fmla="*/ 35092 h 494"/>
                  <a:gd name="T76" fmla="*/ 209771 w 503"/>
                  <a:gd name="T77" fmla="*/ 26904 h 494"/>
                  <a:gd name="T78" fmla="*/ 172716 w 503"/>
                  <a:gd name="T79" fmla="*/ 0 h 494"/>
                  <a:gd name="T80" fmla="*/ 136289 w 503"/>
                  <a:gd name="T81" fmla="*/ 19301 h 494"/>
                  <a:gd name="T82" fmla="*/ 125612 w 503"/>
                  <a:gd name="T83" fmla="*/ 36262 h 494"/>
                  <a:gd name="T84" fmla="*/ 69086 w 503"/>
                  <a:gd name="T85" fmla="*/ 64920 h 494"/>
                  <a:gd name="T86" fmla="*/ 35799 w 503"/>
                  <a:gd name="T87" fmla="*/ 64920 h 494"/>
                  <a:gd name="T88" fmla="*/ 0 w 503"/>
                  <a:gd name="T89" fmla="*/ 64920 h 494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503" h="494">
                    <a:moveTo>
                      <a:pt x="0" y="111"/>
                    </a:moveTo>
                    <a:lnTo>
                      <a:pt x="10" y="141"/>
                    </a:lnTo>
                    <a:lnTo>
                      <a:pt x="21" y="165"/>
                    </a:lnTo>
                    <a:lnTo>
                      <a:pt x="30" y="180"/>
                    </a:lnTo>
                    <a:lnTo>
                      <a:pt x="43" y="183"/>
                    </a:lnTo>
                    <a:lnTo>
                      <a:pt x="57" y="174"/>
                    </a:lnTo>
                    <a:lnTo>
                      <a:pt x="63" y="159"/>
                    </a:lnTo>
                    <a:lnTo>
                      <a:pt x="77" y="136"/>
                    </a:lnTo>
                    <a:lnTo>
                      <a:pt x="95" y="150"/>
                    </a:lnTo>
                    <a:lnTo>
                      <a:pt x="113" y="154"/>
                    </a:lnTo>
                    <a:lnTo>
                      <a:pt x="126" y="162"/>
                    </a:lnTo>
                    <a:lnTo>
                      <a:pt x="123" y="187"/>
                    </a:lnTo>
                    <a:lnTo>
                      <a:pt x="123" y="203"/>
                    </a:lnTo>
                    <a:lnTo>
                      <a:pt x="141" y="231"/>
                    </a:lnTo>
                    <a:lnTo>
                      <a:pt x="162" y="255"/>
                    </a:lnTo>
                    <a:lnTo>
                      <a:pt x="159" y="262"/>
                    </a:lnTo>
                    <a:lnTo>
                      <a:pt x="135" y="262"/>
                    </a:lnTo>
                    <a:lnTo>
                      <a:pt x="146" y="275"/>
                    </a:lnTo>
                    <a:lnTo>
                      <a:pt x="216" y="354"/>
                    </a:lnTo>
                    <a:lnTo>
                      <a:pt x="222" y="360"/>
                    </a:lnTo>
                    <a:lnTo>
                      <a:pt x="243" y="360"/>
                    </a:lnTo>
                    <a:lnTo>
                      <a:pt x="260" y="364"/>
                    </a:lnTo>
                    <a:lnTo>
                      <a:pt x="290" y="378"/>
                    </a:lnTo>
                    <a:lnTo>
                      <a:pt x="316" y="403"/>
                    </a:lnTo>
                    <a:lnTo>
                      <a:pt x="322" y="414"/>
                    </a:lnTo>
                    <a:lnTo>
                      <a:pt x="332" y="434"/>
                    </a:lnTo>
                    <a:lnTo>
                      <a:pt x="340" y="433"/>
                    </a:lnTo>
                    <a:lnTo>
                      <a:pt x="347" y="433"/>
                    </a:lnTo>
                    <a:lnTo>
                      <a:pt x="368" y="441"/>
                    </a:lnTo>
                    <a:lnTo>
                      <a:pt x="380" y="451"/>
                    </a:lnTo>
                    <a:lnTo>
                      <a:pt x="419" y="494"/>
                    </a:lnTo>
                    <a:lnTo>
                      <a:pt x="402" y="450"/>
                    </a:lnTo>
                    <a:lnTo>
                      <a:pt x="393" y="433"/>
                    </a:lnTo>
                    <a:lnTo>
                      <a:pt x="401" y="416"/>
                    </a:lnTo>
                    <a:lnTo>
                      <a:pt x="395" y="403"/>
                    </a:lnTo>
                    <a:lnTo>
                      <a:pt x="376" y="380"/>
                    </a:lnTo>
                    <a:lnTo>
                      <a:pt x="340" y="339"/>
                    </a:lnTo>
                    <a:lnTo>
                      <a:pt x="316" y="321"/>
                    </a:lnTo>
                    <a:lnTo>
                      <a:pt x="308" y="313"/>
                    </a:lnTo>
                    <a:lnTo>
                      <a:pt x="296" y="315"/>
                    </a:lnTo>
                    <a:lnTo>
                      <a:pt x="278" y="300"/>
                    </a:lnTo>
                    <a:lnTo>
                      <a:pt x="275" y="300"/>
                    </a:lnTo>
                    <a:lnTo>
                      <a:pt x="265" y="291"/>
                    </a:lnTo>
                    <a:lnTo>
                      <a:pt x="260" y="273"/>
                    </a:lnTo>
                    <a:lnTo>
                      <a:pt x="254" y="255"/>
                    </a:lnTo>
                    <a:lnTo>
                      <a:pt x="234" y="228"/>
                    </a:lnTo>
                    <a:lnTo>
                      <a:pt x="192" y="185"/>
                    </a:lnTo>
                    <a:lnTo>
                      <a:pt x="189" y="174"/>
                    </a:lnTo>
                    <a:lnTo>
                      <a:pt x="192" y="169"/>
                    </a:lnTo>
                    <a:lnTo>
                      <a:pt x="213" y="165"/>
                    </a:lnTo>
                    <a:lnTo>
                      <a:pt x="271" y="183"/>
                    </a:lnTo>
                    <a:lnTo>
                      <a:pt x="308" y="141"/>
                    </a:lnTo>
                    <a:lnTo>
                      <a:pt x="340" y="167"/>
                    </a:lnTo>
                    <a:lnTo>
                      <a:pt x="352" y="169"/>
                    </a:lnTo>
                    <a:lnTo>
                      <a:pt x="359" y="180"/>
                    </a:lnTo>
                    <a:lnTo>
                      <a:pt x="370" y="169"/>
                    </a:lnTo>
                    <a:lnTo>
                      <a:pt x="391" y="169"/>
                    </a:lnTo>
                    <a:lnTo>
                      <a:pt x="409" y="172"/>
                    </a:lnTo>
                    <a:lnTo>
                      <a:pt x="434" y="159"/>
                    </a:lnTo>
                    <a:lnTo>
                      <a:pt x="460" y="169"/>
                    </a:lnTo>
                    <a:lnTo>
                      <a:pt x="475" y="183"/>
                    </a:lnTo>
                    <a:lnTo>
                      <a:pt x="493" y="187"/>
                    </a:lnTo>
                    <a:lnTo>
                      <a:pt x="495" y="174"/>
                    </a:lnTo>
                    <a:lnTo>
                      <a:pt x="503" y="154"/>
                    </a:lnTo>
                    <a:lnTo>
                      <a:pt x="493" y="144"/>
                    </a:lnTo>
                    <a:lnTo>
                      <a:pt x="477" y="126"/>
                    </a:lnTo>
                    <a:lnTo>
                      <a:pt x="475" y="108"/>
                    </a:lnTo>
                    <a:lnTo>
                      <a:pt x="475" y="96"/>
                    </a:lnTo>
                    <a:lnTo>
                      <a:pt x="477" y="80"/>
                    </a:lnTo>
                    <a:lnTo>
                      <a:pt x="455" y="75"/>
                    </a:lnTo>
                    <a:lnTo>
                      <a:pt x="444" y="72"/>
                    </a:lnTo>
                    <a:lnTo>
                      <a:pt x="433" y="80"/>
                    </a:lnTo>
                    <a:lnTo>
                      <a:pt x="419" y="90"/>
                    </a:lnTo>
                    <a:lnTo>
                      <a:pt x="406" y="90"/>
                    </a:lnTo>
                    <a:lnTo>
                      <a:pt x="386" y="69"/>
                    </a:lnTo>
                    <a:lnTo>
                      <a:pt x="368" y="60"/>
                    </a:lnTo>
                    <a:lnTo>
                      <a:pt x="350" y="62"/>
                    </a:lnTo>
                    <a:lnTo>
                      <a:pt x="334" y="46"/>
                    </a:lnTo>
                    <a:lnTo>
                      <a:pt x="293" y="3"/>
                    </a:lnTo>
                    <a:lnTo>
                      <a:pt x="275" y="0"/>
                    </a:lnTo>
                    <a:lnTo>
                      <a:pt x="246" y="36"/>
                    </a:lnTo>
                    <a:lnTo>
                      <a:pt x="217" y="33"/>
                    </a:lnTo>
                    <a:lnTo>
                      <a:pt x="204" y="46"/>
                    </a:lnTo>
                    <a:lnTo>
                      <a:pt x="200" y="62"/>
                    </a:lnTo>
                    <a:lnTo>
                      <a:pt x="146" y="120"/>
                    </a:lnTo>
                    <a:lnTo>
                      <a:pt x="110" y="111"/>
                    </a:lnTo>
                    <a:lnTo>
                      <a:pt x="75" y="102"/>
                    </a:lnTo>
                    <a:lnTo>
                      <a:pt x="57" y="111"/>
                    </a:lnTo>
                    <a:lnTo>
                      <a:pt x="33" y="120"/>
                    </a:lnTo>
                    <a:lnTo>
                      <a:pt x="0" y="111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79" name="Freeform 65">
                <a:extLst>
                  <a:ext uri="{FF2B5EF4-FFF2-40B4-BE49-F238E27FC236}">
                    <a16:creationId xmlns:a16="http://schemas.microsoft.com/office/drawing/2014/main" id="{5D4A3D9B-2B1E-9C66-3A2B-4432789AFB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25828" y="2941866"/>
                <a:ext cx="121444" cy="98822"/>
              </a:xfrm>
              <a:custGeom>
                <a:avLst/>
                <a:gdLst>
                  <a:gd name="T0" fmla="*/ 22860 w 255"/>
                  <a:gd name="T1" fmla="*/ 5830 h 226"/>
                  <a:gd name="T2" fmla="*/ 15240 w 255"/>
                  <a:gd name="T3" fmla="*/ 8745 h 226"/>
                  <a:gd name="T4" fmla="*/ 17780 w 255"/>
                  <a:gd name="T5" fmla="*/ 16325 h 226"/>
                  <a:gd name="T6" fmla="*/ 9525 w 255"/>
                  <a:gd name="T7" fmla="*/ 25070 h 226"/>
                  <a:gd name="T8" fmla="*/ 3810 w 255"/>
                  <a:gd name="T9" fmla="*/ 24487 h 226"/>
                  <a:gd name="T10" fmla="*/ 0 w 255"/>
                  <a:gd name="T11" fmla="*/ 28568 h 226"/>
                  <a:gd name="T12" fmla="*/ 1905 w 255"/>
                  <a:gd name="T13" fmla="*/ 37313 h 226"/>
                  <a:gd name="T14" fmla="*/ 27940 w 255"/>
                  <a:gd name="T15" fmla="*/ 46059 h 226"/>
                  <a:gd name="T16" fmla="*/ 34290 w 255"/>
                  <a:gd name="T17" fmla="*/ 66465 h 226"/>
                  <a:gd name="T18" fmla="*/ 42545 w 255"/>
                  <a:gd name="T19" fmla="*/ 90951 h 226"/>
                  <a:gd name="T20" fmla="*/ 52070 w 255"/>
                  <a:gd name="T21" fmla="*/ 104944 h 226"/>
                  <a:gd name="T22" fmla="*/ 63500 w 255"/>
                  <a:gd name="T23" fmla="*/ 96199 h 226"/>
                  <a:gd name="T24" fmla="*/ 78105 w 255"/>
                  <a:gd name="T25" fmla="*/ 113689 h 226"/>
                  <a:gd name="T26" fmla="*/ 93345 w 255"/>
                  <a:gd name="T27" fmla="*/ 131763 h 226"/>
                  <a:gd name="T28" fmla="*/ 99060 w 255"/>
                  <a:gd name="T29" fmla="*/ 117770 h 226"/>
                  <a:gd name="T30" fmla="*/ 95250 w 255"/>
                  <a:gd name="T31" fmla="*/ 109025 h 226"/>
                  <a:gd name="T32" fmla="*/ 100965 w 255"/>
                  <a:gd name="T33" fmla="*/ 104944 h 226"/>
                  <a:gd name="T34" fmla="*/ 123825 w 255"/>
                  <a:gd name="T35" fmla="*/ 121269 h 226"/>
                  <a:gd name="T36" fmla="*/ 130810 w 255"/>
                  <a:gd name="T37" fmla="*/ 116021 h 226"/>
                  <a:gd name="T38" fmla="*/ 132715 w 255"/>
                  <a:gd name="T39" fmla="*/ 110774 h 226"/>
                  <a:gd name="T40" fmla="*/ 121285 w 255"/>
                  <a:gd name="T41" fmla="*/ 89785 h 226"/>
                  <a:gd name="T42" fmla="*/ 121285 w 255"/>
                  <a:gd name="T43" fmla="*/ 85704 h 226"/>
                  <a:gd name="T44" fmla="*/ 110490 w 255"/>
                  <a:gd name="T45" fmla="*/ 68797 h 226"/>
                  <a:gd name="T46" fmla="*/ 106680 w 255"/>
                  <a:gd name="T47" fmla="*/ 56553 h 226"/>
                  <a:gd name="T48" fmla="*/ 110490 w 255"/>
                  <a:gd name="T49" fmla="*/ 55970 h 226"/>
                  <a:gd name="T50" fmla="*/ 123825 w 255"/>
                  <a:gd name="T51" fmla="*/ 58302 h 226"/>
                  <a:gd name="T52" fmla="*/ 139065 w 255"/>
                  <a:gd name="T53" fmla="*/ 69963 h 226"/>
                  <a:gd name="T54" fmla="*/ 146685 w 255"/>
                  <a:gd name="T55" fmla="*/ 61217 h 226"/>
                  <a:gd name="T56" fmla="*/ 160020 w 255"/>
                  <a:gd name="T57" fmla="*/ 62966 h 226"/>
                  <a:gd name="T58" fmla="*/ 161925 w 255"/>
                  <a:gd name="T59" fmla="*/ 59468 h 226"/>
                  <a:gd name="T60" fmla="*/ 144780 w 255"/>
                  <a:gd name="T61" fmla="*/ 40229 h 226"/>
                  <a:gd name="T62" fmla="*/ 132715 w 255"/>
                  <a:gd name="T63" fmla="*/ 41978 h 226"/>
                  <a:gd name="T64" fmla="*/ 128905 w 255"/>
                  <a:gd name="T65" fmla="*/ 35564 h 226"/>
                  <a:gd name="T66" fmla="*/ 121285 w 255"/>
                  <a:gd name="T67" fmla="*/ 20989 h 226"/>
                  <a:gd name="T68" fmla="*/ 114300 w 255"/>
                  <a:gd name="T69" fmla="*/ 26819 h 226"/>
                  <a:gd name="T70" fmla="*/ 98425 w 255"/>
                  <a:gd name="T71" fmla="*/ 20989 h 226"/>
                  <a:gd name="T72" fmla="*/ 87630 w 255"/>
                  <a:gd name="T73" fmla="*/ 5830 h 226"/>
                  <a:gd name="T74" fmla="*/ 68580 w 255"/>
                  <a:gd name="T75" fmla="*/ 7579 h 226"/>
                  <a:gd name="T76" fmla="*/ 53975 w 255"/>
                  <a:gd name="T77" fmla="*/ 8745 h 226"/>
                  <a:gd name="T78" fmla="*/ 43815 w 255"/>
                  <a:gd name="T79" fmla="*/ 0 h 226"/>
                  <a:gd name="T80" fmla="*/ 36195 w 255"/>
                  <a:gd name="T81" fmla="*/ 4664 h 226"/>
                  <a:gd name="T82" fmla="*/ 22860 w 255"/>
                  <a:gd name="T83" fmla="*/ 5830 h 22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255" h="226">
                    <a:moveTo>
                      <a:pt x="36" y="10"/>
                    </a:moveTo>
                    <a:lnTo>
                      <a:pt x="24" y="15"/>
                    </a:lnTo>
                    <a:lnTo>
                      <a:pt x="28" y="28"/>
                    </a:lnTo>
                    <a:lnTo>
                      <a:pt x="15" y="43"/>
                    </a:lnTo>
                    <a:lnTo>
                      <a:pt x="6" y="42"/>
                    </a:lnTo>
                    <a:lnTo>
                      <a:pt x="0" y="49"/>
                    </a:lnTo>
                    <a:lnTo>
                      <a:pt x="3" y="64"/>
                    </a:lnTo>
                    <a:lnTo>
                      <a:pt x="44" y="79"/>
                    </a:lnTo>
                    <a:lnTo>
                      <a:pt x="54" y="114"/>
                    </a:lnTo>
                    <a:lnTo>
                      <a:pt x="67" y="156"/>
                    </a:lnTo>
                    <a:lnTo>
                      <a:pt x="82" y="180"/>
                    </a:lnTo>
                    <a:lnTo>
                      <a:pt x="100" y="165"/>
                    </a:lnTo>
                    <a:lnTo>
                      <a:pt x="123" y="195"/>
                    </a:lnTo>
                    <a:lnTo>
                      <a:pt x="147" y="226"/>
                    </a:lnTo>
                    <a:lnTo>
                      <a:pt x="156" y="202"/>
                    </a:lnTo>
                    <a:lnTo>
                      <a:pt x="150" y="187"/>
                    </a:lnTo>
                    <a:lnTo>
                      <a:pt x="159" y="180"/>
                    </a:lnTo>
                    <a:lnTo>
                      <a:pt x="195" y="208"/>
                    </a:lnTo>
                    <a:lnTo>
                      <a:pt x="206" y="199"/>
                    </a:lnTo>
                    <a:lnTo>
                      <a:pt x="209" y="190"/>
                    </a:lnTo>
                    <a:lnTo>
                      <a:pt x="191" y="154"/>
                    </a:lnTo>
                    <a:lnTo>
                      <a:pt x="191" y="147"/>
                    </a:lnTo>
                    <a:lnTo>
                      <a:pt x="174" y="118"/>
                    </a:lnTo>
                    <a:lnTo>
                      <a:pt x="168" y="97"/>
                    </a:lnTo>
                    <a:lnTo>
                      <a:pt x="174" y="96"/>
                    </a:lnTo>
                    <a:lnTo>
                      <a:pt x="195" y="100"/>
                    </a:lnTo>
                    <a:lnTo>
                      <a:pt x="219" y="120"/>
                    </a:lnTo>
                    <a:lnTo>
                      <a:pt x="231" y="105"/>
                    </a:lnTo>
                    <a:lnTo>
                      <a:pt x="252" y="108"/>
                    </a:lnTo>
                    <a:lnTo>
                      <a:pt x="255" y="102"/>
                    </a:lnTo>
                    <a:lnTo>
                      <a:pt x="228" y="69"/>
                    </a:lnTo>
                    <a:lnTo>
                      <a:pt x="209" y="72"/>
                    </a:lnTo>
                    <a:lnTo>
                      <a:pt x="203" y="61"/>
                    </a:lnTo>
                    <a:lnTo>
                      <a:pt x="191" y="36"/>
                    </a:lnTo>
                    <a:lnTo>
                      <a:pt x="180" y="46"/>
                    </a:lnTo>
                    <a:lnTo>
                      <a:pt x="155" y="36"/>
                    </a:lnTo>
                    <a:lnTo>
                      <a:pt x="138" y="10"/>
                    </a:lnTo>
                    <a:lnTo>
                      <a:pt x="108" y="13"/>
                    </a:lnTo>
                    <a:lnTo>
                      <a:pt x="85" y="15"/>
                    </a:lnTo>
                    <a:lnTo>
                      <a:pt x="69" y="0"/>
                    </a:lnTo>
                    <a:lnTo>
                      <a:pt x="57" y="8"/>
                    </a:lnTo>
                    <a:lnTo>
                      <a:pt x="36" y="1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80" name="Freeform 66">
                <a:extLst>
                  <a:ext uri="{FF2B5EF4-FFF2-40B4-BE49-F238E27FC236}">
                    <a16:creationId xmlns:a16="http://schemas.microsoft.com/office/drawing/2014/main" id="{22FDC8E0-2FEB-3588-1D88-02E31F1975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85347" y="2741840"/>
                <a:ext cx="282178" cy="233363"/>
              </a:xfrm>
              <a:custGeom>
                <a:avLst/>
                <a:gdLst>
                  <a:gd name="T0" fmla="*/ 68292 w 595"/>
                  <a:gd name="T1" fmla="*/ 82158 h 534"/>
                  <a:gd name="T2" fmla="*/ 48689 w 595"/>
                  <a:gd name="T3" fmla="*/ 134599 h 534"/>
                  <a:gd name="T4" fmla="*/ 38572 w 595"/>
                  <a:gd name="T5" fmla="*/ 146835 h 534"/>
                  <a:gd name="T6" fmla="*/ 21499 w 595"/>
                  <a:gd name="T7" fmla="*/ 160819 h 534"/>
                  <a:gd name="T8" fmla="*/ 0 w 595"/>
                  <a:gd name="T9" fmla="*/ 164315 h 534"/>
                  <a:gd name="T10" fmla="*/ 27190 w 595"/>
                  <a:gd name="T11" fmla="*/ 209181 h 534"/>
                  <a:gd name="T12" fmla="*/ 49954 w 595"/>
                  <a:gd name="T13" fmla="*/ 209181 h 534"/>
                  <a:gd name="T14" fmla="*/ 42366 w 595"/>
                  <a:gd name="T15" fmla="*/ 223748 h 534"/>
                  <a:gd name="T16" fmla="*/ 49954 w 595"/>
                  <a:gd name="T17" fmla="*/ 248221 h 534"/>
                  <a:gd name="T18" fmla="*/ 67027 w 595"/>
                  <a:gd name="T19" fmla="*/ 265701 h 534"/>
                  <a:gd name="T20" fmla="*/ 79674 w 595"/>
                  <a:gd name="T21" fmla="*/ 255213 h 534"/>
                  <a:gd name="T22" fmla="*/ 93585 w 595"/>
                  <a:gd name="T23" fmla="*/ 256961 h 534"/>
                  <a:gd name="T24" fmla="*/ 139113 w 595"/>
                  <a:gd name="T25" fmla="*/ 261622 h 534"/>
                  <a:gd name="T26" fmla="*/ 166303 w 595"/>
                  <a:gd name="T27" fmla="*/ 274441 h 534"/>
                  <a:gd name="T28" fmla="*/ 181479 w 595"/>
                  <a:gd name="T29" fmla="*/ 291339 h 534"/>
                  <a:gd name="T30" fmla="*/ 200449 w 595"/>
                  <a:gd name="T31" fmla="*/ 284347 h 534"/>
                  <a:gd name="T32" fmla="*/ 237124 w 595"/>
                  <a:gd name="T33" fmla="*/ 311150 h 534"/>
                  <a:gd name="T34" fmla="*/ 243447 w 595"/>
                  <a:gd name="T35" fmla="*/ 295418 h 534"/>
                  <a:gd name="T36" fmla="*/ 242183 w 595"/>
                  <a:gd name="T37" fmla="*/ 270363 h 534"/>
                  <a:gd name="T38" fmla="*/ 227007 w 595"/>
                  <a:gd name="T39" fmla="*/ 259874 h 534"/>
                  <a:gd name="T40" fmla="*/ 188435 w 595"/>
                  <a:gd name="T41" fmla="*/ 237733 h 534"/>
                  <a:gd name="T42" fmla="*/ 165671 w 595"/>
                  <a:gd name="T43" fmla="*/ 230158 h 534"/>
                  <a:gd name="T44" fmla="*/ 156818 w 595"/>
                  <a:gd name="T45" fmla="*/ 219670 h 534"/>
                  <a:gd name="T46" fmla="*/ 170097 w 595"/>
                  <a:gd name="T47" fmla="*/ 208016 h 534"/>
                  <a:gd name="T48" fmla="*/ 160612 w 595"/>
                  <a:gd name="T49" fmla="*/ 189953 h 534"/>
                  <a:gd name="T50" fmla="*/ 177053 w 595"/>
                  <a:gd name="T51" fmla="*/ 197528 h 534"/>
                  <a:gd name="T52" fmla="*/ 188435 w 595"/>
                  <a:gd name="T53" fmla="*/ 191701 h 534"/>
                  <a:gd name="T54" fmla="*/ 166303 w 595"/>
                  <a:gd name="T55" fmla="*/ 162567 h 534"/>
                  <a:gd name="T56" fmla="*/ 149230 w 595"/>
                  <a:gd name="T57" fmla="*/ 128772 h 534"/>
                  <a:gd name="T58" fmla="*/ 144804 w 595"/>
                  <a:gd name="T59" fmla="*/ 107795 h 534"/>
                  <a:gd name="T60" fmla="*/ 154289 w 595"/>
                  <a:gd name="T61" fmla="*/ 94394 h 534"/>
                  <a:gd name="T62" fmla="*/ 161877 w 595"/>
                  <a:gd name="T63" fmla="*/ 111874 h 534"/>
                  <a:gd name="T64" fmla="*/ 166303 w 595"/>
                  <a:gd name="T65" fmla="*/ 118284 h 534"/>
                  <a:gd name="T66" fmla="*/ 198552 w 595"/>
                  <a:gd name="T67" fmla="*/ 141591 h 534"/>
                  <a:gd name="T68" fmla="*/ 202346 w 595"/>
                  <a:gd name="T69" fmla="*/ 125858 h 534"/>
                  <a:gd name="T70" fmla="*/ 225110 w 595"/>
                  <a:gd name="T71" fmla="*/ 141591 h 534"/>
                  <a:gd name="T72" fmla="*/ 215625 w 595"/>
                  <a:gd name="T73" fmla="*/ 122362 h 534"/>
                  <a:gd name="T74" fmla="*/ 225110 w 595"/>
                  <a:gd name="T75" fmla="*/ 113622 h 534"/>
                  <a:gd name="T76" fmla="*/ 252300 w 595"/>
                  <a:gd name="T77" fmla="*/ 119449 h 534"/>
                  <a:gd name="T78" fmla="*/ 240918 w 595"/>
                  <a:gd name="T79" fmla="*/ 104882 h 534"/>
                  <a:gd name="T80" fmla="*/ 215625 w 595"/>
                  <a:gd name="T81" fmla="*/ 90898 h 534"/>
                  <a:gd name="T82" fmla="*/ 216890 w 595"/>
                  <a:gd name="T83" fmla="*/ 78662 h 534"/>
                  <a:gd name="T84" fmla="*/ 261785 w 595"/>
                  <a:gd name="T85" fmla="*/ 69921 h 534"/>
                  <a:gd name="T86" fmla="*/ 306048 w 595"/>
                  <a:gd name="T87" fmla="*/ 65843 h 534"/>
                  <a:gd name="T88" fmla="*/ 330709 w 595"/>
                  <a:gd name="T89" fmla="*/ 69921 h 534"/>
                  <a:gd name="T90" fmla="*/ 355370 w 595"/>
                  <a:gd name="T91" fmla="*/ 61181 h 534"/>
                  <a:gd name="T92" fmla="*/ 374340 w 595"/>
                  <a:gd name="T93" fmla="*/ 38457 h 534"/>
                  <a:gd name="T94" fmla="*/ 374340 w 595"/>
                  <a:gd name="T95" fmla="*/ 4661 h 534"/>
                  <a:gd name="T96" fmla="*/ 357267 w 595"/>
                  <a:gd name="T97" fmla="*/ 0 h 534"/>
                  <a:gd name="T98" fmla="*/ 351576 w 595"/>
                  <a:gd name="T99" fmla="*/ 16315 h 534"/>
                  <a:gd name="T100" fmla="*/ 340194 w 595"/>
                  <a:gd name="T101" fmla="*/ 27969 h 534"/>
                  <a:gd name="T102" fmla="*/ 324386 w 595"/>
                  <a:gd name="T103" fmla="*/ 36126 h 534"/>
                  <a:gd name="T104" fmla="*/ 295931 w 595"/>
                  <a:gd name="T105" fmla="*/ 26803 h 534"/>
                  <a:gd name="T106" fmla="*/ 268108 w 595"/>
                  <a:gd name="T107" fmla="*/ 16315 h 534"/>
                  <a:gd name="T108" fmla="*/ 237124 w 595"/>
                  <a:gd name="T109" fmla="*/ 36126 h 534"/>
                  <a:gd name="T110" fmla="*/ 202346 w 595"/>
                  <a:gd name="T111" fmla="*/ 44866 h 534"/>
                  <a:gd name="T112" fmla="*/ 177053 w 595"/>
                  <a:gd name="T113" fmla="*/ 48945 h 534"/>
                  <a:gd name="T114" fmla="*/ 160612 w 595"/>
                  <a:gd name="T115" fmla="*/ 62929 h 534"/>
                  <a:gd name="T116" fmla="*/ 134054 w 595"/>
                  <a:gd name="T117" fmla="*/ 65843 h 534"/>
                  <a:gd name="T118" fmla="*/ 110658 w 595"/>
                  <a:gd name="T119" fmla="*/ 78079 h 534"/>
                  <a:gd name="T120" fmla="*/ 85997 w 595"/>
                  <a:gd name="T121" fmla="*/ 78079 h 53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595" h="534">
                    <a:moveTo>
                      <a:pt x="121" y="131"/>
                    </a:moveTo>
                    <a:lnTo>
                      <a:pt x="108" y="141"/>
                    </a:lnTo>
                    <a:lnTo>
                      <a:pt x="95" y="187"/>
                    </a:lnTo>
                    <a:lnTo>
                      <a:pt x="77" y="231"/>
                    </a:lnTo>
                    <a:lnTo>
                      <a:pt x="70" y="236"/>
                    </a:lnTo>
                    <a:lnTo>
                      <a:pt x="61" y="252"/>
                    </a:lnTo>
                    <a:lnTo>
                      <a:pt x="52" y="267"/>
                    </a:lnTo>
                    <a:lnTo>
                      <a:pt x="34" y="276"/>
                    </a:lnTo>
                    <a:lnTo>
                      <a:pt x="18" y="282"/>
                    </a:lnTo>
                    <a:lnTo>
                      <a:pt x="0" y="282"/>
                    </a:lnTo>
                    <a:lnTo>
                      <a:pt x="24" y="333"/>
                    </a:lnTo>
                    <a:lnTo>
                      <a:pt x="43" y="359"/>
                    </a:lnTo>
                    <a:lnTo>
                      <a:pt x="61" y="359"/>
                    </a:lnTo>
                    <a:lnTo>
                      <a:pt x="79" y="359"/>
                    </a:lnTo>
                    <a:lnTo>
                      <a:pt x="85" y="372"/>
                    </a:lnTo>
                    <a:lnTo>
                      <a:pt x="67" y="384"/>
                    </a:lnTo>
                    <a:lnTo>
                      <a:pt x="67" y="401"/>
                    </a:lnTo>
                    <a:lnTo>
                      <a:pt x="79" y="426"/>
                    </a:lnTo>
                    <a:lnTo>
                      <a:pt x="95" y="446"/>
                    </a:lnTo>
                    <a:lnTo>
                      <a:pt x="106" y="456"/>
                    </a:lnTo>
                    <a:lnTo>
                      <a:pt x="111" y="441"/>
                    </a:lnTo>
                    <a:lnTo>
                      <a:pt x="126" y="438"/>
                    </a:lnTo>
                    <a:lnTo>
                      <a:pt x="144" y="453"/>
                    </a:lnTo>
                    <a:lnTo>
                      <a:pt x="148" y="441"/>
                    </a:lnTo>
                    <a:lnTo>
                      <a:pt x="177" y="444"/>
                    </a:lnTo>
                    <a:lnTo>
                      <a:pt x="220" y="449"/>
                    </a:lnTo>
                    <a:lnTo>
                      <a:pt x="251" y="459"/>
                    </a:lnTo>
                    <a:lnTo>
                      <a:pt x="263" y="471"/>
                    </a:lnTo>
                    <a:lnTo>
                      <a:pt x="277" y="489"/>
                    </a:lnTo>
                    <a:lnTo>
                      <a:pt x="287" y="500"/>
                    </a:lnTo>
                    <a:lnTo>
                      <a:pt x="299" y="489"/>
                    </a:lnTo>
                    <a:lnTo>
                      <a:pt x="317" y="488"/>
                    </a:lnTo>
                    <a:lnTo>
                      <a:pt x="343" y="506"/>
                    </a:lnTo>
                    <a:lnTo>
                      <a:pt x="375" y="534"/>
                    </a:lnTo>
                    <a:lnTo>
                      <a:pt x="383" y="528"/>
                    </a:lnTo>
                    <a:lnTo>
                      <a:pt x="385" y="507"/>
                    </a:lnTo>
                    <a:lnTo>
                      <a:pt x="385" y="485"/>
                    </a:lnTo>
                    <a:lnTo>
                      <a:pt x="383" y="464"/>
                    </a:lnTo>
                    <a:lnTo>
                      <a:pt x="368" y="441"/>
                    </a:lnTo>
                    <a:lnTo>
                      <a:pt x="359" y="446"/>
                    </a:lnTo>
                    <a:lnTo>
                      <a:pt x="335" y="435"/>
                    </a:lnTo>
                    <a:lnTo>
                      <a:pt x="298" y="408"/>
                    </a:lnTo>
                    <a:lnTo>
                      <a:pt x="287" y="398"/>
                    </a:lnTo>
                    <a:lnTo>
                      <a:pt x="262" y="395"/>
                    </a:lnTo>
                    <a:lnTo>
                      <a:pt x="248" y="387"/>
                    </a:lnTo>
                    <a:lnTo>
                      <a:pt x="248" y="377"/>
                    </a:lnTo>
                    <a:lnTo>
                      <a:pt x="263" y="362"/>
                    </a:lnTo>
                    <a:lnTo>
                      <a:pt x="269" y="357"/>
                    </a:lnTo>
                    <a:lnTo>
                      <a:pt x="259" y="344"/>
                    </a:lnTo>
                    <a:lnTo>
                      <a:pt x="254" y="326"/>
                    </a:lnTo>
                    <a:lnTo>
                      <a:pt x="259" y="318"/>
                    </a:lnTo>
                    <a:lnTo>
                      <a:pt x="280" y="339"/>
                    </a:lnTo>
                    <a:lnTo>
                      <a:pt x="298" y="347"/>
                    </a:lnTo>
                    <a:lnTo>
                      <a:pt x="298" y="329"/>
                    </a:lnTo>
                    <a:lnTo>
                      <a:pt x="287" y="308"/>
                    </a:lnTo>
                    <a:lnTo>
                      <a:pt x="263" y="279"/>
                    </a:lnTo>
                    <a:lnTo>
                      <a:pt x="238" y="240"/>
                    </a:lnTo>
                    <a:lnTo>
                      <a:pt x="236" y="221"/>
                    </a:lnTo>
                    <a:lnTo>
                      <a:pt x="233" y="203"/>
                    </a:lnTo>
                    <a:lnTo>
                      <a:pt x="229" y="185"/>
                    </a:lnTo>
                    <a:lnTo>
                      <a:pt x="226" y="167"/>
                    </a:lnTo>
                    <a:lnTo>
                      <a:pt x="244" y="162"/>
                    </a:lnTo>
                    <a:lnTo>
                      <a:pt x="241" y="174"/>
                    </a:lnTo>
                    <a:lnTo>
                      <a:pt x="256" y="192"/>
                    </a:lnTo>
                    <a:lnTo>
                      <a:pt x="266" y="192"/>
                    </a:lnTo>
                    <a:lnTo>
                      <a:pt x="263" y="203"/>
                    </a:lnTo>
                    <a:lnTo>
                      <a:pt x="313" y="252"/>
                    </a:lnTo>
                    <a:lnTo>
                      <a:pt x="314" y="243"/>
                    </a:lnTo>
                    <a:lnTo>
                      <a:pt x="305" y="221"/>
                    </a:lnTo>
                    <a:lnTo>
                      <a:pt x="320" y="216"/>
                    </a:lnTo>
                    <a:lnTo>
                      <a:pt x="343" y="225"/>
                    </a:lnTo>
                    <a:lnTo>
                      <a:pt x="356" y="243"/>
                    </a:lnTo>
                    <a:lnTo>
                      <a:pt x="359" y="231"/>
                    </a:lnTo>
                    <a:lnTo>
                      <a:pt x="341" y="210"/>
                    </a:lnTo>
                    <a:lnTo>
                      <a:pt x="343" y="200"/>
                    </a:lnTo>
                    <a:lnTo>
                      <a:pt x="356" y="195"/>
                    </a:lnTo>
                    <a:lnTo>
                      <a:pt x="390" y="210"/>
                    </a:lnTo>
                    <a:lnTo>
                      <a:pt x="399" y="205"/>
                    </a:lnTo>
                    <a:lnTo>
                      <a:pt x="396" y="189"/>
                    </a:lnTo>
                    <a:lnTo>
                      <a:pt x="381" y="180"/>
                    </a:lnTo>
                    <a:lnTo>
                      <a:pt x="356" y="169"/>
                    </a:lnTo>
                    <a:lnTo>
                      <a:pt x="341" y="156"/>
                    </a:lnTo>
                    <a:lnTo>
                      <a:pt x="338" y="146"/>
                    </a:lnTo>
                    <a:lnTo>
                      <a:pt x="343" y="135"/>
                    </a:lnTo>
                    <a:lnTo>
                      <a:pt x="378" y="131"/>
                    </a:lnTo>
                    <a:lnTo>
                      <a:pt x="414" y="120"/>
                    </a:lnTo>
                    <a:lnTo>
                      <a:pt x="439" y="123"/>
                    </a:lnTo>
                    <a:lnTo>
                      <a:pt x="484" y="113"/>
                    </a:lnTo>
                    <a:lnTo>
                      <a:pt x="493" y="108"/>
                    </a:lnTo>
                    <a:lnTo>
                      <a:pt x="523" y="120"/>
                    </a:lnTo>
                    <a:lnTo>
                      <a:pt x="549" y="134"/>
                    </a:lnTo>
                    <a:lnTo>
                      <a:pt x="562" y="105"/>
                    </a:lnTo>
                    <a:lnTo>
                      <a:pt x="585" y="75"/>
                    </a:lnTo>
                    <a:lnTo>
                      <a:pt x="592" y="66"/>
                    </a:lnTo>
                    <a:lnTo>
                      <a:pt x="595" y="12"/>
                    </a:lnTo>
                    <a:lnTo>
                      <a:pt x="592" y="8"/>
                    </a:lnTo>
                    <a:lnTo>
                      <a:pt x="580" y="0"/>
                    </a:lnTo>
                    <a:lnTo>
                      <a:pt x="565" y="0"/>
                    </a:lnTo>
                    <a:lnTo>
                      <a:pt x="556" y="8"/>
                    </a:lnTo>
                    <a:lnTo>
                      <a:pt x="556" y="28"/>
                    </a:lnTo>
                    <a:lnTo>
                      <a:pt x="559" y="44"/>
                    </a:lnTo>
                    <a:lnTo>
                      <a:pt x="538" y="48"/>
                    </a:lnTo>
                    <a:lnTo>
                      <a:pt x="523" y="59"/>
                    </a:lnTo>
                    <a:lnTo>
                      <a:pt x="513" y="62"/>
                    </a:lnTo>
                    <a:lnTo>
                      <a:pt x="480" y="54"/>
                    </a:lnTo>
                    <a:lnTo>
                      <a:pt x="468" y="46"/>
                    </a:lnTo>
                    <a:lnTo>
                      <a:pt x="450" y="57"/>
                    </a:lnTo>
                    <a:lnTo>
                      <a:pt x="424" y="28"/>
                    </a:lnTo>
                    <a:lnTo>
                      <a:pt x="396" y="48"/>
                    </a:lnTo>
                    <a:lnTo>
                      <a:pt x="375" y="62"/>
                    </a:lnTo>
                    <a:lnTo>
                      <a:pt x="353" y="72"/>
                    </a:lnTo>
                    <a:lnTo>
                      <a:pt x="320" y="77"/>
                    </a:lnTo>
                    <a:lnTo>
                      <a:pt x="298" y="84"/>
                    </a:lnTo>
                    <a:lnTo>
                      <a:pt x="280" y="84"/>
                    </a:lnTo>
                    <a:lnTo>
                      <a:pt x="271" y="87"/>
                    </a:lnTo>
                    <a:lnTo>
                      <a:pt x="254" y="108"/>
                    </a:lnTo>
                    <a:lnTo>
                      <a:pt x="238" y="108"/>
                    </a:lnTo>
                    <a:lnTo>
                      <a:pt x="212" y="113"/>
                    </a:lnTo>
                    <a:lnTo>
                      <a:pt x="187" y="110"/>
                    </a:lnTo>
                    <a:lnTo>
                      <a:pt x="175" y="134"/>
                    </a:lnTo>
                    <a:lnTo>
                      <a:pt x="154" y="135"/>
                    </a:lnTo>
                    <a:lnTo>
                      <a:pt x="136" y="134"/>
                    </a:lnTo>
                    <a:lnTo>
                      <a:pt x="121" y="131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81" name="Freeform 67">
                <a:extLst>
                  <a:ext uri="{FF2B5EF4-FFF2-40B4-BE49-F238E27FC236}">
                    <a16:creationId xmlns:a16="http://schemas.microsoft.com/office/drawing/2014/main" id="{4452FF8A-2510-1689-3CE6-F9F2EFF5A1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25840" y="2902575"/>
                <a:ext cx="70247" cy="52388"/>
              </a:xfrm>
              <a:custGeom>
                <a:avLst/>
                <a:gdLst>
                  <a:gd name="T0" fmla="*/ 8227 w 148"/>
                  <a:gd name="T1" fmla="*/ 0 h 121"/>
                  <a:gd name="T2" fmla="*/ 0 w 148"/>
                  <a:gd name="T3" fmla="*/ 5773 h 121"/>
                  <a:gd name="T4" fmla="*/ 10126 w 148"/>
                  <a:gd name="T5" fmla="*/ 20782 h 121"/>
                  <a:gd name="T6" fmla="*/ 21517 w 148"/>
                  <a:gd name="T7" fmla="*/ 24245 h 121"/>
                  <a:gd name="T8" fmla="*/ 34174 w 148"/>
                  <a:gd name="T9" fmla="*/ 36945 h 121"/>
                  <a:gd name="T10" fmla="*/ 45565 w 148"/>
                  <a:gd name="T11" fmla="*/ 43295 h 121"/>
                  <a:gd name="T12" fmla="*/ 65184 w 148"/>
                  <a:gd name="T13" fmla="*/ 55995 h 121"/>
                  <a:gd name="T14" fmla="*/ 76575 w 148"/>
                  <a:gd name="T15" fmla="*/ 60614 h 121"/>
                  <a:gd name="T16" fmla="*/ 90498 w 148"/>
                  <a:gd name="T17" fmla="*/ 69850 h 121"/>
                  <a:gd name="T18" fmla="*/ 93662 w 148"/>
                  <a:gd name="T19" fmla="*/ 64655 h 121"/>
                  <a:gd name="T20" fmla="*/ 65184 w 148"/>
                  <a:gd name="T21" fmla="*/ 45027 h 121"/>
                  <a:gd name="T22" fmla="*/ 63285 w 148"/>
                  <a:gd name="T23" fmla="*/ 35214 h 121"/>
                  <a:gd name="T24" fmla="*/ 59488 w 148"/>
                  <a:gd name="T25" fmla="*/ 26555 h 121"/>
                  <a:gd name="T26" fmla="*/ 47464 w 148"/>
                  <a:gd name="T27" fmla="*/ 16164 h 121"/>
                  <a:gd name="T28" fmla="*/ 44300 w 148"/>
                  <a:gd name="T29" fmla="*/ 17895 h 121"/>
                  <a:gd name="T30" fmla="*/ 28478 w 148"/>
                  <a:gd name="T31" fmla="*/ 7505 h 121"/>
                  <a:gd name="T32" fmla="*/ 19618 w 148"/>
                  <a:gd name="T33" fmla="*/ 3464 h 121"/>
                  <a:gd name="T34" fmla="*/ 8227 w 148"/>
                  <a:gd name="T35" fmla="*/ 0 h 12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48" h="121">
                    <a:moveTo>
                      <a:pt x="13" y="0"/>
                    </a:moveTo>
                    <a:lnTo>
                      <a:pt x="0" y="10"/>
                    </a:lnTo>
                    <a:lnTo>
                      <a:pt x="16" y="36"/>
                    </a:lnTo>
                    <a:lnTo>
                      <a:pt x="34" y="42"/>
                    </a:lnTo>
                    <a:lnTo>
                      <a:pt x="54" y="64"/>
                    </a:lnTo>
                    <a:lnTo>
                      <a:pt x="72" y="75"/>
                    </a:lnTo>
                    <a:lnTo>
                      <a:pt x="103" y="97"/>
                    </a:lnTo>
                    <a:lnTo>
                      <a:pt x="121" y="105"/>
                    </a:lnTo>
                    <a:lnTo>
                      <a:pt x="143" y="121"/>
                    </a:lnTo>
                    <a:lnTo>
                      <a:pt x="148" y="112"/>
                    </a:lnTo>
                    <a:lnTo>
                      <a:pt x="103" y="78"/>
                    </a:lnTo>
                    <a:lnTo>
                      <a:pt x="100" y="61"/>
                    </a:lnTo>
                    <a:lnTo>
                      <a:pt x="94" y="46"/>
                    </a:lnTo>
                    <a:lnTo>
                      <a:pt x="75" y="28"/>
                    </a:lnTo>
                    <a:lnTo>
                      <a:pt x="70" y="31"/>
                    </a:lnTo>
                    <a:lnTo>
                      <a:pt x="45" y="13"/>
                    </a:lnTo>
                    <a:lnTo>
                      <a:pt x="31" y="6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82" name="Freeform 68">
                <a:extLst>
                  <a:ext uri="{FF2B5EF4-FFF2-40B4-BE49-F238E27FC236}">
                    <a16:creationId xmlns:a16="http://schemas.microsoft.com/office/drawing/2014/main" id="{444261A8-E52C-3803-B83D-91FF6531C40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85285" y="2662069"/>
                <a:ext cx="44053" cy="75009"/>
              </a:xfrm>
              <a:custGeom>
                <a:avLst/>
                <a:gdLst>
                  <a:gd name="T0" fmla="*/ 58737 w 94"/>
                  <a:gd name="T1" fmla="*/ 0 h 169"/>
                  <a:gd name="T2" fmla="*/ 39991 w 94"/>
                  <a:gd name="T3" fmla="*/ 21304 h 169"/>
                  <a:gd name="T4" fmla="*/ 17496 w 94"/>
                  <a:gd name="T5" fmla="*/ 21304 h 169"/>
                  <a:gd name="T6" fmla="*/ 0 w 94"/>
                  <a:gd name="T7" fmla="*/ 33732 h 169"/>
                  <a:gd name="T8" fmla="*/ 3749 w 94"/>
                  <a:gd name="T9" fmla="*/ 50894 h 169"/>
                  <a:gd name="T10" fmla="*/ 3749 w 94"/>
                  <a:gd name="T11" fmla="*/ 78708 h 169"/>
                  <a:gd name="T12" fmla="*/ 17496 w 94"/>
                  <a:gd name="T13" fmla="*/ 100012 h 169"/>
                  <a:gd name="T14" fmla="*/ 33118 w 94"/>
                  <a:gd name="T15" fmla="*/ 94094 h 169"/>
                  <a:gd name="T16" fmla="*/ 36242 w 94"/>
                  <a:gd name="T17" fmla="*/ 82258 h 169"/>
                  <a:gd name="T18" fmla="*/ 52488 w 94"/>
                  <a:gd name="T19" fmla="*/ 54444 h 169"/>
                  <a:gd name="T20" fmla="*/ 52488 w 94"/>
                  <a:gd name="T21" fmla="*/ 39650 h 169"/>
                  <a:gd name="T22" fmla="*/ 58737 w 94"/>
                  <a:gd name="T23" fmla="*/ 0 h 16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94" h="169">
                    <a:moveTo>
                      <a:pt x="94" y="0"/>
                    </a:moveTo>
                    <a:lnTo>
                      <a:pt x="64" y="36"/>
                    </a:lnTo>
                    <a:lnTo>
                      <a:pt x="28" y="36"/>
                    </a:lnTo>
                    <a:lnTo>
                      <a:pt x="0" y="57"/>
                    </a:lnTo>
                    <a:lnTo>
                      <a:pt x="6" y="86"/>
                    </a:lnTo>
                    <a:lnTo>
                      <a:pt x="6" y="133"/>
                    </a:lnTo>
                    <a:lnTo>
                      <a:pt x="28" y="169"/>
                    </a:lnTo>
                    <a:lnTo>
                      <a:pt x="53" y="159"/>
                    </a:lnTo>
                    <a:lnTo>
                      <a:pt x="58" y="139"/>
                    </a:lnTo>
                    <a:lnTo>
                      <a:pt x="84" y="92"/>
                    </a:lnTo>
                    <a:lnTo>
                      <a:pt x="84" y="67"/>
                    </a:lnTo>
                    <a:lnTo>
                      <a:pt x="94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83" name="Freeform 69">
                <a:extLst>
                  <a:ext uri="{FF2B5EF4-FFF2-40B4-BE49-F238E27FC236}">
                    <a16:creationId xmlns:a16="http://schemas.microsoft.com/office/drawing/2014/main" id="{9127EF67-4B6A-0FE6-3814-ADE96EE47B8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29274" y="2188200"/>
                <a:ext cx="500063" cy="451247"/>
              </a:xfrm>
              <a:custGeom>
                <a:avLst/>
                <a:gdLst>
                  <a:gd name="T0" fmla="*/ 9471 w 1056"/>
                  <a:gd name="T1" fmla="*/ 117184 h 1032"/>
                  <a:gd name="T2" fmla="*/ 11365 w 1056"/>
                  <a:gd name="T3" fmla="*/ 140504 h 1032"/>
                  <a:gd name="T4" fmla="*/ 64402 w 1056"/>
                  <a:gd name="T5" fmla="*/ 178400 h 1032"/>
                  <a:gd name="T6" fmla="*/ 106074 w 1056"/>
                  <a:gd name="T7" fmla="*/ 201720 h 1032"/>
                  <a:gd name="T8" fmla="*/ 102286 w 1056"/>
                  <a:gd name="T9" fmla="*/ 233785 h 1032"/>
                  <a:gd name="T10" fmla="*/ 126278 w 1056"/>
                  <a:gd name="T11" fmla="*/ 281592 h 1032"/>
                  <a:gd name="T12" fmla="*/ 137643 w 1056"/>
                  <a:gd name="T13" fmla="*/ 345722 h 1032"/>
                  <a:gd name="T14" fmla="*/ 114913 w 1056"/>
                  <a:gd name="T15" fmla="*/ 345722 h 1032"/>
                  <a:gd name="T16" fmla="*/ 100391 w 1056"/>
                  <a:gd name="T17" fmla="*/ 378954 h 1032"/>
                  <a:gd name="T18" fmla="*/ 85238 w 1056"/>
                  <a:gd name="T19" fmla="*/ 412185 h 1032"/>
                  <a:gd name="T20" fmla="*/ 49880 w 1056"/>
                  <a:gd name="T21" fmla="*/ 469903 h 1032"/>
                  <a:gd name="T22" fmla="*/ 51143 w 1056"/>
                  <a:gd name="T23" fmla="*/ 498470 h 1032"/>
                  <a:gd name="T24" fmla="*/ 140169 w 1056"/>
                  <a:gd name="T25" fmla="*/ 552107 h 1032"/>
                  <a:gd name="T26" fmla="*/ 217199 w 1056"/>
                  <a:gd name="T27" fmla="*/ 585338 h 1032"/>
                  <a:gd name="T28" fmla="*/ 283495 w 1056"/>
                  <a:gd name="T29" fmla="*/ 601662 h 1032"/>
                  <a:gd name="T30" fmla="*/ 308119 w 1056"/>
                  <a:gd name="T31" fmla="*/ 555605 h 1032"/>
                  <a:gd name="T32" fmla="*/ 368102 w 1056"/>
                  <a:gd name="T33" fmla="*/ 535199 h 1032"/>
                  <a:gd name="T34" fmla="*/ 411668 w 1056"/>
                  <a:gd name="T35" fmla="*/ 556188 h 1032"/>
                  <a:gd name="T36" fmla="*/ 472281 w 1056"/>
                  <a:gd name="T37" fmla="*/ 585338 h 1032"/>
                  <a:gd name="T38" fmla="*/ 527212 w 1056"/>
                  <a:gd name="T39" fmla="*/ 573095 h 1032"/>
                  <a:gd name="T40" fmla="*/ 567621 w 1056"/>
                  <a:gd name="T41" fmla="*/ 534616 h 1032"/>
                  <a:gd name="T42" fmla="*/ 542997 w 1056"/>
                  <a:gd name="T43" fmla="*/ 517709 h 1032"/>
                  <a:gd name="T44" fmla="*/ 538577 w 1056"/>
                  <a:gd name="T45" fmla="*/ 462907 h 1032"/>
                  <a:gd name="T46" fmla="*/ 554362 w 1056"/>
                  <a:gd name="T47" fmla="*/ 412185 h 1032"/>
                  <a:gd name="T48" fmla="*/ 554362 w 1056"/>
                  <a:gd name="T49" fmla="*/ 365545 h 1032"/>
                  <a:gd name="T50" fmla="*/ 525318 w 1056"/>
                  <a:gd name="T51" fmla="*/ 366711 h 1032"/>
                  <a:gd name="T52" fmla="*/ 512059 w 1056"/>
                  <a:gd name="T53" fmla="*/ 359715 h 1032"/>
                  <a:gd name="T54" fmla="*/ 542997 w 1056"/>
                  <a:gd name="T55" fmla="*/ 326483 h 1032"/>
                  <a:gd name="T56" fmla="*/ 589720 w 1056"/>
                  <a:gd name="T57" fmla="*/ 284507 h 1032"/>
                  <a:gd name="T58" fmla="*/ 615607 w 1056"/>
                  <a:gd name="T59" fmla="*/ 263519 h 1032"/>
                  <a:gd name="T60" fmla="*/ 634549 w 1056"/>
                  <a:gd name="T61" fmla="*/ 223291 h 1032"/>
                  <a:gd name="T62" fmla="*/ 666750 w 1056"/>
                  <a:gd name="T63" fmla="*/ 188894 h 1032"/>
                  <a:gd name="T64" fmla="*/ 628235 w 1056"/>
                  <a:gd name="T65" fmla="*/ 171987 h 1032"/>
                  <a:gd name="T66" fmla="*/ 582143 w 1056"/>
                  <a:gd name="T67" fmla="*/ 157412 h 1032"/>
                  <a:gd name="T68" fmla="*/ 550574 w 1056"/>
                  <a:gd name="T69" fmla="*/ 131759 h 1032"/>
                  <a:gd name="T70" fmla="*/ 507008 w 1056"/>
                  <a:gd name="T71" fmla="*/ 96196 h 1032"/>
                  <a:gd name="T72" fmla="*/ 470387 w 1056"/>
                  <a:gd name="T73" fmla="*/ 61216 h 1032"/>
                  <a:gd name="T74" fmla="*/ 444500 w 1056"/>
                  <a:gd name="T75" fmla="*/ 24486 h 1032"/>
                  <a:gd name="T76" fmla="*/ 387675 w 1056"/>
                  <a:gd name="T77" fmla="*/ 1749 h 1032"/>
                  <a:gd name="T78" fmla="*/ 363050 w 1056"/>
                  <a:gd name="T79" fmla="*/ 28567 h 1032"/>
                  <a:gd name="T80" fmla="*/ 277181 w 1056"/>
                  <a:gd name="T81" fmla="*/ 70544 h 1032"/>
                  <a:gd name="T82" fmla="*/ 232352 w 1056"/>
                  <a:gd name="T83" fmla="*/ 83953 h 1032"/>
                  <a:gd name="T84" fmla="*/ 191943 w 1056"/>
                  <a:gd name="T85" fmla="*/ 62965 h 1032"/>
                  <a:gd name="T86" fmla="*/ 173633 w 1056"/>
                  <a:gd name="T87" fmla="*/ 45474 h 1032"/>
                  <a:gd name="T88" fmla="*/ 178684 w 1056"/>
                  <a:gd name="T89" fmla="*/ 67046 h 1032"/>
                  <a:gd name="T90" fmla="*/ 173001 w 1056"/>
                  <a:gd name="T91" fmla="*/ 91532 h 1032"/>
                  <a:gd name="T92" fmla="*/ 158479 w 1056"/>
                  <a:gd name="T93" fmla="*/ 110771 h 1032"/>
                  <a:gd name="T94" fmla="*/ 123121 w 1056"/>
                  <a:gd name="T95" fmla="*/ 102026 h 1032"/>
                  <a:gd name="T96" fmla="*/ 80818 w 1056"/>
                  <a:gd name="T97" fmla="*/ 77540 h 1032"/>
                  <a:gd name="T98" fmla="*/ 51143 w 1056"/>
                  <a:gd name="T99" fmla="*/ 87451 h 103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1056" h="1032">
                    <a:moveTo>
                      <a:pt x="18" y="147"/>
                    </a:moveTo>
                    <a:lnTo>
                      <a:pt x="27" y="172"/>
                    </a:lnTo>
                    <a:lnTo>
                      <a:pt x="18" y="193"/>
                    </a:lnTo>
                    <a:lnTo>
                      <a:pt x="15" y="201"/>
                    </a:lnTo>
                    <a:lnTo>
                      <a:pt x="0" y="195"/>
                    </a:lnTo>
                    <a:lnTo>
                      <a:pt x="5" y="208"/>
                    </a:lnTo>
                    <a:lnTo>
                      <a:pt x="5" y="220"/>
                    </a:lnTo>
                    <a:lnTo>
                      <a:pt x="18" y="241"/>
                    </a:lnTo>
                    <a:lnTo>
                      <a:pt x="41" y="234"/>
                    </a:lnTo>
                    <a:lnTo>
                      <a:pt x="72" y="267"/>
                    </a:lnTo>
                    <a:lnTo>
                      <a:pt x="84" y="289"/>
                    </a:lnTo>
                    <a:lnTo>
                      <a:pt x="102" y="306"/>
                    </a:lnTo>
                    <a:lnTo>
                      <a:pt x="126" y="306"/>
                    </a:lnTo>
                    <a:lnTo>
                      <a:pt x="135" y="325"/>
                    </a:lnTo>
                    <a:lnTo>
                      <a:pt x="156" y="343"/>
                    </a:lnTo>
                    <a:lnTo>
                      <a:pt x="168" y="346"/>
                    </a:lnTo>
                    <a:lnTo>
                      <a:pt x="171" y="354"/>
                    </a:lnTo>
                    <a:lnTo>
                      <a:pt x="164" y="371"/>
                    </a:lnTo>
                    <a:lnTo>
                      <a:pt x="164" y="386"/>
                    </a:lnTo>
                    <a:lnTo>
                      <a:pt x="162" y="401"/>
                    </a:lnTo>
                    <a:lnTo>
                      <a:pt x="156" y="428"/>
                    </a:lnTo>
                    <a:lnTo>
                      <a:pt x="177" y="452"/>
                    </a:lnTo>
                    <a:lnTo>
                      <a:pt x="200" y="470"/>
                    </a:lnTo>
                    <a:lnTo>
                      <a:pt x="200" y="483"/>
                    </a:lnTo>
                    <a:lnTo>
                      <a:pt x="198" y="527"/>
                    </a:lnTo>
                    <a:lnTo>
                      <a:pt x="192" y="563"/>
                    </a:lnTo>
                    <a:lnTo>
                      <a:pt x="198" y="578"/>
                    </a:lnTo>
                    <a:lnTo>
                      <a:pt x="218" y="593"/>
                    </a:lnTo>
                    <a:lnTo>
                      <a:pt x="218" y="624"/>
                    </a:lnTo>
                    <a:lnTo>
                      <a:pt x="218" y="645"/>
                    </a:lnTo>
                    <a:lnTo>
                      <a:pt x="195" y="614"/>
                    </a:lnTo>
                    <a:lnTo>
                      <a:pt x="182" y="593"/>
                    </a:lnTo>
                    <a:lnTo>
                      <a:pt x="174" y="599"/>
                    </a:lnTo>
                    <a:lnTo>
                      <a:pt x="180" y="614"/>
                    </a:lnTo>
                    <a:lnTo>
                      <a:pt x="171" y="632"/>
                    </a:lnTo>
                    <a:lnTo>
                      <a:pt x="159" y="650"/>
                    </a:lnTo>
                    <a:lnTo>
                      <a:pt x="150" y="663"/>
                    </a:lnTo>
                    <a:lnTo>
                      <a:pt x="162" y="675"/>
                    </a:lnTo>
                    <a:lnTo>
                      <a:pt x="153" y="689"/>
                    </a:lnTo>
                    <a:lnTo>
                      <a:pt x="135" y="707"/>
                    </a:lnTo>
                    <a:lnTo>
                      <a:pt x="133" y="722"/>
                    </a:lnTo>
                    <a:lnTo>
                      <a:pt x="123" y="740"/>
                    </a:lnTo>
                    <a:lnTo>
                      <a:pt x="95" y="773"/>
                    </a:lnTo>
                    <a:lnTo>
                      <a:pt x="79" y="806"/>
                    </a:lnTo>
                    <a:lnTo>
                      <a:pt x="79" y="812"/>
                    </a:lnTo>
                    <a:lnTo>
                      <a:pt x="87" y="822"/>
                    </a:lnTo>
                    <a:lnTo>
                      <a:pt x="77" y="837"/>
                    </a:lnTo>
                    <a:lnTo>
                      <a:pt x="81" y="855"/>
                    </a:lnTo>
                    <a:lnTo>
                      <a:pt x="97" y="878"/>
                    </a:lnTo>
                    <a:lnTo>
                      <a:pt x="162" y="914"/>
                    </a:lnTo>
                    <a:lnTo>
                      <a:pt x="207" y="953"/>
                    </a:lnTo>
                    <a:lnTo>
                      <a:pt x="222" y="947"/>
                    </a:lnTo>
                    <a:lnTo>
                      <a:pt x="246" y="939"/>
                    </a:lnTo>
                    <a:lnTo>
                      <a:pt x="326" y="972"/>
                    </a:lnTo>
                    <a:lnTo>
                      <a:pt x="337" y="983"/>
                    </a:lnTo>
                    <a:lnTo>
                      <a:pt x="344" y="1004"/>
                    </a:lnTo>
                    <a:lnTo>
                      <a:pt x="358" y="1011"/>
                    </a:lnTo>
                    <a:lnTo>
                      <a:pt x="376" y="1014"/>
                    </a:lnTo>
                    <a:lnTo>
                      <a:pt x="404" y="1029"/>
                    </a:lnTo>
                    <a:lnTo>
                      <a:pt x="449" y="1032"/>
                    </a:lnTo>
                    <a:lnTo>
                      <a:pt x="463" y="1014"/>
                    </a:lnTo>
                    <a:lnTo>
                      <a:pt x="467" y="993"/>
                    </a:lnTo>
                    <a:lnTo>
                      <a:pt x="467" y="971"/>
                    </a:lnTo>
                    <a:lnTo>
                      <a:pt x="488" y="953"/>
                    </a:lnTo>
                    <a:lnTo>
                      <a:pt x="527" y="932"/>
                    </a:lnTo>
                    <a:lnTo>
                      <a:pt x="545" y="929"/>
                    </a:lnTo>
                    <a:lnTo>
                      <a:pt x="565" y="918"/>
                    </a:lnTo>
                    <a:lnTo>
                      <a:pt x="583" y="918"/>
                    </a:lnTo>
                    <a:lnTo>
                      <a:pt x="604" y="932"/>
                    </a:lnTo>
                    <a:lnTo>
                      <a:pt x="619" y="950"/>
                    </a:lnTo>
                    <a:lnTo>
                      <a:pt x="637" y="950"/>
                    </a:lnTo>
                    <a:lnTo>
                      <a:pt x="652" y="954"/>
                    </a:lnTo>
                    <a:lnTo>
                      <a:pt x="683" y="957"/>
                    </a:lnTo>
                    <a:lnTo>
                      <a:pt x="704" y="983"/>
                    </a:lnTo>
                    <a:lnTo>
                      <a:pt x="722" y="996"/>
                    </a:lnTo>
                    <a:lnTo>
                      <a:pt x="748" y="1004"/>
                    </a:lnTo>
                    <a:lnTo>
                      <a:pt x="770" y="1017"/>
                    </a:lnTo>
                    <a:lnTo>
                      <a:pt x="782" y="1019"/>
                    </a:lnTo>
                    <a:lnTo>
                      <a:pt x="814" y="988"/>
                    </a:lnTo>
                    <a:lnTo>
                      <a:pt x="835" y="983"/>
                    </a:lnTo>
                    <a:lnTo>
                      <a:pt x="850" y="971"/>
                    </a:lnTo>
                    <a:lnTo>
                      <a:pt x="872" y="954"/>
                    </a:lnTo>
                    <a:lnTo>
                      <a:pt x="901" y="953"/>
                    </a:lnTo>
                    <a:lnTo>
                      <a:pt x="899" y="917"/>
                    </a:lnTo>
                    <a:lnTo>
                      <a:pt x="893" y="906"/>
                    </a:lnTo>
                    <a:lnTo>
                      <a:pt x="881" y="888"/>
                    </a:lnTo>
                    <a:lnTo>
                      <a:pt x="871" y="891"/>
                    </a:lnTo>
                    <a:lnTo>
                      <a:pt x="860" y="888"/>
                    </a:lnTo>
                    <a:lnTo>
                      <a:pt x="850" y="873"/>
                    </a:lnTo>
                    <a:lnTo>
                      <a:pt x="847" y="837"/>
                    </a:lnTo>
                    <a:lnTo>
                      <a:pt x="868" y="813"/>
                    </a:lnTo>
                    <a:lnTo>
                      <a:pt x="853" y="794"/>
                    </a:lnTo>
                    <a:lnTo>
                      <a:pt x="853" y="786"/>
                    </a:lnTo>
                    <a:lnTo>
                      <a:pt x="883" y="755"/>
                    </a:lnTo>
                    <a:lnTo>
                      <a:pt x="883" y="744"/>
                    </a:lnTo>
                    <a:lnTo>
                      <a:pt x="878" y="707"/>
                    </a:lnTo>
                    <a:lnTo>
                      <a:pt x="896" y="689"/>
                    </a:lnTo>
                    <a:lnTo>
                      <a:pt x="881" y="668"/>
                    </a:lnTo>
                    <a:lnTo>
                      <a:pt x="881" y="653"/>
                    </a:lnTo>
                    <a:lnTo>
                      <a:pt x="878" y="627"/>
                    </a:lnTo>
                    <a:lnTo>
                      <a:pt x="871" y="620"/>
                    </a:lnTo>
                    <a:lnTo>
                      <a:pt x="853" y="620"/>
                    </a:lnTo>
                    <a:lnTo>
                      <a:pt x="836" y="624"/>
                    </a:lnTo>
                    <a:lnTo>
                      <a:pt x="832" y="629"/>
                    </a:lnTo>
                    <a:lnTo>
                      <a:pt x="821" y="639"/>
                    </a:lnTo>
                    <a:lnTo>
                      <a:pt x="806" y="645"/>
                    </a:lnTo>
                    <a:lnTo>
                      <a:pt x="800" y="629"/>
                    </a:lnTo>
                    <a:lnTo>
                      <a:pt x="811" y="617"/>
                    </a:lnTo>
                    <a:lnTo>
                      <a:pt x="817" y="606"/>
                    </a:lnTo>
                    <a:lnTo>
                      <a:pt x="817" y="593"/>
                    </a:lnTo>
                    <a:lnTo>
                      <a:pt x="845" y="566"/>
                    </a:lnTo>
                    <a:lnTo>
                      <a:pt x="860" y="560"/>
                    </a:lnTo>
                    <a:lnTo>
                      <a:pt x="863" y="540"/>
                    </a:lnTo>
                    <a:lnTo>
                      <a:pt x="878" y="522"/>
                    </a:lnTo>
                    <a:lnTo>
                      <a:pt x="922" y="488"/>
                    </a:lnTo>
                    <a:lnTo>
                      <a:pt x="934" y="488"/>
                    </a:lnTo>
                    <a:lnTo>
                      <a:pt x="940" y="476"/>
                    </a:lnTo>
                    <a:lnTo>
                      <a:pt x="955" y="461"/>
                    </a:lnTo>
                    <a:lnTo>
                      <a:pt x="968" y="461"/>
                    </a:lnTo>
                    <a:lnTo>
                      <a:pt x="975" y="452"/>
                    </a:lnTo>
                    <a:lnTo>
                      <a:pt x="981" y="447"/>
                    </a:lnTo>
                    <a:lnTo>
                      <a:pt x="993" y="429"/>
                    </a:lnTo>
                    <a:lnTo>
                      <a:pt x="1002" y="401"/>
                    </a:lnTo>
                    <a:lnTo>
                      <a:pt x="1005" y="383"/>
                    </a:lnTo>
                    <a:lnTo>
                      <a:pt x="1005" y="368"/>
                    </a:lnTo>
                    <a:lnTo>
                      <a:pt x="1020" y="349"/>
                    </a:lnTo>
                    <a:lnTo>
                      <a:pt x="1044" y="336"/>
                    </a:lnTo>
                    <a:lnTo>
                      <a:pt x="1056" y="324"/>
                    </a:lnTo>
                    <a:lnTo>
                      <a:pt x="1056" y="318"/>
                    </a:lnTo>
                    <a:lnTo>
                      <a:pt x="1035" y="303"/>
                    </a:lnTo>
                    <a:lnTo>
                      <a:pt x="1026" y="298"/>
                    </a:lnTo>
                    <a:lnTo>
                      <a:pt x="995" y="295"/>
                    </a:lnTo>
                    <a:lnTo>
                      <a:pt x="959" y="289"/>
                    </a:lnTo>
                    <a:lnTo>
                      <a:pt x="947" y="288"/>
                    </a:lnTo>
                    <a:lnTo>
                      <a:pt x="934" y="282"/>
                    </a:lnTo>
                    <a:lnTo>
                      <a:pt x="922" y="270"/>
                    </a:lnTo>
                    <a:lnTo>
                      <a:pt x="911" y="249"/>
                    </a:lnTo>
                    <a:lnTo>
                      <a:pt x="901" y="237"/>
                    </a:lnTo>
                    <a:lnTo>
                      <a:pt x="887" y="231"/>
                    </a:lnTo>
                    <a:lnTo>
                      <a:pt x="872" y="226"/>
                    </a:lnTo>
                    <a:lnTo>
                      <a:pt x="865" y="223"/>
                    </a:lnTo>
                    <a:lnTo>
                      <a:pt x="845" y="205"/>
                    </a:lnTo>
                    <a:lnTo>
                      <a:pt x="818" y="184"/>
                    </a:lnTo>
                    <a:lnTo>
                      <a:pt x="803" y="165"/>
                    </a:lnTo>
                    <a:lnTo>
                      <a:pt x="785" y="159"/>
                    </a:lnTo>
                    <a:lnTo>
                      <a:pt x="775" y="151"/>
                    </a:lnTo>
                    <a:lnTo>
                      <a:pt x="767" y="132"/>
                    </a:lnTo>
                    <a:lnTo>
                      <a:pt x="745" y="105"/>
                    </a:lnTo>
                    <a:lnTo>
                      <a:pt x="740" y="87"/>
                    </a:lnTo>
                    <a:lnTo>
                      <a:pt x="722" y="69"/>
                    </a:lnTo>
                    <a:lnTo>
                      <a:pt x="713" y="54"/>
                    </a:lnTo>
                    <a:lnTo>
                      <a:pt x="704" y="42"/>
                    </a:lnTo>
                    <a:lnTo>
                      <a:pt x="686" y="28"/>
                    </a:lnTo>
                    <a:lnTo>
                      <a:pt x="668" y="9"/>
                    </a:lnTo>
                    <a:lnTo>
                      <a:pt x="652" y="0"/>
                    </a:lnTo>
                    <a:lnTo>
                      <a:pt x="614" y="3"/>
                    </a:lnTo>
                    <a:lnTo>
                      <a:pt x="598" y="3"/>
                    </a:lnTo>
                    <a:lnTo>
                      <a:pt x="578" y="18"/>
                    </a:lnTo>
                    <a:lnTo>
                      <a:pt x="590" y="31"/>
                    </a:lnTo>
                    <a:lnTo>
                      <a:pt x="575" y="49"/>
                    </a:lnTo>
                    <a:lnTo>
                      <a:pt x="536" y="97"/>
                    </a:lnTo>
                    <a:lnTo>
                      <a:pt x="517" y="108"/>
                    </a:lnTo>
                    <a:lnTo>
                      <a:pt x="463" y="114"/>
                    </a:lnTo>
                    <a:lnTo>
                      <a:pt x="439" y="121"/>
                    </a:lnTo>
                    <a:lnTo>
                      <a:pt x="427" y="133"/>
                    </a:lnTo>
                    <a:lnTo>
                      <a:pt x="421" y="144"/>
                    </a:lnTo>
                    <a:lnTo>
                      <a:pt x="401" y="139"/>
                    </a:lnTo>
                    <a:lnTo>
                      <a:pt x="368" y="144"/>
                    </a:lnTo>
                    <a:lnTo>
                      <a:pt x="347" y="141"/>
                    </a:lnTo>
                    <a:lnTo>
                      <a:pt x="329" y="129"/>
                    </a:lnTo>
                    <a:lnTo>
                      <a:pt x="316" y="114"/>
                    </a:lnTo>
                    <a:lnTo>
                      <a:pt x="304" y="108"/>
                    </a:lnTo>
                    <a:lnTo>
                      <a:pt x="314" y="96"/>
                    </a:lnTo>
                    <a:lnTo>
                      <a:pt x="298" y="82"/>
                    </a:lnTo>
                    <a:lnTo>
                      <a:pt x="286" y="79"/>
                    </a:lnTo>
                    <a:lnTo>
                      <a:pt x="275" y="78"/>
                    </a:lnTo>
                    <a:lnTo>
                      <a:pt x="274" y="82"/>
                    </a:lnTo>
                    <a:lnTo>
                      <a:pt x="283" y="93"/>
                    </a:lnTo>
                    <a:lnTo>
                      <a:pt x="278" y="100"/>
                    </a:lnTo>
                    <a:lnTo>
                      <a:pt x="283" y="115"/>
                    </a:lnTo>
                    <a:lnTo>
                      <a:pt x="286" y="133"/>
                    </a:lnTo>
                    <a:lnTo>
                      <a:pt x="286" y="147"/>
                    </a:lnTo>
                    <a:lnTo>
                      <a:pt x="283" y="150"/>
                    </a:lnTo>
                    <a:lnTo>
                      <a:pt x="274" y="157"/>
                    </a:lnTo>
                    <a:lnTo>
                      <a:pt x="271" y="169"/>
                    </a:lnTo>
                    <a:lnTo>
                      <a:pt x="271" y="183"/>
                    </a:lnTo>
                    <a:lnTo>
                      <a:pt x="268" y="193"/>
                    </a:lnTo>
                    <a:lnTo>
                      <a:pt x="251" y="190"/>
                    </a:lnTo>
                    <a:lnTo>
                      <a:pt x="233" y="180"/>
                    </a:lnTo>
                    <a:lnTo>
                      <a:pt x="222" y="190"/>
                    </a:lnTo>
                    <a:lnTo>
                      <a:pt x="204" y="177"/>
                    </a:lnTo>
                    <a:lnTo>
                      <a:pt x="195" y="175"/>
                    </a:lnTo>
                    <a:lnTo>
                      <a:pt x="182" y="184"/>
                    </a:lnTo>
                    <a:lnTo>
                      <a:pt x="171" y="183"/>
                    </a:lnTo>
                    <a:lnTo>
                      <a:pt x="171" y="175"/>
                    </a:lnTo>
                    <a:lnTo>
                      <a:pt x="128" y="133"/>
                    </a:lnTo>
                    <a:lnTo>
                      <a:pt x="117" y="132"/>
                    </a:lnTo>
                    <a:lnTo>
                      <a:pt x="110" y="139"/>
                    </a:lnTo>
                    <a:lnTo>
                      <a:pt x="92" y="147"/>
                    </a:lnTo>
                    <a:lnTo>
                      <a:pt x="81" y="150"/>
                    </a:lnTo>
                    <a:lnTo>
                      <a:pt x="69" y="136"/>
                    </a:lnTo>
                    <a:lnTo>
                      <a:pt x="38" y="136"/>
                    </a:lnTo>
                    <a:lnTo>
                      <a:pt x="18" y="147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84" name="Freeform 70">
                <a:extLst>
                  <a:ext uri="{FF2B5EF4-FFF2-40B4-BE49-F238E27FC236}">
                    <a16:creationId xmlns:a16="http://schemas.microsoft.com/office/drawing/2014/main" id="{BB4BFD69-06E8-450D-D590-8D7428955C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04397" y="1884591"/>
                <a:ext cx="242888" cy="116681"/>
              </a:xfrm>
              <a:custGeom>
                <a:avLst/>
                <a:gdLst>
                  <a:gd name="T0" fmla="*/ 79542 w 513"/>
                  <a:gd name="T1" fmla="*/ 52245 h 268"/>
                  <a:gd name="T2" fmla="*/ 72598 w 513"/>
                  <a:gd name="T3" fmla="*/ 31347 h 268"/>
                  <a:gd name="T4" fmla="*/ 51765 w 513"/>
                  <a:gd name="T5" fmla="*/ 20898 h 268"/>
                  <a:gd name="T6" fmla="*/ 29039 w 513"/>
                  <a:gd name="T7" fmla="*/ 36572 h 268"/>
                  <a:gd name="T8" fmla="*/ 15151 w 513"/>
                  <a:gd name="T9" fmla="*/ 71402 h 268"/>
                  <a:gd name="T10" fmla="*/ 11363 w 513"/>
                  <a:gd name="T11" fmla="*/ 83593 h 268"/>
                  <a:gd name="T12" fmla="*/ 0 w 513"/>
                  <a:gd name="T13" fmla="*/ 95203 h 268"/>
                  <a:gd name="T14" fmla="*/ 3788 w 513"/>
                  <a:gd name="T15" fmla="*/ 119584 h 268"/>
                  <a:gd name="T16" fmla="*/ 13257 w 513"/>
                  <a:gd name="T17" fmla="*/ 135257 h 268"/>
                  <a:gd name="T18" fmla="*/ 42296 w 513"/>
                  <a:gd name="T19" fmla="*/ 121906 h 268"/>
                  <a:gd name="T20" fmla="*/ 61235 w 513"/>
                  <a:gd name="T21" fmla="*/ 119584 h 268"/>
                  <a:gd name="T22" fmla="*/ 85855 w 513"/>
                  <a:gd name="T23" fmla="*/ 125389 h 268"/>
                  <a:gd name="T24" fmla="*/ 109844 w 513"/>
                  <a:gd name="T25" fmla="*/ 119584 h 268"/>
                  <a:gd name="T26" fmla="*/ 125626 w 513"/>
                  <a:gd name="T27" fmla="*/ 123647 h 268"/>
                  <a:gd name="T28" fmla="*/ 146458 w 513"/>
                  <a:gd name="T29" fmla="*/ 119584 h 268"/>
                  <a:gd name="T30" fmla="*/ 171079 w 513"/>
                  <a:gd name="T31" fmla="*/ 117842 h 268"/>
                  <a:gd name="T32" fmla="*/ 195699 w 513"/>
                  <a:gd name="T33" fmla="*/ 132355 h 268"/>
                  <a:gd name="T34" fmla="*/ 228526 w 513"/>
                  <a:gd name="T35" fmla="*/ 145126 h 268"/>
                  <a:gd name="T36" fmla="*/ 248096 w 513"/>
                  <a:gd name="T37" fmla="*/ 155575 h 268"/>
                  <a:gd name="T38" fmla="*/ 277135 w 513"/>
                  <a:gd name="T39" fmla="*/ 148609 h 268"/>
                  <a:gd name="T40" fmla="*/ 291654 w 513"/>
                  <a:gd name="T41" fmla="*/ 134096 h 268"/>
                  <a:gd name="T42" fmla="*/ 318800 w 513"/>
                  <a:gd name="T43" fmla="*/ 107393 h 268"/>
                  <a:gd name="T44" fmla="*/ 320694 w 513"/>
                  <a:gd name="T45" fmla="*/ 73143 h 268"/>
                  <a:gd name="T46" fmla="*/ 297967 w 513"/>
                  <a:gd name="T47" fmla="*/ 55148 h 268"/>
                  <a:gd name="T48" fmla="*/ 285342 w 513"/>
                  <a:gd name="T49" fmla="*/ 26123 h 268"/>
                  <a:gd name="T50" fmla="*/ 264509 w 513"/>
                  <a:gd name="T51" fmla="*/ 15093 h 268"/>
                  <a:gd name="T52" fmla="*/ 227263 w 513"/>
                  <a:gd name="T53" fmla="*/ 23801 h 268"/>
                  <a:gd name="T54" fmla="*/ 205168 w 513"/>
                  <a:gd name="T55" fmla="*/ 15093 h 268"/>
                  <a:gd name="T56" fmla="*/ 186230 w 513"/>
                  <a:gd name="T57" fmla="*/ 2903 h 268"/>
                  <a:gd name="T58" fmla="*/ 166660 w 513"/>
                  <a:gd name="T59" fmla="*/ 0 h 268"/>
                  <a:gd name="T60" fmla="*/ 145827 w 513"/>
                  <a:gd name="T61" fmla="*/ 2903 h 268"/>
                  <a:gd name="T62" fmla="*/ 135727 w 513"/>
                  <a:gd name="T63" fmla="*/ 15093 h 268"/>
                  <a:gd name="T64" fmla="*/ 138883 w 513"/>
                  <a:gd name="T65" fmla="*/ 48762 h 268"/>
                  <a:gd name="T66" fmla="*/ 125626 w 513"/>
                  <a:gd name="T67" fmla="*/ 67919 h 268"/>
                  <a:gd name="T68" fmla="*/ 111738 w 513"/>
                  <a:gd name="T69" fmla="*/ 67338 h 26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13" h="268">
                    <a:moveTo>
                      <a:pt x="151" y="105"/>
                    </a:moveTo>
                    <a:lnTo>
                      <a:pt x="126" y="90"/>
                    </a:lnTo>
                    <a:lnTo>
                      <a:pt x="120" y="72"/>
                    </a:lnTo>
                    <a:lnTo>
                      <a:pt x="115" y="54"/>
                    </a:lnTo>
                    <a:lnTo>
                      <a:pt x="103" y="36"/>
                    </a:lnTo>
                    <a:lnTo>
                      <a:pt x="82" y="36"/>
                    </a:lnTo>
                    <a:lnTo>
                      <a:pt x="67" y="44"/>
                    </a:lnTo>
                    <a:lnTo>
                      <a:pt x="46" y="63"/>
                    </a:lnTo>
                    <a:lnTo>
                      <a:pt x="21" y="110"/>
                    </a:lnTo>
                    <a:lnTo>
                      <a:pt x="24" y="123"/>
                    </a:lnTo>
                    <a:lnTo>
                      <a:pt x="24" y="135"/>
                    </a:lnTo>
                    <a:lnTo>
                      <a:pt x="18" y="144"/>
                    </a:lnTo>
                    <a:lnTo>
                      <a:pt x="8" y="153"/>
                    </a:lnTo>
                    <a:lnTo>
                      <a:pt x="0" y="164"/>
                    </a:lnTo>
                    <a:lnTo>
                      <a:pt x="6" y="177"/>
                    </a:lnTo>
                    <a:lnTo>
                      <a:pt x="6" y="206"/>
                    </a:lnTo>
                    <a:lnTo>
                      <a:pt x="10" y="228"/>
                    </a:lnTo>
                    <a:lnTo>
                      <a:pt x="21" y="233"/>
                    </a:lnTo>
                    <a:lnTo>
                      <a:pt x="42" y="225"/>
                    </a:lnTo>
                    <a:lnTo>
                      <a:pt x="67" y="210"/>
                    </a:lnTo>
                    <a:lnTo>
                      <a:pt x="78" y="200"/>
                    </a:lnTo>
                    <a:lnTo>
                      <a:pt x="97" y="206"/>
                    </a:lnTo>
                    <a:lnTo>
                      <a:pt x="118" y="210"/>
                    </a:lnTo>
                    <a:lnTo>
                      <a:pt x="136" y="216"/>
                    </a:lnTo>
                    <a:lnTo>
                      <a:pt x="148" y="221"/>
                    </a:lnTo>
                    <a:lnTo>
                      <a:pt x="174" y="206"/>
                    </a:lnTo>
                    <a:lnTo>
                      <a:pt x="187" y="206"/>
                    </a:lnTo>
                    <a:lnTo>
                      <a:pt x="199" y="213"/>
                    </a:lnTo>
                    <a:lnTo>
                      <a:pt x="217" y="218"/>
                    </a:lnTo>
                    <a:lnTo>
                      <a:pt x="232" y="206"/>
                    </a:lnTo>
                    <a:lnTo>
                      <a:pt x="256" y="200"/>
                    </a:lnTo>
                    <a:lnTo>
                      <a:pt x="271" y="203"/>
                    </a:lnTo>
                    <a:lnTo>
                      <a:pt x="284" y="225"/>
                    </a:lnTo>
                    <a:lnTo>
                      <a:pt x="310" y="228"/>
                    </a:lnTo>
                    <a:lnTo>
                      <a:pt x="342" y="225"/>
                    </a:lnTo>
                    <a:lnTo>
                      <a:pt x="362" y="250"/>
                    </a:lnTo>
                    <a:lnTo>
                      <a:pt x="378" y="265"/>
                    </a:lnTo>
                    <a:lnTo>
                      <a:pt x="393" y="268"/>
                    </a:lnTo>
                    <a:lnTo>
                      <a:pt x="416" y="258"/>
                    </a:lnTo>
                    <a:lnTo>
                      <a:pt x="439" y="256"/>
                    </a:lnTo>
                    <a:lnTo>
                      <a:pt x="454" y="243"/>
                    </a:lnTo>
                    <a:lnTo>
                      <a:pt x="462" y="231"/>
                    </a:lnTo>
                    <a:lnTo>
                      <a:pt x="490" y="200"/>
                    </a:lnTo>
                    <a:lnTo>
                      <a:pt x="505" y="185"/>
                    </a:lnTo>
                    <a:lnTo>
                      <a:pt x="513" y="162"/>
                    </a:lnTo>
                    <a:lnTo>
                      <a:pt x="508" y="126"/>
                    </a:lnTo>
                    <a:lnTo>
                      <a:pt x="495" y="117"/>
                    </a:lnTo>
                    <a:lnTo>
                      <a:pt x="472" y="95"/>
                    </a:lnTo>
                    <a:lnTo>
                      <a:pt x="462" y="72"/>
                    </a:lnTo>
                    <a:lnTo>
                      <a:pt x="452" y="45"/>
                    </a:lnTo>
                    <a:lnTo>
                      <a:pt x="432" y="27"/>
                    </a:lnTo>
                    <a:lnTo>
                      <a:pt x="419" y="26"/>
                    </a:lnTo>
                    <a:lnTo>
                      <a:pt x="378" y="27"/>
                    </a:lnTo>
                    <a:lnTo>
                      <a:pt x="360" y="41"/>
                    </a:lnTo>
                    <a:lnTo>
                      <a:pt x="347" y="45"/>
                    </a:lnTo>
                    <a:lnTo>
                      <a:pt x="325" y="26"/>
                    </a:lnTo>
                    <a:lnTo>
                      <a:pt x="307" y="18"/>
                    </a:lnTo>
                    <a:lnTo>
                      <a:pt x="295" y="5"/>
                    </a:lnTo>
                    <a:lnTo>
                      <a:pt x="286" y="3"/>
                    </a:lnTo>
                    <a:lnTo>
                      <a:pt x="264" y="0"/>
                    </a:lnTo>
                    <a:lnTo>
                      <a:pt x="246" y="5"/>
                    </a:lnTo>
                    <a:lnTo>
                      <a:pt x="231" y="5"/>
                    </a:lnTo>
                    <a:lnTo>
                      <a:pt x="223" y="12"/>
                    </a:lnTo>
                    <a:lnTo>
                      <a:pt x="215" y="26"/>
                    </a:lnTo>
                    <a:lnTo>
                      <a:pt x="215" y="54"/>
                    </a:lnTo>
                    <a:lnTo>
                      <a:pt x="220" y="84"/>
                    </a:lnTo>
                    <a:lnTo>
                      <a:pt x="220" y="98"/>
                    </a:lnTo>
                    <a:lnTo>
                      <a:pt x="199" y="117"/>
                    </a:lnTo>
                    <a:lnTo>
                      <a:pt x="187" y="128"/>
                    </a:lnTo>
                    <a:lnTo>
                      <a:pt x="177" y="116"/>
                    </a:lnTo>
                    <a:lnTo>
                      <a:pt x="151" y="105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85" name="Freeform 71">
                <a:extLst>
                  <a:ext uri="{FF2B5EF4-FFF2-40B4-BE49-F238E27FC236}">
                    <a16:creationId xmlns:a16="http://schemas.microsoft.com/office/drawing/2014/main" id="{E9D7C815-718F-F9E3-37B6-9456CF07F9A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34037" y="1733381"/>
                <a:ext cx="296466" cy="451247"/>
              </a:xfrm>
              <a:custGeom>
                <a:avLst/>
                <a:gdLst>
                  <a:gd name="T0" fmla="*/ 128390 w 625"/>
                  <a:gd name="T1" fmla="*/ 415100 h 1032"/>
                  <a:gd name="T2" fmla="*/ 84750 w 625"/>
                  <a:gd name="T3" fmla="*/ 442501 h 1032"/>
                  <a:gd name="T4" fmla="*/ 73365 w 625"/>
                  <a:gd name="T5" fmla="*/ 467571 h 1032"/>
                  <a:gd name="T6" fmla="*/ 98664 w 625"/>
                  <a:gd name="T7" fmla="*/ 481563 h 1032"/>
                  <a:gd name="T8" fmla="*/ 119535 w 625"/>
                  <a:gd name="T9" fmla="*/ 490308 h 1032"/>
                  <a:gd name="T10" fmla="*/ 158115 w 625"/>
                  <a:gd name="T11" fmla="*/ 497304 h 1032"/>
                  <a:gd name="T12" fmla="*/ 132817 w 625"/>
                  <a:gd name="T13" fmla="*/ 524705 h 1032"/>
                  <a:gd name="T14" fmla="*/ 75895 w 625"/>
                  <a:gd name="T15" fmla="*/ 509547 h 1032"/>
                  <a:gd name="T16" fmla="*/ 36050 w 625"/>
                  <a:gd name="T17" fmla="*/ 541029 h 1032"/>
                  <a:gd name="T18" fmla="*/ 1897 w 625"/>
                  <a:gd name="T19" fmla="*/ 557354 h 1032"/>
                  <a:gd name="T20" fmla="*/ 18974 w 625"/>
                  <a:gd name="T21" fmla="*/ 570763 h 1032"/>
                  <a:gd name="T22" fmla="*/ 51229 w 625"/>
                  <a:gd name="T23" fmla="*/ 566099 h 1032"/>
                  <a:gd name="T24" fmla="*/ 96134 w 625"/>
                  <a:gd name="T25" fmla="*/ 583589 h 1032"/>
                  <a:gd name="T26" fmla="*/ 129022 w 625"/>
                  <a:gd name="T27" fmla="*/ 555605 h 1032"/>
                  <a:gd name="T28" fmla="*/ 160013 w 625"/>
                  <a:gd name="T29" fmla="*/ 572512 h 1032"/>
                  <a:gd name="T30" fmla="*/ 201755 w 625"/>
                  <a:gd name="T31" fmla="*/ 578342 h 1032"/>
                  <a:gd name="T32" fmla="*/ 232746 w 625"/>
                  <a:gd name="T33" fmla="*/ 575427 h 1032"/>
                  <a:gd name="T34" fmla="*/ 275120 w 625"/>
                  <a:gd name="T35" fmla="*/ 592334 h 1032"/>
                  <a:gd name="T36" fmla="*/ 311803 w 625"/>
                  <a:gd name="T37" fmla="*/ 595832 h 1032"/>
                  <a:gd name="T38" fmla="*/ 347853 w 625"/>
                  <a:gd name="T39" fmla="*/ 583589 h 1032"/>
                  <a:gd name="T40" fmla="*/ 333307 w 625"/>
                  <a:gd name="T41" fmla="*/ 555605 h 1032"/>
                  <a:gd name="T42" fmla="*/ 334572 w 625"/>
                  <a:gd name="T43" fmla="*/ 537531 h 1032"/>
                  <a:gd name="T44" fmla="*/ 382006 w 625"/>
                  <a:gd name="T45" fmla="*/ 509547 h 1032"/>
                  <a:gd name="T46" fmla="*/ 395288 w 625"/>
                  <a:gd name="T47" fmla="*/ 471069 h 1032"/>
                  <a:gd name="T48" fmla="*/ 361135 w 625"/>
                  <a:gd name="T49" fmla="*/ 450080 h 1032"/>
                  <a:gd name="T50" fmla="*/ 336469 w 625"/>
                  <a:gd name="T51" fmla="*/ 448331 h 1032"/>
                  <a:gd name="T52" fmla="*/ 344691 w 625"/>
                  <a:gd name="T53" fmla="*/ 411019 h 1032"/>
                  <a:gd name="T54" fmla="*/ 344691 w 625"/>
                  <a:gd name="T55" fmla="*/ 360298 h 1032"/>
                  <a:gd name="T56" fmla="*/ 309273 w 625"/>
                  <a:gd name="T57" fmla="*/ 301414 h 1032"/>
                  <a:gd name="T58" fmla="*/ 309273 w 625"/>
                  <a:gd name="T59" fmla="*/ 255357 h 1032"/>
                  <a:gd name="T60" fmla="*/ 297889 w 625"/>
                  <a:gd name="T61" fmla="*/ 219210 h 1032"/>
                  <a:gd name="T62" fmla="*/ 260574 w 625"/>
                  <a:gd name="T63" fmla="*/ 199971 h 1032"/>
                  <a:gd name="T64" fmla="*/ 256779 w 625"/>
                  <a:gd name="T65" fmla="*/ 185396 h 1032"/>
                  <a:gd name="T66" fmla="*/ 289667 w 625"/>
                  <a:gd name="T67" fmla="*/ 189477 h 1032"/>
                  <a:gd name="T68" fmla="*/ 340264 w 625"/>
                  <a:gd name="T69" fmla="*/ 132925 h 1032"/>
                  <a:gd name="T70" fmla="*/ 336469 w 625"/>
                  <a:gd name="T71" fmla="*/ 96779 h 1032"/>
                  <a:gd name="T72" fmla="*/ 289667 w 625"/>
                  <a:gd name="T73" fmla="*/ 79289 h 1032"/>
                  <a:gd name="T74" fmla="*/ 258676 w 625"/>
                  <a:gd name="T75" fmla="*/ 73459 h 1032"/>
                  <a:gd name="T76" fmla="*/ 297889 w 625"/>
                  <a:gd name="T77" fmla="*/ 41976 h 1032"/>
                  <a:gd name="T78" fmla="*/ 343426 w 625"/>
                  <a:gd name="T79" fmla="*/ 19239 h 1032"/>
                  <a:gd name="T80" fmla="*/ 279548 w 625"/>
                  <a:gd name="T81" fmla="*/ 8745 h 1032"/>
                  <a:gd name="T82" fmla="*/ 244130 w 625"/>
                  <a:gd name="T83" fmla="*/ 26818 h 1032"/>
                  <a:gd name="T84" fmla="*/ 203652 w 625"/>
                  <a:gd name="T85" fmla="*/ 43725 h 1032"/>
                  <a:gd name="T86" fmla="*/ 188473 w 625"/>
                  <a:gd name="T87" fmla="*/ 83953 h 1032"/>
                  <a:gd name="T88" fmla="*/ 164440 w 625"/>
                  <a:gd name="T89" fmla="*/ 122431 h 1032"/>
                  <a:gd name="T90" fmla="*/ 187208 w 625"/>
                  <a:gd name="T91" fmla="*/ 132925 h 1032"/>
                  <a:gd name="T92" fmla="*/ 140406 w 625"/>
                  <a:gd name="T93" fmla="*/ 201720 h 1032"/>
                  <a:gd name="T94" fmla="*/ 174559 w 625"/>
                  <a:gd name="T95" fmla="*/ 177234 h 1032"/>
                  <a:gd name="T96" fmla="*/ 187208 w 625"/>
                  <a:gd name="T97" fmla="*/ 224457 h 1032"/>
                  <a:gd name="T98" fmla="*/ 153688 w 625"/>
                  <a:gd name="T99" fmla="*/ 252442 h 1032"/>
                  <a:gd name="T100" fmla="*/ 201755 w 625"/>
                  <a:gd name="T101" fmla="*/ 277511 h 1032"/>
                  <a:gd name="T102" fmla="*/ 203652 w 625"/>
                  <a:gd name="T103" fmla="*/ 294418 h 1032"/>
                  <a:gd name="T104" fmla="*/ 231481 w 625"/>
                  <a:gd name="T105" fmla="*/ 328232 h 1032"/>
                  <a:gd name="T106" fmla="*/ 203652 w 625"/>
                  <a:gd name="T107" fmla="*/ 358549 h 1032"/>
                  <a:gd name="T108" fmla="*/ 173294 w 625"/>
                  <a:gd name="T109" fmla="*/ 367877 h 103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625" h="1032">
                    <a:moveTo>
                      <a:pt x="187" y="661"/>
                    </a:moveTo>
                    <a:lnTo>
                      <a:pt x="216" y="687"/>
                    </a:lnTo>
                    <a:lnTo>
                      <a:pt x="203" y="712"/>
                    </a:lnTo>
                    <a:lnTo>
                      <a:pt x="185" y="733"/>
                    </a:lnTo>
                    <a:lnTo>
                      <a:pt x="156" y="747"/>
                    </a:lnTo>
                    <a:lnTo>
                      <a:pt x="134" y="759"/>
                    </a:lnTo>
                    <a:lnTo>
                      <a:pt x="110" y="762"/>
                    </a:lnTo>
                    <a:lnTo>
                      <a:pt x="98" y="772"/>
                    </a:lnTo>
                    <a:lnTo>
                      <a:pt x="116" y="802"/>
                    </a:lnTo>
                    <a:lnTo>
                      <a:pt x="144" y="802"/>
                    </a:lnTo>
                    <a:lnTo>
                      <a:pt x="156" y="805"/>
                    </a:lnTo>
                    <a:lnTo>
                      <a:pt x="156" y="826"/>
                    </a:lnTo>
                    <a:lnTo>
                      <a:pt x="171" y="826"/>
                    </a:lnTo>
                    <a:lnTo>
                      <a:pt x="182" y="820"/>
                    </a:lnTo>
                    <a:lnTo>
                      <a:pt x="189" y="841"/>
                    </a:lnTo>
                    <a:lnTo>
                      <a:pt x="204" y="859"/>
                    </a:lnTo>
                    <a:lnTo>
                      <a:pt x="231" y="859"/>
                    </a:lnTo>
                    <a:lnTo>
                      <a:pt x="250" y="853"/>
                    </a:lnTo>
                    <a:lnTo>
                      <a:pt x="265" y="859"/>
                    </a:lnTo>
                    <a:lnTo>
                      <a:pt x="225" y="892"/>
                    </a:lnTo>
                    <a:lnTo>
                      <a:pt x="210" y="900"/>
                    </a:lnTo>
                    <a:lnTo>
                      <a:pt x="189" y="892"/>
                    </a:lnTo>
                    <a:lnTo>
                      <a:pt x="144" y="874"/>
                    </a:lnTo>
                    <a:lnTo>
                      <a:pt x="120" y="874"/>
                    </a:lnTo>
                    <a:lnTo>
                      <a:pt x="99" y="892"/>
                    </a:lnTo>
                    <a:lnTo>
                      <a:pt x="72" y="915"/>
                    </a:lnTo>
                    <a:lnTo>
                      <a:pt x="57" y="928"/>
                    </a:lnTo>
                    <a:lnTo>
                      <a:pt x="39" y="933"/>
                    </a:lnTo>
                    <a:lnTo>
                      <a:pt x="18" y="943"/>
                    </a:lnTo>
                    <a:lnTo>
                      <a:pt x="3" y="956"/>
                    </a:lnTo>
                    <a:lnTo>
                      <a:pt x="0" y="964"/>
                    </a:lnTo>
                    <a:lnTo>
                      <a:pt x="18" y="967"/>
                    </a:lnTo>
                    <a:lnTo>
                      <a:pt x="30" y="979"/>
                    </a:lnTo>
                    <a:lnTo>
                      <a:pt x="48" y="987"/>
                    </a:lnTo>
                    <a:lnTo>
                      <a:pt x="66" y="979"/>
                    </a:lnTo>
                    <a:lnTo>
                      <a:pt x="81" y="971"/>
                    </a:lnTo>
                    <a:lnTo>
                      <a:pt x="99" y="974"/>
                    </a:lnTo>
                    <a:lnTo>
                      <a:pt x="126" y="989"/>
                    </a:lnTo>
                    <a:lnTo>
                      <a:pt x="152" y="1001"/>
                    </a:lnTo>
                    <a:lnTo>
                      <a:pt x="169" y="989"/>
                    </a:lnTo>
                    <a:lnTo>
                      <a:pt x="177" y="969"/>
                    </a:lnTo>
                    <a:lnTo>
                      <a:pt x="204" y="953"/>
                    </a:lnTo>
                    <a:lnTo>
                      <a:pt x="222" y="953"/>
                    </a:lnTo>
                    <a:lnTo>
                      <a:pt x="239" y="971"/>
                    </a:lnTo>
                    <a:lnTo>
                      <a:pt x="253" y="982"/>
                    </a:lnTo>
                    <a:lnTo>
                      <a:pt x="274" y="982"/>
                    </a:lnTo>
                    <a:lnTo>
                      <a:pt x="301" y="985"/>
                    </a:lnTo>
                    <a:lnTo>
                      <a:pt x="319" y="992"/>
                    </a:lnTo>
                    <a:lnTo>
                      <a:pt x="337" y="979"/>
                    </a:lnTo>
                    <a:lnTo>
                      <a:pt x="352" y="979"/>
                    </a:lnTo>
                    <a:lnTo>
                      <a:pt x="368" y="987"/>
                    </a:lnTo>
                    <a:lnTo>
                      <a:pt x="386" y="1008"/>
                    </a:lnTo>
                    <a:lnTo>
                      <a:pt x="409" y="1011"/>
                    </a:lnTo>
                    <a:lnTo>
                      <a:pt x="435" y="1016"/>
                    </a:lnTo>
                    <a:lnTo>
                      <a:pt x="453" y="1026"/>
                    </a:lnTo>
                    <a:lnTo>
                      <a:pt x="475" y="1032"/>
                    </a:lnTo>
                    <a:lnTo>
                      <a:pt x="493" y="1022"/>
                    </a:lnTo>
                    <a:lnTo>
                      <a:pt x="517" y="1008"/>
                    </a:lnTo>
                    <a:lnTo>
                      <a:pt x="532" y="1005"/>
                    </a:lnTo>
                    <a:lnTo>
                      <a:pt x="550" y="1001"/>
                    </a:lnTo>
                    <a:lnTo>
                      <a:pt x="568" y="985"/>
                    </a:lnTo>
                    <a:lnTo>
                      <a:pt x="556" y="969"/>
                    </a:lnTo>
                    <a:lnTo>
                      <a:pt x="527" y="953"/>
                    </a:lnTo>
                    <a:lnTo>
                      <a:pt x="517" y="943"/>
                    </a:lnTo>
                    <a:lnTo>
                      <a:pt x="517" y="933"/>
                    </a:lnTo>
                    <a:lnTo>
                      <a:pt x="529" y="922"/>
                    </a:lnTo>
                    <a:lnTo>
                      <a:pt x="550" y="920"/>
                    </a:lnTo>
                    <a:lnTo>
                      <a:pt x="571" y="910"/>
                    </a:lnTo>
                    <a:lnTo>
                      <a:pt x="604" y="874"/>
                    </a:lnTo>
                    <a:lnTo>
                      <a:pt x="619" y="856"/>
                    </a:lnTo>
                    <a:lnTo>
                      <a:pt x="625" y="826"/>
                    </a:lnTo>
                    <a:lnTo>
                      <a:pt x="625" y="808"/>
                    </a:lnTo>
                    <a:lnTo>
                      <a:pt x="610" y="795"/>
                    </a:lnTo>
                    <a:lnTo>
                      <a:pt x="589" y="780"/>
                    </a:lnTo>
                    <a:lnTo>
                      <a:pt x="571" y="772"/>
                    </a:lnTo>
                    <a:lnTo>
                      <a:pt x="550" y="774"/>
                    </a:lnTo>
                    <a:lnTo>
                      <a:pt x="538" y="781"/>
                    </a:lnTo>
                    <a:lnTo>
                      <a:pt x="532" y="769"/>
                    </a:lnTo>
                    <a:lnTo>
                      <a:pt x="543" y="748"/>
                    </a:lnTo>
                    <a:lnTo>
                      <a:pt x="547" y="733"/>
                    </a:lnTo>
                    <a:lnTo>
                      <a:pt x="545" y="705"/>
                    </a:lnTo>
                    <a:lnTo>
                      <a:pt x="543" y="667"/>
                    </a:lnTo>
                    <a:lnTo>
                      <a:pt x="550" y="636"/>
                    </a:lnTo>
                    <a:lnTo>
                      <a:pt x="545" y="618"/>
                    </a:lnTo>
                    <a:lnTo>
                      <a:pt x="532" y="596"/>
                    </a:lnTo>
                    <a:lnTo>
                      <a:pt x="502" y="542"/>
                    </a:lnTo>
                    <a:lnTo>
                      <a:pt x="489" y="517"/>
                    </a:lnTo>
                    <a:lnTo>
                      <a:pt x="484" y="487"/>
                    </a:lnTo>
                    <a:lnTo>
                      <a:pt x="481" y="469"/>
                    </a:lnTo>
                    <a:lnTo>
                      <a:pt x="489" y="438"/>
                    </a:lnTo>
                    <a:lnTo>
                      <a:pt x="489" y="415"/>
                    </a:lnTo>
                    <a:lnTo>
                      <a:pt x="484" y="389"/>
                    </a:lnTo>
                    <a:lnTo>
                      <a:pt x="471" y="376"/>
                    </a:lnTo>
                    <a:lnTo>
                      <a:pt x="448" y="353"/>
                    </a:lnTo>
                    <a:lnTo>
                      <a:pt x="430" y="346"/>
                    </a:lnTo>
                    <a:lnTo>
                      <a:pt x="412" y="343"/>
                    </a:lnTo>
                    <a:lnTo>
                      <a:pt x="399" y="340"/>
                    </a:lnTo>
                    <a:lnTo>
                      <a:pt x="399" y="328"/>
                    </a:lnTo>
                    <a:lnTo>
                      <a:pt x="406" y="318"/>
                    </a:lnTo>
                    <a:lnTo>
                      <a:pt x="427" y="315"/>
                    </a:lnTo>
                    <a:lnTo>
                      <a:pt x="445" y="322"/>
                    </a:lnTo>
                    <a:lnTo>
                      <a:pt x="458" y="325"/>
                    </a:lnTo>
                    <a:lnTo>
                      <a:pt x="466" y="313"/>
                    </a:lnTo>
                    <a:lnTo>
                      <a:pt x="463" y="297"/>
                    </a:lnTo>
                    <a:lnTo>
                      <a:pt x="538" y="228"/>
                    </a:lnTo>
                    <a:lnTo>
                      <a:pt x="550" y="213"/>
                    </a:lnTo>
                    <a:lnTo>
                      <a:pt x="550" y="181"/>
                    </a:lnTo>
                    <a:lnTo>
                      <a:pt x="532" y="166"/>
                    </a:lnTo>
                    <a:lnTo>
                      <a:pt x="511" y="163"/>
                    </a:lnTo>
                    <a:lnTo>
                      <a:pt x="493" y="136"/>
                    </a:lnTo>
                    <a:lnTo>
                      <a:pt x="458" y="136"/>
                    </a:lnTo>
                    <a:lnTo>
                      <a:pt x="424" y="141"/>
                    </a:lnTo>
                    <a:lnTo>
                      <a:pt x="417" y="138"/>
                    </a:lnTo>
                    <a:lnTo>
                      <a:pt x="409" y="126"/>
                    </a:lnTo>
                    <a:lnTo>
                      <a:pt x="424" y="115"/>
                    </a:lnTo>
                    <a:lnTo>
                      <a:pt x="440" y="100"/>
                    </a:lnTo>
                    <a:lnTo>
                      <a:pt x="471" y="72"/>
                    </a:lnTo>
                    <a:lnTo>
                      <a:pt x="496" y="69"/>
                    </a:lnTo>
                    <a:lnTo>
                      <a:pt x="520" y="51"/>
                    </a:lnTo>
                    <a:lnTo>
                      <a:pt x="543" y="33"/>
                    </a:lnTo>
                    <a:lnTo>
                      <a:pt x="491" y="21"/>
                    </a:lnTo>
                    <a:lnTo>
                      <a:pt x="469" y="18"/>
                    </a:lnTo>
                    <a:lnTo>
                      <a:pt x="442" y="15"/>
                    </a:lnTo>
                    <a:lnTo>
                      <a:pt x="412" y="0"/>
                    </a:lnTo>
                    <a:lnTo>
                      <a:pt x="384" y="31"/>
                    </a:lnTo>
                    <a:lnTo>
                      <a:pt x="386" y="46"/>
                    </a:lnTo>
                    <a:lnTo>
                      <a:pt x="370" y="51"/>
                    </a:lnTo>
                    <a:lnTo>
                      <a:pt x="346" y="67"/>
                    </a:lnTo>
                    <a:lnTo>
                      <a:pt x="322" y="75"/>
                    </a:lnTo>
                    <a:lnTo>
                      <a:pt x="322" y="97"/>
                    </a:lnTo>
                    <a:lnTo>
                      <a:pt x="319" y="115"/>
                    </a:lnTo>
                    <a:lnTo>
                      <a:pt x="298" y="144"/>
                    </a:lnTo>
                    <a:lnTo>
                      <a:pt x="265" y="180"/>
                    </a:lnTo>
                    <a:lnTo>
                      <a:pt x="253" y="198"/>
                    </a:lnTo>
                    <a:lnTo>
                      <a:pt x="260" y="210"/>
                    </a:lnTo>
                    <a:lnTo>
                      <a:pt x="294" y="208"/>
                    </a:lnTo>
                    <a:lnTo>
                      <a:pt x="296" y="214"/>
                    </a:lnTo>
                    <a:lnTo>
                      <a:pt x="296" y="228"/>
                    </a:lnTo>
                    <a:lnTo>
                      <a:pt x="250" y="286"/>
                    </a:lnTo>
                    <a:lnTo>
                      <a:pt x="234" y="318"/>
                    </a:lnTo>
                    <a:lnTo>
                      <a:pt x="222" y="346"/>
                    </a:lnTo>
                    <a:lnTo>
                      <a:pt x="234" y="358"/>
                    </a:lnTo>
                    <a:lnTo>
                      <a:pt x="256" y="333"/>
                    </a:lnTo>
                    <a:lnTo>
                      <a:pt x="276" y="304"/>
                    </a:lnTo>
                    <a:lnTo>
                      <a:pt x="292" y="313"/>
                    </a:lnTo>
                    <a:lnTo>
                      <a:pt x="294" y="356"/>
                    </a:lnTo>
                    <a:lnTo>
                      <a:pt x="296" y="385"/>
                    </a:lnTo>
                    <a:lnTo>
                      <a:pt x="268" y="400"/>
                    </a:lnTo>
                    <a:lnTo>
                      <a:pt x="250" y="418"/>
                    </a:lnTo>
                    <a:lnTo>
                      <a:pt x="243" y="433"/>
                    </a:lnTo>
                    <a:lnTo>
                      <a:pt x="281" y="463"/>
                    </a:lnTo>
                    <a:lnTo>
                      <a:pt x="312" y="458"/>
                    </a:lnTo>
                    <a:lnTo>
                      <a:pt x="319" y="476"/>
                    </a:lnTo>
                    <a:lnTo>
                      <a:pt x="352" y="455"/>
                    </a:lnTo>
                    <a:lnTo>
                      <a:pt x="350" y="472"/>
                    </a:lnTo>
                    <a:lnTo>
                      <a:pt x="322" y="505"/>
                    </a:lnTo>
                    <a:lnTo>
                      <a:pt x="334" y="541"/>
                    </a:lnTo>
                    <a:lnTo>
                      <a:pt x="337" y="560"/>
                    </a:lnTo>
                    <a:lnTo>
                      <a:pt x="366" y="563"/>
                    </a:lnTo>
                    <a:lnTo>
                      <a:pt x="368" y="581"/>
                    </a:lnTo>
                    <a:lnTo>
                      <a:pt x="334" y="621"/>
                    </a:lnTo>
                    <a:lnTo>
                      <a:pt x="322" y="615"/>
                    </a:lnTo>
                    <a:lnTo>
                      <a:pt x="310" y="628"/>
                    </a:lnTo>
                    <a:lnTo>
                      <a:pt x="307" y="649"/>
                    </a:lnTo>
                    <a:lnTo>
                      <a:pt x="274" y="631"/>
                    </a:lnTo>
                    <a:lnTo>
                      <a:pt x="187" y="661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86" name="Freeform 72">
                <a:extLst>
                  <a:ext uri="{FF2B5EF4-FFF2-40B4-BE49-F238E27FC236}">
                    <a16:creationId xmlns:a16="http://schemas.microsoft.com/office/drawing/2014/main" id="{042A0CFA-1316-C4AA-7D1D-63C7818D5A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63803" y="1886972"/>
                <a:ext cx="63103" cy="59531"/>
              </a:xfrm>
              <a:custGeom>
                <a:avLst/>
                <a:gdLst>
                  <a:gd name="T0" fmla="*/ 29511 w 134"/>
                  <a:gd name="T1" fmla="*/ 0 h 137"/>
                  <a:gd name="T2" fmla="*/ 48347 w 134"/>
                  <a:gd name="T3" fmla="*/ 0 h 137"/>
                  <a:gd name="T4" fmla="*/ 63417 w 134"/>
                  <a:gd name="T5" fmla="*/ 3476 h 137"/>
                  <a:gd name="T6" fmla="*/ 72835 w 134"/>
                  <a:gd name="T7" fmla="*/ 16223 h 137"/>
                  <a:gd name="T8" fmla="*/ 82253 w 134"/>
                  <a:gd name="T9" fmla="*/ 37080 h 137"/>
                  <a:gd name="T10" fmla="*/ 84137 w 134"/>
                  <a:gd name="T11" fmla="*/ 54462 h 137"/>
                  <a:gd name="T12" fmla="*/ 74719 w 134"/>
                  <a:gd name="T13" fmla="*/ 63152 h 137"/>
                  <a:gd name="T14" fmla="*/ 70951 w 134"/>
                  <a:gd name="T15" fmla="*/ 75319 h 137"/>
                  <a:gd name="T16" fmla="*/ 61533 w 134"/>
                  <a:gd name="T17" fmla="*/ 79375 h 137"/>
                  <a:gd name="T18" fmla="*/ 52115 w 134"/>
                  <a:gd name="T19" fmla="*/ 68946 h 137"/>
                  <a:gd name="T20" fmla="*/ 43324 w 134"/>
                  <a:gd name="T21" fmla="*/ 49827 h 137"/>
                  <a:gd name="T22" fmla="*/ 37045 w 134"/>
                  <a:gd name="T23" fmla="*/ 42295 h 137"/>
                  <a:gd name="T24" fmla="*/ 20720 w 134"/>
                  <a:gd name="T25" fmla="*/ 40557 h 137"/>
                  <a:gd name="T26" fmla="*/ 0 w 134"/>
                  <a:gd name="T27" fmla="*/ 20858 h 137"/>
                  <a:gd name="T28" fmla="*/ 29511 w 134"/>
                  <a:gd name="T29" fmla="*/ 0 h 1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34" h="137">
                    <a:moveTo>
                      <a:pt x="47" y="0"/>
                    </a:moveTo>
                    <a:lnTo>
                      <a:pt x="77" y="0"/>
                    </a:lnTo>
                    <a:lnTo>
                      <a:pt x="101" y="6"/>
                    </a:lnTo>
                    <a:lnTo>
                      <a:pt x="116" y="28"/>
                    </a:lnTo>
                    <a:lnTo>
                      <a:pt x="131" y="64"/>
                    </a:lnTo>
                    <a:lnTo>
                      <a:pt x="134" y="94"/>
                    </a:lnTo>
                    <a:lnTo>
                      <a:pt x="119" y="109"/>
                    </a:lnTo>
                    <a:lnTo>
                      <a:pt x="113" y="130"/>
                    </a:lnTo>
                    <a:lnTo>
                      <a:pt x="98" y="137"/>
                    </a:lnTo>
                    <a:lnTo>
                      <a:pt x="83" y="119"/>
                    </a:lnTo>
                    <a:lnTo>
                      <a:pt x="69" y="86"/>
                    </a:lnTo>
                    <a:lnTo>
                      <a:pt x="59" y="73"/>
                    </a:lnTo>
                    <a:lnTo>
                      <a:pt x="33" y="70"/>
                    </a:lnTo>
                    <a:lnTo>
                      <a:pt x="0" y="36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87" name="Freeform 73">
                <a:extLst>
                  <a:ext uri="{FF2B5EF4-FFF2-40B4-BE49-F238E27FC236}">
                    <a16:creationId xmlns:a16="http://schemas.microsoft.com/office/drawing/2014/main" id="{18496D72-3457-89F7-DC24-F7F84D7853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46094" y="2728744"/>
                <a:ext cx="130969" cy="103584"/>
              </a:xfrm>
              <a:custGeom>
                <a:avLst/>
                <a:gdLst>
                  <a:gd name="T0" fmla="*/ 31002 w 276"/>
                  <a:gd name="T1" fmla="*/ 22727 h 237"/>
                  <a:gd name="T2" fmla="*/ 28471 w 276"/>
                  <a:gd name="T3" fmla="*/ 57692 h 237"/>
                  <a:gd name="T4" fmla="*/ 0 w 276"/>
                  <a:gd name="T5" fmla="*/ 94406 h 237"/>
                  <a:gd name="T6" fmla="*/ 6327 w 276"/>
                  <a:gd name="T7" fmla="*/ 101981 h 237"/>
                  <a:gd name="T8" fmla="*/ 37962 w 276"/>
                  <a:gd name="T9" fmla="*/ 99650 h 237"/>
                  <a:gd name="T10" fmla="*/ 22777 w 276"/>
                  <a:gd name="T11" fmla="*/ 115385 h 237"/>
                  <a:gd name="T12" fmla="*/ 17083 w 276"/>
                  <a:gd name="T13" fmla="*/ 121795 h 237"/>
                  <a:gd name="T14" fmla="*/ 19614 w 276"/>
                  <a:gd name="T15" fmla="*/ 138112 h 237"/>
                  <a:gd name="T16" fmla="*/ 44289 w 276"/>
                  <a:gd name="T17" fmla="*/ 112471 h 237"/>
                  <a:gd name="T18" fmla="*/ 58841 w 276"/>
                  <a:gd name="T19" fmla="*/ 104895 h 237"/>
                  <a:gd name="T20" fmla="*/ 85414 w 276"/>
                  <a:gd name="T21" fmla="*/ 73427 h 237"/>
                  <a:gd name="T22" fmla="*/ 115784 w 276"/>
                  <a:gd name="T23" fmla="*/ 57692 h 237"/>
                  <a:gd name="T24" fmla="*/ 163236 w 276"/>
                  <a:gd name="T25" fmla="*/ 55944 h 237"/>
                  <a:gd name="T26" fmla="*/ 174625 w 276"/>
                  <a:gd name="T27" fmla="*/ 51282 h 237"/>
                  <a:gd name="T28" fmla="*/ 172727 w 276"/>
                  <a:gd name="T29" fmla="*/ 41958 h 237"/>
                  <a:gd name="T30" fmla="*/ 149950 w 276"/>
                  <a:gd name="T31" fmla="*/ 24476 h 237"/>
                  <a:gd name="T32" fmla="*/ 138561 w 276"/>
                  <a:gd name="T33" fmla="*/ 26224 h 237"/>
                  <a:gd name="T34" fmla="*/ 134765 w 276"/>
                  <a:gd name="T35" fmla="*/ 20979 h 237"/>
                  <a:gd name="T36" fmla="*/ 122111 w 276"/>
                  <a:gd name="T37" fmla="*/ 20979 h 237"/>
                  <a:gd name="T38" fmla="*/ 102497 w 276"/>
                  <a:gd name="T39" fmla="*/ 1748 h 237"/>
                  <a:gd name="T40" fmla="*/ 81618 w 276"/>
                  <a:gd name="T41" fmla="*/ 0 h 237"/>
                  <a:gd name="T42" fmla="*/ 62637 w 276"/>
                  <a:gd name="T43" fmla="*/ 5245 h 237"/>
                  <a:gd name="T44" fmla="*/ 45554 w 276"/>
                  <a:gd name="T45" fmla="*/ 12238 h 237"/>
                  <a:gd name="T46" fmla="*/ 31002 w 276"/>
                  <a:gd name="T47" fmla="*/ 22727 h 23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76" h="237">
                    <a:moveTo>
                      <a:pt x="49" y="39"/>
                    </a:moveTo>
                    <a:lnTo>
                      <a:pt x="45" y="99"/>
                    </a:lnTo>
                    <a:lnTo>
                      <a:pt x="0" y="162"/>
                    </a:lnTo>
                    <a:lnTo>
                      <a:pt x="10" y="175"/>
                    </a:lnTo>
                    <a:lnTo>
                      <a:pt x="60" y="171"/>
                    </a:lnTo>
                    <a:lnTo>
                      <a:pt x="36" y="198"/>
                    </a:lnTo>
                    <a:lnTo>
                      <a:pt x="27" y="209"/>
                    </a:lnTo>
                    <a:lnTo>
                      <a:pt x="31" y="237"/>
                    </a:lnTo>
                    <a:lnTo>
                      <a:pt x="70" y="193"/>
                    </a:lnTo>
                    <a:lnTo>
                      <a:pt x="93" y="180"/>
                    </a:lnTo>
                    <a:lnTo>
                      <a:pt x="135" y="126"/>
                    </a:lnTo>
                    <a:lnTo>
                      <a:pt x="183" y="99"/>
                    </a:lnTo>
                    <a:lnTo>
                      <a:pt x="258" y="96"/>
                    </a:lnTo>
                    <a:lnTo>
                      <a:pt x="276" y="88"/>
                    </a:lnTo>
                    <a:lnTo>
                      <a:pt x="273" y="72"/>
                    </a:lnTo>
                    <a:lnTo>
                      <a:pt x="237" y="42"/>
                    </a:lnTo>
                    <a:lnTo>
                      <a:pt x="219" y="45"/>
                    </a:lnTo>
                    <a:lnTo>
                      <a:pt x="213" y="36"/>
                    </a:lnTo>
                    <a:lnTo>
                      <a:pt x="193" y="36"/>
                    </a:lnTo>
                    <a:lnTo>
                      <a:pt x="162" y="3"/>
                    </a:lnTo>
                    <a:lnTo>
                      <a:pt x="129" y="0"/>
                    </a:lnTo>
                    <a:lnTo>
                      <a:pt x="99" y="9"/>
                    </a:lnTo>
                    <a:lnTo>
                      <a:pt x="72" y="21"/>
                    </a:lnTo>
                    <a:lnTo>
                      <a:pt x="49" y="39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88" name="Freeform 74">
                <a:extLst>
                  <a:ext uri="{FF2B5EF4-FFF2-40B4-BE49-F238E27FC236}">
                    <a16:creationId xmlns:a16="http://schemas.microsoft.com/office/drawing/2014/main" id="{1E2D0E24-949E-C338-F471-25855B861C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65143" y="2693025"/>
                <a:ext cx="323850" cy="342900"/>
              </a:xfrm>
              <a:custGeom>
                <a:avLst/>
                <a:gdLst>
                  <a:gd name="T0" fmla="*/ 159607 w 652"/>
                  <a:gd name="T1" fmla="*/ 125713 h 691"/>
                  <a:gd name="T2" fmla="*/ 200668 w 652"/>
                  <a:gd name="T3" fmla="*/ 122405 h 691"/>
                  <a:gd name="T4" fmla="*/ 161594 w 652"/>
                  <a:gd name="T5" fmla="*/ 105202 h 691"/>
                  <a:gd name="T6" fmla="*/ 208615 w 652"/>
                  <a:gd name="T7" fmla="*/ 80721 h 691"/>
                  <a:gd name="T8" fmla="*/ 274180 w 652"/>
                  <a:gd name="T9" fmla="*/ 65503 h 691"/>
                  <a:gd name="T10" fmla="*/ 301995 w 652"/>
                  <a:gd name="T11" fmla="*/ 54255 h 691"/>
                  <a:gd name="T12" fmla="*/ 352328 w 652"/>
                  <a:gd name="T13" fmla="*/ 14556 h 691"/>
                  <a:gd name="T14" fmla="*/ 398024 w 652"/>
                  <a:gd name="T15" fmla="*/ 5955 h 691"/>
                  <a:gd name="T16" fmla="*/ 431800 w 652"/>
                  <a:gd name="T17" fmla="*/ 420809 h 691"/>
                  <a:gd name="T18" fmla="*/ 343056 w 652"/>
                  <a:gd name="T19" fmla="*/ 397652 h 691"/>
                  <a:gd name="T20" fmla="*/ 290074 w 652"/>
                  <a:gd name="T21" fmla="*/ 388388 h 691"/>
                  <a:gd name="T22" fmla="*/ 279478 w 652"/>
                  <a:gd name="T23" fmla="*/ 424118 h 691"/>
                  <a:gd name="T24" fmla="*/ 256961 w 652"/>
                  <a:gd name="T25" fmla="*/ 436027 h 691"/>
                  <a:gd name="T26" fmla="*/ 231794 w 652"/>
                  <a:gd name="T27" fmla="*/ 457200 h 691"/>
                  <a:gd name="T28" fmla="*/ 212589 w 652"/>
                  <a:gd name="T29" fmla="*/ 441982 h 691"/>
                  <a:gd name="T30" fmla="*/ 191396 w 652"/>
                  <a:gd name="T31" fmla="*/ 430072 h 691"/>
                  <a:gd name="T32" fmla="*/ 161594 w 652"/>
                  <a:gd name="T33" fmla="*/ 415516 h 691"/>
                  <a:gd name="T34" fmla="*/ 146362 w 652"/>
                  <a:gd name="T35" fmla="*/ 402945 h 691"/>
                  <a:gd name="T36" fmla="*/ 116560 w 652"/>
                  <a:gd name="T37" fmla="*/ 391035 h 691"/>
                  <a:gd name="T38" fmla="*/ 100665 w 652"/>
                  <a:gd name="T39" fmla="*/ 391035 h 691"/>
                  <a:gd name="T40" fmla="*/ 80797 w 652"/>
                  <a:gd name="T41" fmla="*/ 385742 h 691"/>
                  <a:gd name="T42" fmla="*/ 64240 w 652"/>
                  <a:gd name="T43" fmla="*/ 361261 h 691"/>
                  <a:gd name="T44" fmla="*/ 74174 w 652"/>
                  <a:gd name="T45" fmla="*/ 346704 h 691"/>
                  <a:gd name="T46" fmla="*/ 6623 w 652"/>
                  <a:gd name="T47" fmla="*/ 316930 h 691"/>
                  <a:gd name="T48" fmla="*/ 29140 w 652"/>
                  <a:gd name="T49" fmla="*/ 299066 h 691"/>
                  <a:gd name="T50" fmla="*/ 32451 w 652"/>
                  <a:gd name="T51" fmla="*/ 292449 h 691"/>
                  <a:gd name="T52" fmla="*/ 49008 w 652"/>
                  <a:gd name="T53" fmla="*/ 263337 h 691"/>
                  <a:gd name="T54" fmla="*/ 19206 w 652"/>
                  <a:gd name="T55" fmla="*/ 238194 h 691"/>
                  <a:gd name="T56" fmla="*/ 6623 w 652"/>
                  <a:gd name="T57" fmla="*/ 227608 h 691"/>
                  <a:gd name="T58" fmla="*/ 3311 w 652"/>
                  <a:gd name="T59" fmla="*/ 196510 h 691"/>
                  <a:gd name="T60" fmla="*/ 29140 w 652"/>
                  <a:gd name="T61" fmla="*/ 158134 h 691"/>
                  <a:gd name="T62" fmla="*/ 64240 w 652"/>
                  <a:gd name="T63" fmla="*/ 164751 h 691"/>
                  <a:gd name="T64" fmla="*/ 74174 w 652"/>
                  <a:gd name="T65" fmla="*/ 152179 h 691"/>
                  <a:gd name="T66" fmla="*/ 129805 w 652"/>
                  <a:gd name="T67" fmla="*/ 149533 h 69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652" h="691">
                    <a:moveTo>
                      <a:pt x="235" y="220"/>
                    </a:moveTo>
                    <a:lnTo>
                      <a:pt x="241" y="190"/>
                    </a:lnTo>
                    <a:lnTo>
                      <a:pt x="289" y="185"/>
                    </a:lnTo>
                    <a:lnTo>
                      <a:pt x="303" y="185"/>
                    </a:lnTo>
                    <a:lnTo>
                      <a:pt x="279" y="167"/>
                    </a:lnTo>
                    <a:lnTo>
                      <a:pt x="244" y="159"/>
                    </a:lnTo>
                    <a:lnTo>
                      <a:pt x="244" y="140"/>
                    </a:lnTo>
                    <a:lnTo>
                      <a:pt x="315" y="122"/>
                    </a:lnTo>
                    <a:lnTo>
                      <a:pt x="373" y="117"/>
                    </a:lnTo>
                    <a:lnTo>
                      <a:pt x="414" y="99"/>
                    </a:lnTo>
                    <a:lnTo>
                      <a:pt x="438" y="108"/>
                    </a:lnTo>
                    <a:lnTo>
                      <a:pt x="456" y="82"/>
                    </a:lnTo>
                    <a:lnTo>
                      <a:pt x="503" y="45"/>
                    </a:lnTo>
                    <a:lnTo>
                      <a:pt x="532" y="22"/>
                    </a:lnTo>
                    <a:lnTo>
                      <a:pt x="556" y="9"/>
                    </a:lnTo>
                    <a:lnTo>
                      <a:pt x="601" y="9"/>
                    </a:lnTo>
                    <a:lnTo>
                      <a:pt x="652" y="0"/>
                    </a:lnTo>
                    <a:lnTo>
                      <a:pt x="652" y="636"/>
                    </a:lnTo>
                    <a:lnTo>
                      <a:pt x="552" y="606"/>
                    </a:lnTo>
                    <a:lnTo>
                      <a:pt x="518" y="601"/>
                    </a:lnTo>
                    <a:lnTo>
                      <a:pt x="477" y="591"/>
                    </a:lnTo>
                    <a:lnTo>
                      <a:pt x="438" y="587"/>
                    </a:lnTo>
                    <a:lnTo>
                      <a:pt x="428" y="609"/>
                    </a:lnTo>
                    <a:lnTo>
                      <a:pt x="422" y="641"/>
                    </a:lnTo>
                    <a:lnTo>
                      <a:pt x="418" y="650"/>
                    </a:lnTo>
                    <a:lnTo>
                      <a:pt x="388" y="659"/>
                    </a:lnTo>
                    <a:lnTo>
                      <a:pt x="384" y="659"/>
                    </a:lnTo>
                    <a:lnTo>
                      <a:pt x="350" y="691"/>
                    </a:lnTo>
                    <a:lnTo>
                      <a:pt x="330" y="691"/>
                    </a:lnTo>
                    <a:lnTo>
                      <a:pt x="321" y="668"/>
                    </a:lnTo>
                    <a:lnTo>
                      <a:pt x="307" y="664"/>
                    </a:lnTo>
                    <a:lnTo>
                      <a:pt x="289" y="650"/>
                    </a:lnTo>
                    <a:lnTo>
                      <a:pt x="284" y="632"/>
                    </a:lnTo>
                    <a:lnTo>
                      <a:pt x="244" y="628"/>
                    </a:lnTo>
                    <a:lnTo>
                      <a:pt x="224" y="619"/>
                    </a:lnTo>
                    <a:lnTo>
                      <a:pt x="221" y="609"/>
                    </a:lnTo>
                    <a:lnTo>
                      <a:pt x="196" y="609"/>
                    </a:lnTo>
                    <a:lnTo>
                      <a:pt x="176" y="591"/>
                    </a:lnTo>
                    <a:lnTo>
                      <a:pt x="172" y="583"/>
                    </a:lnTo>
                    <a:lnTo>
                      <a:pt x="152" y="591"/>
                    </a:lnTo>
                    <a:lnTo>
                      <a:pt x="132" y="587"/>
                    </a:lnTo>
                    <a:lnTo>
                      <a:pt x="122" y="583"/>
                    </a:lnTo>
                    <a:lnTo>
                      <a:pt x="127" y="564"/>
                    </a:lnTo>
                    <a:lnTo>
                      <a:pt x="97" y="546"/>
                    </a:lnTo>
                    <a:lnTo>
                      <a:pt x="103" y="532"/>
                    </a:lnTo>
                    <a:lnTo>
                      <a:pt x="112" y="524"/>
                    </a:lnTo>
                    <a:lnTo>
                      <a:pt x="83" y="506"/>
                    </a:lnTo>
                    <a:lnTo>
                      <a:pt x="10" y="479"/>
                    </a:lnTo>
                    <a:lnTo>
                      <a:pt x="20" y="452"/>
                    </a:lnTo>
                    <a:lnTo>
                      <a:pt x="44" y="452"/>
                    </a:lnTo>
                    <a:lnTo>
                      <a:pt x="54" y="469"/>
                    </a:lnTo>
                    <a:lnTo>
                      <a:pt x="49" y="442"/>
                    </a:lnTo>
                    <a:lnTo>
                      <a:pt x="63" y="420"/>
                    </a:lnTo>
                    <a:lnTo>
                      <a:pt x="74" y="398"/>
                    </a:lnTo>
                    <a:lnTo>
                      <a:pt x="49" y="379"/>
                    </a:lnTo>
                    <a:lnTo>
                      <a:pt x="29" y="360"/>
                    </a:lnTo>
                    <a:lnTo>
                      <a:pt x="29" y="344"/>
                    </a:lnTo>
                    <a:lnTo>
                      <a:pt x="10" y="344"/>
                    </a:lnTo>
                    <a:lnTo>
                      <a:pt x="0" y="338"/>
                    </a:lnTo>
                    <a:lnTo>
                      <a:pt x="5" y="297"/>
                    </a:lnTo>
                    <a:lnTo>
                      <a:pt x="39" y="239"/>
                    </a:lnTo>
                    <a:lnTo>
                      <a:pt x="44" y="239"/>
                    </a:lnTo>
                    <a:lnTo>
                      <a:pt x="74" y="239"/>
                    </a:lnTo>
                    <a:lnTo>
                      <a:pt x="97" y="249"/>
                    </a:lnTo>
                    <a:lnTo>
                      <a:pt x="112" y="249"/>
                    </a:lnTo>
                    <a:lnTo>
                      <a:pt x="112" y="230"/>
                    </a:lnTo>
                    <a:lnTo>
                      <a:pt x="141" y="226"/>
                    </a:lnTo>
                    <a:lnTo>
                      <a:pt x="196" y="226"/>
                    </a:lnTo>
                    <a:lnTo>
                      <a:pt x="235" y="22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89" name="Freeform 75">
                <a:extLst>
                  <a:ext uri="{FF2B5EF4-FFF2-40B4-BE49-F238E27FC236}">
                    <a16:creationId xmlns:a16="http://schemas.microsoft.com/office/drawing/2014/main" id="{487B64A9-DAFE-90BD-889C-6BF6CE33CD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13885" y="1395244"/>
                <a:ext cx="363140" cy="622697"/>
              </a:xfrm>
              <a:custGeom>
                <a:avLst/>
                <a:gdLst>
                  <a:gd name="T0" fmla="*/ 467673 w 733"/>
                  <a:gd name="T1" fmla="*/ 24497 h 1254"/>
                  <a:gd name="T2" fmla="*/ 467673 w 733"/>
                  <a:gd name="T3" fmla="*/ 56940 h 1254"/>
                  <a:gd name="T4" fmla="*/ 484187 w 733"/>
                  <a:gd name="T5" fmla="*/ 92693 h 1254"/>
                  <a:gd name="T6" fmla="*/ 422755 w 733"/>
                  <a:gd name="T7" fmla="*/ 96003 h 1254"/>
                  <a:gd name="T8" fmla="*/ 410205 w 733"/>
                  <a:gd name="T9" fmla="*/ 122487 h 1254"/>
                  <a:gd name="T10" fmla="*/ 391049 w 733"/>
                  <a:gd name="T11" fmla="*/ 159564 h 1254"/>
                  <a:gd name="T12" fmla="*/ 393030 w 733"/>
                  <a:gd name="T13" fmla="*/ 194655 h 1254"/>
                  <a:gd name="T14" fmla="*/ 370571 w 733"/>
                  <a:gd name="T15" fmla="*/ 224449 h 1254"/>
                  <a:gd name="T16" fmla="*/ 332259 w 733"/>
                  <a:gd name="T17" fmla="*/ 257553 h 1254"/>
                  <a:gd name="T18" fmla="*/ 299892 w 733"/>
                  <a:gd name="T19" fmla="*/ 282051 h 1254"/>
                  <a:gd name="T20" fmla="*/ 264222 w 733"/>
                  <a:gd name="T21" fmla="*/ 317142 h 1254"/>
                  <a:gd name="T22" fmla="*/ 252993 w 733"/>
                  <a:gd name="T23" fmla="*/ 343625 h 1254"/>
                  <a:gd name="T24" fmla="*/ 239782 w 733"/>
                  <a:gd name="T25" fmla="*/ 391296 h 1254"/>
                  <a:gd name="T26" fmla="*/ 247048 w 733"/>
                  <a:gd name="T27" fmla="*/ 459491 h 1254"/>
                  <a:gd name="T28" fmla="*/ 290644 w 733"/>
                  <a:gd name="T29" fmla="*/ 513783 h 1254"/>
                  <a:gd name="T30" fmla="*/ 277433 w 733"/>
                  <a:gd name="T31" fmla="*/ 547549 h 1254"/>
                  <a:gd name="T32" fmla="*/ 247048 w 733"/>
                  <a:gd name="T33" fmla="*/ 538280 h 1254"/>
                  <a:gd name="T34" fmla="*/ 194203 w 733"/>
                  <a:gd name="T35" fmla="*/ 543577 h 1254"/>
                  <a:gd name="T36" fmla="*/ 233837 w 733"/>
                  <a:gd name="T37" fmla="*/ 550198 h 1254"/>
                  <a:gd name="T38" fmla="*/ 274130 w 733"/>
                  <a:gd name="T39" fmla="*/ 570722 h 1254"/>
                  <a:gd name="T40" fmla="*/ 247048 w 733"/>
                  <a:gd name="T41" fmla="*/ 579992 h 1254"/>
                  <a:gd name="T42" fmla="*/ 223928 w 733"/>
                  <a:gd name="T43" fmla="*/ 612434 h 1254"/>
                  <a:gd name="T44" fmla="*/ 214680 w 733"/>
                  <a:gd name="T45" fmla="*/ 633621 h 1254"/>
                  <a:gd name="T46" fmla="*/ 201469 w 733"/>
                  <a:gd name="T47" fmla="*/ 678643 h 1254"/>
                  <a:gd name="T48" fmla="*/ 188258 w 733"/>
                  <a:gd name="T49" fmla="*/ 734921 h 1254"/>
                  <a:gd name="T50" fmla="*/ 162497 w 733"/>
                  <a:gd name="T51" fmla="*/ 783916 h 1254"/>
                  <a:gd name="T52" fmla="*/ 112955 w 733"/>
                  <a:gd name="T53" fmla="*/ 788550 h 1254"/>
                  <a:gd name="T54" fmla="*/ 96441 w 733"/>
                  <a:gd name="T55" fmla="*/ 806427 h 1254"/>
                  <a:gd name="T56" fmla="*/ 68037 w 733"/>
                  <a:gd name="T57" fmla="*/ 821655 h 1254"/>
                  <a:gd name="T58" fmla="*/ 32367 w 733"/>
                  <a:gd name="T59" fmla="*/ 821655 h 1254"/>
                  <a:gd name="T60" fmla="*/ 28404 w 733"/>
                  <a:gd name="T61" fmla="*/ 774646 h 1254"/>
                  <a:gd name="T62" fmla="*/ 32367 w 733"/>
                  <a:gd name="T63" fmla="*/ 756108 h 1254"/>
                  <a:gd name="T64" fmla="*/ 41615 w 733"/>
                  <a:gd name="T65" fmla="*/ 738231 h 1254"/>
                  <a:gd name="T66" fmla="*/ 19156 w 733"/>
                  <a:gd name="T67" fmla="*/ 703141 h 1254"/>
                  <a:gd name="T68" fmla="*/ 3303 w 733"/>
                  <a:gd name="T69" fmla="*/ 660767 h 1254"/>
                  <a:gd name="T70" fmla="*/ 3303 w 733"/>
                  <a:gd name="T71" fmla="*/ 601179 h 1254"/>
                  <a:gd name="T72" fmla="*/ 5945 w 733"/>
                  <a:gd name="T73" fmla="*/ 558805 h 1254"/>
                  <a:gd name="T74" fmla="*/ 25762 w 733"/>
                  <a:gd name="T75" fmla="*/ 510472 h 1254"/>
                  <a:gd name="T76" fmla="*/ 60771 w 733"/>
                  <a:gd name="T77" fmla="*/ 480678 h 1254"/>
                  <a:gd name="T78" fmla="*/ 50863 w 733"/>
                  <a:gd name="T79" fmla="*/ 415131 h 1254"/>
                  <a:gd name="T80" fmla="*/ 73982 w 733"/>
                  <a:gd name="T81" fmla="*/ 391296 h 1254"/>
                  <a:gd name="T82" fmla="*/ 54826 w 733"/>
                  <a:gd name="T83" fmla="*/ 335018 h 1254"/>
                  <a:gd name="T84" fmla="*/ 71340 w 733"/>
                  <a:gd name="T85" fmla="*/ 282051 h 1254"/>
                  <a:gd name="T86" fmla="*/ 96441 w 733"/>
                  <a:gd name="T87" fmla="*/ 224449 h 1254"/>
                  <a:gd name="T88" fmla="*/ 145983 w 733"/>
                  <a:gd name="T89" fmla="*/ 224449 h 1254"/>
                  <a:gd name="T90" fmla="*/ 138717 w 733"/>
                  <a:gd name="T91" fmla="*/ 173468 h 1254"/>
                  <a:gd name="T92" fmla="*/ 149285 w 733"/>
                  <a:gd name="T93" fmla="*/ 152943 h 1254"/>
                  <a:gd name="T94" fmla="*/ 162497 w 733"/>
                  <a:gd name="T95" fmla="*/ 99314 h 1254"/>
                  <a:gd name="T96" fmla="*/ 192222 w 733"/>
                  <a:gd name="T97" fmla="*/ 56940 h 1254"/>
                  <a:gd name="T98" fmla="*/ 210717 w 733"/>
                  <a:gd name="T99" fmla="*/ 29794 h 1254"/>
                  <a:gd name="T100" fmla="*/ 466352 w 733"/>
                  <a:gd name="T101" fmla="*/ 4635 h 125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733" h="1254">
                    <a:moveTo>
                      <a:pt x="708" y="0"/>
                    </a:moveTo>
                    <a:lnTo>
                      <a:pt x="708" y="15"/>
                    </a:lnTo>
                    <a:lnTo>
                      <a:pt x="708" y="37"/>
                    </a:lnTo>
                    <a:lnTo>
                      <a:pt x="704" y="64"/>
                    </a:lnTo>
                    <a:lnTo>
                      <a:pt x="694" y="73"/>
                    </a:lnTo>
                    <a:lnTo>
                      <a:pt x="708" y="86"/>
                    </a:lnTo>
                    <a:lnTo>
                      <a:pt x="723" y="108"/>
                    </a:lnTo>
                    <a:lnTo>
                      <a:pt x="733" y="132"/>
                    </a:lnTo>
                    <a:lnTo>
                      <a:pt x="733" y="140"/>
                    </a:lnTo>
                    <a:lnTo>
                      <a:pt x="719" y="145"/>
                    </a:lnTo>
                    <a:lnTo>
                      <a:pt x="655" y="145"/>
                    </a:lnTo>
                    <a:lnTo>
                      <a:pt x="640" y="145"/>
                    </a:lnTo>
                    <a:lnTo>
                      <a:pt x="630" y="153"/>
                    </a:lnTo>
                    <a:lnTo>
                      <a:pt x="630" y="172"/>
                    </a:lnTo>
                    <a:lnTo>
                      <a:pt x="621" y="185"/>
                    </a:lnTo>
                    <a:lnTo>
                      <a:pt x="592" y="209"/>
                    </a:lnTo>
                    <a:lnTo>
                      <a:pt x="595" y="227"/>
                    </a:lnTo>
                    <a:lnTo>
                      <a:pt x="592" y="241"/>
                    </a:lnTo>
                    <a:lnTo>
                      <a:pt x="581" y="249"/>
                    </a:lnTo>
                    <a:lnTo>
                      <a:pt x="592" y="277"/>
                    </a:lnTo>
                    <a:lnTo>
                      <a:pt x="595" y="294"/>
                    </a:lnTo>
                    <a:lnTo>
                      <a:pt x="587" y="308"/>
                    </a:lnTo>
                    <a:lnTo>
                      <a:pt x="567" y="322"/>
                    </a:lnTo>
                    <a:lnTo>
                      <a:pt x="561" y="339"/>
                    </a:lnTo>
                    <a:lnTo>
                      <a:pt x="557" y="362"/>
                    </a:lnTo>
                    <a:lnTo>
                      <a:pt x="523" y="375"/>
                    </a:lnTo>
                    <a:lnTo>
                      <a:pt x="503" y="389"/>
                    </a:lnTo>
                    <a:lnTo>
                      <a:pt x="474" y="407"/>
                    </a:lnTo>
                    <a:lnTo>
                      <a:pt x="478" y="420"/>
                    </a:lnTo>
                    <a:lnTo>
                      <a:pt x="454" y="426"/>
                    </a:lnTo>
                    <a:lnTo>
                      <a:pt x="443" y="434"/>
                    </a:lnTo>
                    <a:lnTo>
                      <a:pt x="420" y="465"/>
                    </a:lnTo>
                    <a:lnTo>
                      <a:pt x="400" y="479"/>
                    </a:lnTo>
                    <a:lnTo>
                      <a:pt x="405" y="502"/>
                    </a:lnTo>
                    <a:lnTo>
                      <a:pt x="394" y="509"/>
                    </a:lnTo>
                    <a:lnTo>
                      <a:pt x="383" y="519"/>
                    </a:lnTo>
                    <a:lnTo>
                      <a:pt x="394" y="554"/>
                    </a:lnTo>
                    <a:lnTo>
                      <a:pt x="388" y="578"/>
                    </a:lnTo>
                    <a:lnTo>
                      <a:pt x="363" y="591"/>
                    </a:lnTo>
                    <a:lnTo>
                      <a:pt x="359" y="627"/>
                    </a:lnTo>
                    <a:lnTo>
                      <a:pt x="363" y="672"/>
                    </a:lnTo>
                    <a:lnTo>
                      <a:pt x="374" y="694"/>
                    </a:lnTo>
                    <a:lnTo>
                      <a:pt x="409" y="723"/>
                    </a:lnTo>
                    <a:lnTo>
                      <a:pt x="424" y="750"/>
                    </a:lnTo>
                    <a:lnTo>
                      <a:pt x="440" y="776"/>
                    </a:lnTo>
                    <a:lnTo>
                      <a:pt x="449" y="795"/>
                    </a:lnTo>
                    <a:lnTo>
                      <a:pt x="440" y="813"/>
                    </a:lnTo>
                    <a:lnTo>
                      <a:pt x="420" y="827"/>
                    </a:lnTo>
                    <a:lnTo>
                      <a:pt x="405" y="821"/>
                    </a:lnTo>
                    <a:lnTo>
                      <a:pt x="394" y="808"/>
                    </a:lnTo>
                    <a:lnTo>
                      <a:pt x="374" y="813"/>
                    </a:lnTo>
                    <a:lnTo>
                      <a:pt x="368" y="827"/>
                    </a:lnTo>
                    <a:lnTo>
                      <a:pt x="339" y="827"/>
                    </a:lnTo>
                    <a:lnTo>
                      <a:pt x="294" y="821"/>
                    </a:lnTo>
                    <a:lnTo>
                      <a:pt x="285" y="831"/>
                    </a:lnTo>
                    <a:lnTo>
                      <a:pt x="314" y="844"/>
                    </a:lnTo>
                    <a:lnTo>
                      <a:pt x="354" y="831"/>
                    </a:lnTo>
                    <a:lnTo>
                      <a:pt x="363" y="849"/>
                    </a:lnTo>
                    <a:lnTo>
                      <a:pt x="394" y="853"/>
                    </a:lnTo>
                    <a:lnTo>
                      <a:pt x="415" y="862"/>
                    </a:lnTo>
                    <a:lnTo>
                      <a:pt x="405" y="872"/>
                    </a:lnTo>
                    <a:lnTo>
                      <a:pt x="377" y="866"/>
                    </a:lnTo>
                    <a:lnTo>
                      <a:pt x="374" y="876"/>
                    </a:lnTo>
                    <a:lnTo>
                      <a:pt x="377" y="890"/>
                    </a:lnTo>
                    <a:lnTo>
                      <a:pt x="363" y="908"/>
                    </a:lnTo>
                    <a:lnTo>
                      <a:pt x="339" y="925"/>
                    </a:lnTo>
                    <a:lnTo>
                      <a:pt x="329" y="930"/>
                    </a:lnTo>
                    <a:lnTo>
                      <a:pt x="319" y="935"/>
                    </a:lnTo>
                    <a:lnTo>
                      <a:pt x="325" y="957"/>
                    </a:lnTo>
                    <a:lnTo>
                      <a:pt x="314" y="970"/>
                    </a:lnTo>
                    <a:lnTo>
                      <a:pt x="300" y="998"/>
                    </a:lnTo>
                    <a:lnTo>
                      <a:pt x="305" y="1025"/>
                    </a:lnTo>
                    <a:lnTo>
                      <a:pt x="294" y="1065"/>
                    </a:lnTo>
                    <a:lnTo>
                      <a:pt x="285" y="1083"/>
                    </a:lnTo>
                    <a:lnTo>
                      <a:pt x="285" y="1110"/>
                    </a:lnTo>
                    <a:lnTo>
                      <a:pt x="270" y="1129"/>
                    </a:lnTo>
                    <a:lnTo>
                      <a:pt x="250" y="1161"/>
                    </a:lnTo>
                    <a:lnTo>
                      <a:pt x="246" y="1184"/>
                    </a:lnTo>
                    <a:lnTo>
                      <a:pt x="210" y="1178"/>
                    </a:lnTo>
                    <a:lnTo>
                      <a:pt x="176" y="1178"/>
                    </a:lnTo>
                    <a:lnTo>
                      <a:pt x="171" y="1191"/>
                    </a:lnTo>
                    <a:lnTo>
                      <a:pt x="152" y="1197"/>
                    </a:lnTo>
                    <a:lnTo>
                      <a:pt x="141" y="1202"/>
                    </a:lnTo>
                    <a:lnTo>
                      <a:pt x="146" y="1218"/>
                    </a:lnTo>
                    <a:lnTo>
                      <a:pt x="141" y="1241"/>
                    </a:lnTo>
                    <a:lnTo>
                      <a:pt x="118" y="1254"/>
                    </a:lnTo>
                    <a:lnTo>
                      <a:pt x="103" y="1241"/>
                    </a:lnTo>
                    <a:lnTo>
                      <a:pt x="83" y="1254"/>
                    </a:lnTo>
                    <a:lnTo>
                      <a:pt x="58" y="1254"/>
                    </a:lnTo>
                    <a:lnTo>
                      <a:pt x="49" y="1241"/>
                    </a:lnTo>
                    <a:lnTo>
                      <a:pt x="58" y="1231"/>
                    </a:lnTo>
                    <a:lnTo>
                      <a:pt x="63" y="1206"/>
                    </a:lnTo>
                    <a:lnTo>
                      <a:pt x="43" y="1170"/>
                    </a:lnTo>
                    <a:lnTo>
                      <a:pt x="34" y="1152"/>
                    </a:lnTo>
                    <a:lnTo>
                      <a:pt x="39" y="1142"/>
                    </a:lnTo>
                    <a:lnTo>
                      <a:pt x="49" y="1142"/>
                    </a:lnTo>
                    <a:lnTo>
                      <a:pt x="54" y="1133"/>
                    </a:lnTo>
                    <a:lnTo>
                      <a:pt x="58" y="1124"/>
                    </a:lnTo>
                    <a:lnTo>
                      <a:pt x="63" y="1115"/>
                    </a:lnTo>
                    <a:lnTo>
                      <a:pt x="58" y="1107"/>
                    </a:lnTo>
                    <a:lnTo>
                      <a:pt x="49" y="1088"/>
                    </a:lnTo>
                    <a:lnTo>
                      <a:pt x="29" y="1062"/>
                    </a:lnTo>
                    <a:lnTo>
                      <a:pt x="34" y="1034"/>
                    </a:lnTo>
                    <a:lnTo>
                      <a:pt x="19" y="1012"/>
                    </a:lnTo>
                    <a:lnTo>
                      <a:pt x="5" y="998"/>
                    </a:lnTo>
                    <a:lnTo>
                      <a:pt x="14" y="975"/>
                    </a:lnTo>
                    <a:lnTo>
                      <a:pt x="25" y="930"/>
                    </a:lnTo>
                    <a:lnTo>
                      <a:pt x="5" y="908"/>
                    </a:lnTo>
                    <a:lnTo>
                      <a:pt x="0" y="885"/>
                    </a:lnTo>
                    <a:lnTo>
                      <a:pt x="0" y="872"/>
                    </a:lnTo>
                    <a:lnTo>
                      <a:pt x="9" y="844"/>
                    </a:lnTo>
                    <a:lnTo>
                      <a:pt x="25" y="849"/>
                    </a:lnTo>
                    <a:lnTo>
                      <a:pt x="39" y="813"/>
                    </a:lnTo>
                    <a:lnTo>
                      <a:pt x="39" y="771"/>
                    </a:lnTo>
                    <a:lnTo>
                      <a:pt x="43" y="758"/>
                    </a:lnTo>
                    <a:lnTo>
                      <a:pt x="63" y="745"/>
                    </a:lnTo>
                    <a:lnTo>
                      <a:pt x="92" y="726"/>
                    </a:lnTo>
                    <a:lnTo>
                      <a:pt x="92" y="704"/>
                    </a:lnTo>
                    <a:lnTo>
                      <a:pt x="88" y="636"/>
                    </a:lnTo>
                    <a:lnTo>
                      <a:pt x="77" y="627"/>
                    </a:lnTo>
                    <a:lnTo>
                      <a:pt x="77" y="610"/>
                    </a:lnTo>
                    <a:lnTo>
                      <a:pt x="103" y="600"/>
                    </a:lnTo>
                    <a:lnTo>
                      <a:pt x="112" y="591"/>
                    </a:lnTo>
                    <a:lnTo>
                      <a:pt x="97" y="564"/>
                    </a:lnTo>
                    <a:lnTo>
                      <a:pt x="77" y="538"/>
                    </a:lnTo>
                    <a:lnTo>
                      <a:pt x="83" y="506"/>
                    </a:lnTo>
                    <a:lnTo>
                      <a:pt x="88" y="484"/>
                    </a:lnTo>
                    <a:lnTo>
                      <a:pt x="108" y="444"/>
                    </a:lnTo>
                    <a:lnTo>
                      <a:pt x="108" y="426"/>
                    </a:lnTo>
                    <a:lnTo>
                      <a:pt x="108" y="389"/>
                    </a:lnTo>
                    <a:lnTo>
                      <a:pt x="122" y="357"/>
                    </a:lnTo>
                    <a:lnTo>
                      <a:pt x="146" y="339"/>
                    </a:lnTo>
                    <a:lnTo>
                      <a:pt x="171" y="325"/>
                    </a:lnTo>
                    <a:lnTo>
                      <a:pt x="195" y="331"/>
                    </a:lnTo>
                    <a:lnTo>
                      <a:pt x="221" y="339"/>
                    </a:lnTo>
                    <a:lnTo>
                      <a:pt x="231" y="308"/>
                    </a:lnTo>
                    <a:lnTo>
                      <a:pt x="221" y="280"/>
                    </a:lnTo>
                    <a:lnTo>
                      <a:pt x="210" y="262"/>
                    </a:lnTo>
                    <a:lnTo>
                      <a:pt x="205" y="249"/>
                    </a:lnTo>
                    <a:lnTo>
                      <a:pt x="210" y="235"/>
                    </a:lnTo>
                    <a:lnTo>
                      <a:pt x="226" y="231"/>
                    </a:lnTo>
                    <a:lnTo>
                      <a:pt x="231" y="200"/>
                    </a:lnTo>
                    <a:lnTo>
                      <a:pt x="242" y="172"/>
                    </a:lnTo>
                    <a:lnTo>
                      <a:pt x="246" y="150"/>
                    </a:lnTo>
                    <a:lnTo>
                      <a:pt x="246" y="127"/>
                    </a:lnTo>
                    <a:lnTo>
                      <a:pt x="260" y="105"/>
                    </a:lnTo>
                    <a:lnTo>
                      <a:pt x="291" y="86"/>
                    </a:lnTo>
                    <a:lnTo>
                      <a:pt x="311" y="82"/>
                    </a:lnTo>
                    <a:lnTo>
                      <a:pt x="311" y="60"/>
                    </a:lnTo>
                    <a:lnTo>
                      <a:pt x="319" y="45"/>
                    </a:lnTo>
                    <a:lnTo>
                      <a:pt x="339" y="23"/>
                    </a:lnTo>
                    <a:lnTo>
                      <a:pt x="359" y="10"/>
                    </a:lnTo>
                    <a:lnTo>
                      <a:pt x="706" y="7"/>
                    </a:lnTo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90" name="Freeform 76">
                <a:extLst>
                  <a:ext uri="{FF2B5EF4-FFF2-40B4-BE49-F238E27FC236}">
                    <a16:creationId xmlns:a16="http://schemas.microsoft.com/office/drawing/2014/main" id="{615AAC6D-940A-CFE3-1E81-DAED5C8EA5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37672" y="1396434"/>
                <a:ext cx="352425" cy="458391"/>
              </a:xfrm>
              <a:custGeom>
                <a:avLst/>
                <a:gdLst>
                  <a:gd name="T0" fmla="*/ 248149 w 712"/>
                  <a:gd name="T1" fmla="*/ 555025 h 925"/>
                  <a:gd name="T2" fmla="*/ 261349 w 712"/>
                  <a:gd name="T3" fmla="*/ 527274 h 925"/>
                  <a:gd name="T4" fmla="*/ 271248 w 712"/>
                  <a:gd name="T5" fmla="*/ 491593 h 925"/>
                  <a:gd name="T6" fmla="*/ 293688 w 712"/>
                  <a:gd name="T7" fmla="*/ 443359 h 925"/>
                  <a:gd name="T8" fmla="*/ 284448 w 712"/>
                  <a:gd name="T9" fmla="*/ 413626 h 925"/>
                  <a:gd name="T10" fmla="*/ 310847 w 712"/>
                  <a:gd name="T11" fmla="*/ 390500 h 925"/>
                  <a:gd name="T12" fmla="*/ 291048 w 712"/>
                  <a:gd name="T13" fmla="*/ 352176 h 925"/>
                  <a:gd name="T14" fmla="*/ 303587 w 712"/>
                  <a:gd name="T15" fmla="*/ 292709 h 925"/>
                  <a:gd name="T16" fmla="*/ 310847 w 712"/>
                  <a:gd name="T17" fmla="*/ 241171 h 925"/>
                  <a:gd name="T18" fmla="*/ 352425 w 712"/>
                  <a:gd name="T19" fmla="*/ 215402 h 925"/>
                  <a:gd name="T20" fmla="*/ 385424 w 712"/>
                  <a:gd name="T21" fmla="*/ 211438 h 925"/>
                  <a:gd name="T22" fmla="*/ 370904 w 712"/>
                  <a:gd name="T23" fmla="*/ 158579 h 925"/>
                  <a:gd name="T24" fmla="*/ 388723 w 712"/>
                  <a:gd name="T25" fmla="*/ 143381 h 925"/>
                  <a:gd name="T26" fmla="*/ 398623 w 712"/>
                  <a:gd name="T27" fmla="*/ 77968 h 925"/>
                  <a:gd name="T28" fmla="*/ 440861 w 712"/>
                  <a:gd name="T29" fmla="*/ 50877 h 925"/>
                  <a:gd name="T30" fmla="*/ 466600 w 712"/>
                  <a:gd name="T31" fmla="*/ 9250 h 925"/>
                  <a:gd name="T32" fmla="*/ 408523 w 712"/>
                  <a:gd name="T33" fmla="*/ 3964 h 925"/>
                  <a:gd name="T34" fmla="*/ 358365 w 712"/>
                  <a:gd name="T35" fmla="*/ 50877 h 925"/>
                  <a:gd name="T36" fmla="*/ 348465 w 712"/>
                  <a:gd name="T37" fmla="*/ 77968 h 925"/>
                  <a:gd name="T38" fmla="*/ 329326 w 712"/>
                  <a:gd name="T39" fmla="*/ 113648 h 925"/>
                  <a:gd name="T40" fmla="*/ 326026 w 712"/>
                  <a:gd name="T41" fmla="*/ 146685 h 925"/>
                  <a:gd name="T42" fmla="*/ 310847 w 712"/>
                  <a:gd name="T43" fmla="*/ 164525 h 925"/>
                  <a:gd name="T44" fmla="*/ 265309 w 712"/>
                  <a:gd name="T45" fmla="*/ 188312 h 925"/>
                  <a:gd name="T46" fmla="*/ 248149 w 712"/>
                  <a:gd name="T47" fmla="*/ 223992 h 925"/>
                  <a:gd name="T48" fmla="*/ 291048 w 712"/>
                  <a:gd name="T49" fmla="*/ 202848 h 925"/>
                  <a:gd name="T50" fmla="*/ 252109 w 712"/>
                  <a:gd name="T51" fmla="*/ 227296 h 925"/>
                  <a:gd name="T52" fmla="*/ 229670 w 712"/>
                  <a:gd name="T53" fmla="*/ 230600 h 925"/>
                  <a:gd name="T54" fmla="*/ 193372 w 712"/>
                  <a:gd name="T55" fmla="*/ 241171 h 925"/>
                  <a:gd name="T56" fmla="*/ 170933 w 712"/>
                  <a:gd name="T57" fmla="*/ 262315 h 925"/>
                  <a:gd name="T58" fmla="*/ 151794 w 712"/>
                  <a:gd name="T59" fmla="*/ 260994 h 925"/>
                  <a:gd name="T60" fmla="*/ 135954 w 712"/>
                  <a:gd name="T61" fmla="*/ 279495 h 925"/>
                  <a:gd name="T62" fmla="*/ 98996 w 712"/>
                  <a:gd name="T63" fmla="*/ 284781 h 925"/>
                  <a:gd name="T64" fmla="*/ 85796 w 712"/>
                  <a:gd name="T65" fmla="*/ 294031 h 925"/>
                  <a:gd name="T66" fmla="*/ 58738 w 712"/>
                  <a:gd name="T67" fmla="*/ 303942 h 925"/>
                  <a:gd name="T68" fmla="*/ 40258 w 712"/>
                  <a:gd name="T69" fmla="*/ 321121 h 925"/>
                  <a:gd name="T70" fmla="*/ 29039 w 712"/>
                  <a:gd name="T71" fmla="*/ 375302 h 925"/>
                  <a:gd name="T72" fmla="*/ 17819 w 712"/>
                  <a:gd name="T73" fmla="*/ 432787 h 925"/>
                  <a:gd name="T74" fmla="*/ 49498 w 712"/>
                  <a:gd name="T75" fmla="*/ 440055 h 925"/>
                  <a:gd name="T76" fmla="*/ 34319 w 712"/>
                  <a:gd name="T77" fmla="*/ 471110 h 925"/>
                  <a:gd name="T78" fmla="*/ 11220 w 712"/>
                  <a:gd name="T79" fmla="*/ 494897 h 925"/>
                  <a:gd name="T80" fmla="*/ 37618 w 712"/>
                  <a:gd name="T81" fmla="*/ 504148 h 925"/>
                  <a:gd name="T82" fmla="*/ 29039 w 712"/>
                  <a:gd name="T83" fmla="*/ 525291 h 925"/>
                  <a:gd name="T84" fmla="*/ 9900 w 712"/>
                  <a:gd name="T85" fmla="*/ 535863 h 925"/>
                  <a:gd name="T86" fmla="*/ 19799 w 712"/>
                  <a:gd name="T87" fmla="*/ 564936 h 925"/>
                  <a:gd name="T88" fmla="*/ 53458 w 712"/>
                  <a:gd name="T89" fmla="*/ 600616 h 925"/>
                  <a:gd name="T90" fmla="*/ 122755 w 712"/>
                  <a:gd name="T91" fmla="*/ 594009 h 925"/>
                  <a:gd name="T92" fmla="*/ 182152 w 712"/>
                  <a:gd name="T93" fmla="*/ 537845 h 925"/>
                  <a:gd name="T94" fmla="*/ 206571 w 712"/>
                  <a:gd name="T95" fmla="*/ 529256 h 925"/>
                  <a:gd name="T96" fmla="*/ 216471 w 712"/>
                  <a:gd name="T97" fmla="*/ 516702 h 925"/>
                  <a:gd name="T98" fmla="*/ 223071 w 712"/>
                  <a:gd name="T99" fmla="*/ 545114 h 925"/>
                  <a:gd name="T100" fmla="*/ 236270 w 712"/>
                  <a:gd name="T101" fmla="*/ 558989 h 92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712" h="925">
                    <a:moveTo>
                      <a:pt x="358" y="846"/>
                    </a:moveTo>
                    <a:lnTo>
                      <a:pt x="362" y="843"/>
                    </a:lnTo>
                    <a:lnTo>
                      <a:pt x="376" y="840"/>
                    </a:lnTo>
                    <a:lnTo>
                      <a:pt x="387" y="825"/>
                    </a:lnTo>
                    <a:lnTo>
                      <a:pt x="393" y="808"/>
                    </a:lnTo>
                    <a:lnTo>
                      <a:pt x="396" y="798"/>
                    </a:lnTo>
                    <a:lnTo>
                      <a:pt x="393" y="772"/>
                    </a:lnTo>
                    <a:lnTo>
                      <a:pt x="396" y="753"/>
                    </a:lnTo>
                    <a:lnTo>
                      <a:pt x="411" y="744"/>
                    </a:lnTo>
                    <a:lnTo>
                      <a:pt x="445" y="731"/>
                    </a:lnTo>
                    <a:lnTo>
                      <a:pt x="451" y="717"/>
                    </a:lnTo>
                    <a:lnTo>
                      <a:pt x="445" y="671"/>
                    </a:lnTo>
                    <a:lnTo>
                      <a:pt x="441" y="663"/>
                    </a:lnTo>
                    <a:lnTo>
                      <a:pt x="441" y="636"/>
                    </a:lnTo>
                    <a:lnTo>
                      <a:pt x="431" y="626"/>
                    </a:lnTo>
                    <a:lnTo>
                      <a:pt x="436" y="604"/>
                    </a:lnTo>
                    <a:lnTo>
                      <a:pt x="445" y="604"/>
                    </a:lnTo>
                    <a:lnTo>
                      <a:pt x="471" y="591"/>
                    </a:lnTo>
                    <a:lnTo>
                      <a:pt x="451" y="550"/>
                    </a:lnTo>
                    <a:lnTo>
                      <a:pt x="441" y="536"/>
                    </a:lnTo>
                    <a:lnTo>
                      <a:pt x="441" y="533"/>
                    </a:lnTo>
                    <a:lnTo>
                      <a:pt x="441" y="498"/>
                    </a:lnTo>
                    <a:lnTo>
                      <a:pt x="456" y="470"/>
                    </a:lnTo>
                    <a:lnTo>
                      <a:pt x="460" y="443"/>
                    </a:lnTo>
                    <a:lnTo>
                      <a:pt x="465" y="411"/>
                    </a:lnTo>
                    <a:lnTo>
                      <a:pt x="460" y="384"/>
                    </a:lnTo>
                    <a:lnTo>
                      <a:pt x="471" y="365"/>
                    </a:lnTo>
                    <a:lnTo>
                      <a:pt x="476" y="352"/>
                    </a:lnTo>
                    <a:lnTo>
                      <a:pt x="505" y="334"/>
                    </a:lnTo>
                    <a:lnTo>
                      <a:pt x="534" y="326"/>
                    </a:lnTo>
                    <a:lnTo>
                      <a:pt x="559" y="334"/>
                    </a:lnTo>
                    <a:lnTo>
                      <a:pt x="568" y="339"/>
                    </a:lnTo>
                    <a:lnTo>
                      <a:pt x="584" y="320"/>
                    </a:lnTo>
                    <a:lnTo>
                      <a:pt x="584" y="298"/>
                    </a:lnTo>
                    <a:lnTo>
                      <a:pt x="568" y="257"/>
                    </a:lnTo>
                    <a:lnTo>
                      <a:pt x="562" y="240"/>
                    </a:lnTo>
                    <a:lnTo>
                      <a:pt x="568" y="230"/>
                    </a:lnTo>
                    <a:lnTo>
                      <a:pt x="578" y="230"/>
                    </a:lnTo>
                    <a:lnTo>
                      <a:pt x="589" y="217"/>
                    </a:lnTo>
                    <a:lnTo>
                      <a:pt x="595" y="190"/>
                    </a:lnTo>
                    <a:lnTo>
                      <a:pt x="599" y="154"/>
                    </a:lnTo>
                    <a:lnTo>
                      <a:pt x="604" y="118"/>
                    </a:lnTo>
                    <a:lnTo>
                      <a:pt x="618" y="104"/>
                    </a:lnTo>
                    <a:lnTo>
                      <a:pt x="647" y="87"/>
                    </a:lnTo>
                    <a:lnTo>
                      <a:pt x="668" y="77"/>
                    </a:lnTo>
                    <a:lnTo>
                      <a:pt x="672" y="50"/>
                    </a:lnTo>
                    <a:lnTo>
                      <a:pt x="682" y="32"/>
                    </a:lnTo>
                    <a:lnTo>
                      <a:pt x="707" y="14"/>
                    </a:lnTo>
                    <a:lnTo>
                      <a:pt x="712" y="0"/>
                    </a:lnTo>
                    <a:lnTo>
                      <a:pt x="711" y="10"/>
                    </a:lnTo>
                    <a:lnTo>
                      <a:pt x="619" y="6"/>
                    </a:lnTo>
                    <a:lnTo>
                      <a:pt x="584" y="32"/>
                    </a:lnTo>
                    <a:lnTo>
                      <a:pt x="568" y="59"/>
                    </a:lnTo>
                    <a:lnTo>
                      <a:pt x="543" y="77"/>
                    </a:lnTo>
                    <a:lnTo>
                      <a:pt x="543" y="90"/>
                    </a:lnTo>
                    <a:lnTo>
                      <a:pt x="548" y="104"/>
                    </a:lnTo>
                    <a:lnTo>
                      <a:pt x="528" y="118"/>
                    </a:lnTo>
                    <a:lnTo>
                      <a:pt x="534" y="135"/>
                    </a:lnTo>
                    <a:lnTo>
                      <a:pt x="514" y="167"/>
                    </a:lnTo>
                    <a:lnTo>
                      <a:pt x="499" y="172"/>
                    </a:lnTo>
                    <a:lnTo>
                      <a:pt x="499" y="195"/>
                    </a:lnTo>
                    <a:lnTo>
                      <a:pt x="510" y="208"/>
                    </a:lnTo>
                    <a:lnTo>
                      <a:pt x="494" y="222"/>
                    </a:lnTo>
                    <a:lnTo>
                      <a:pt x="485" y="212"/>
                    </a:lnTo>
                    <a:lnTo>
                      <a:pt x="465" y="222"/>
                    </a:lnTo>
                    <a:lnTo>
                      <a:pt x="471" y="249"/>
                    </a:lnTo>
                    <a:lnTo>
                      <a:pt x="451" y="257"/>
                    </a:lnTo>
                    <a:lnTo>
                      <a:pt x="421" y="262"/>
                    </a:lnTo>
                    <a:lnTo>
                      <a:pt x="402" y="285"/>
                    </a:lnTo>
                    <a:lnTo>
                      <a:pt x="396" y="307"/>
                    </a:lnTo>
                    <a:lnTo>
                      <a:pt x="376" y="326"/>
                    </a:lnTo>
                    <a:lnTo>
                      <a:pt x="376" y="339"/>
                    </a:lnTo>
                    <a:lnTo>
                      <a:pt x="402" y="320"/>
                    </a:lnTo>
                    <a:lnTo>
                      <a:pt x="431" y="303"/>
                    </a:lnTo>
                    <a:lnTo>
                      <a:pt x="441" y="307"/>
                    </a:lnTo>
                    <a:lnTo>
                      <a:pt x="431" y="334"/>
                    </a:lnTo>
                    <a:lnTo>
                      <a:pt x="407" y="349"/>
                    </a:lnTo>
                    <a:lnTo>
                      <a:pt x="382" y="344"/>
                    </a:lnTo>
                    <a:lnTo>
                      <a:pt x="387" y="362"/>
                    </a:lnTo>
                    <a:lnTo>
                      <a:pt x="353" y="375"/>
                    </a:lnTo>
                    <a:lnTo>
                      <a:pt x="348" y="349"/>
                    </a:lnTo>
                    <a:lnTo>
                      <a:pt x="333" y="339"/>
                    </a:lnTo>
                    <a:lnTo>
                      <a:pt x="313" y="365"/>
                    </a:lnTo>
                    <a:lnTo>
                      <a:pt x="293" y="365"/>
                    </a:lnTo>
                    <a:lnTo>
                      <a:pt x="272" y="371"/>
                    </a:lnTo>
                    <a:lnTo>
                      <a:pt x="269" y="393"/>
                    </a:lnTo>
                    <a:lnTo>
                      <a:pt x="259" y="397"/>
                    </a:lnTo>
                    <a:lnTo>
                      <a:pt x="259" y="409"/>
                    </a:lnTo>
                    <a:lnTo>
                      <a:pt x="247" y="405"/>
                    </a:lnTo>
                    <a:lnTo>
                      <a:pt x="230" y="395"/>
                    </a:lnTo>
                    <a:lnTo>
                      <a:pt x="203" y="397"/>
                    </a:lnTo>
                    <a:lnTo>
                      <a:pt x="203" y="411"/>
                    </a:lnTo>
                    <a:lnTo>
                      <a:pt x="206" y="423"/>
                    </a:lnTo>
                    <a:lnTo>
                      <a:pt x="196" y="427"/>
                    </a:lnTo>
                    <a:lnTo>
                      <a:pt x="172" y="416"/>
                    </a:lnTo>
                    <a:lnTo>
                      <a:pt x="150" y="431"/>
                    </a:lnTo>
                    <a:lnTo>
                      <a:pt x="155" y="445"/>
                    </a:lnTo>
                    <a:lnTo>
                      <a:pt x="152" y="454"/>
                    </a:lnTo>
                    <a:lnTo>
                      <a:pt x="130" y="445"/>
                    </a:lnTo>
                    <a:lnTo>
                      <a:pt x="123" y="457"/>
                    </a:lnTo>
                    <a:lnTo>
                      <a:pt x="116" y="466"/>
                    </a:lnTo>
                    <a:lnTo>
                      <a:pt x="89" y="460"/>
                    </a:lnTo>
                    <a:lnTo>
                      <a:pt x="74" y="463"/>
                    </a:lnTo>
                    <a:lnTo>
                      <a:pt x="72" y="482"/>
                    </a:lnTo>
                    <a:lnTo>
                      <a:pt x="61" y="486"/>
                    </a:lnTo>
                    <a:lnTo>
                      <a:pt x="47" y="507"/>
                    </a:lnTo>
                    <a:lnTo>
                      <a:pt x="50" y="533"/>
                    </a:lnTo>
                    <a:lnTo>
                      <a:pt x="44" y="568"/>
                    </a:lnTo>
                    <a:lnTo>
                      <a:pt x="37" y="604"/>
                    </a:lnTo>
                    <a:lnTo>
                      <a:pt x="32" y="639"/>
                    </a:lnTo>
                    <a:lnTo>
                      <a:pt x="27" y="655"/>
                    </a:lnTo>
                    <a:lnTo>
                      <a:pt x="40" y="671"/>
                    </a:lnTo>
                    <a:lnTo>
                      <a:pt x="61" y="658"/>
                    </a:lnTo>
                    <a:lnTo>
                      <a:pt x="75" y="666"/>
                    </a:lnTo>
                    <a:lnTo>
                      <a:pt x="75" y="679"/>
                    </a:lnTo>
                    <a:lnTo>
                      <a:pt x="54" y="690"/>
                    </a:lnTo>
                    <a:lnTo>
                      <a:pt x="52" y="713"/>
                    </a:lnTo>
                    <a:lnTo>
                      <a:pt x="47" y="724"/>
                    </a:lnTo>
                    <a:lnTo>
                      <a:pt x="26" y="721"/>
                    </a:lnTo>
                    <a:lnTo>
                      <a:pt x="17" y="749"/>
                    </a:lnTo>
                    <a:lnTo>
                      <a:pt x="27" y="756"/>
                    </a:lnTo>
                    <a:lnTo>
                      <a:pt x="47" y="750"/>
                    </a:lnTo>
                    <a:lnTo>
                      <a:pt x="57" y="763"/>
                    </a:lnTo>
                    <a:lnTo>
                      <a:pt x="58" y="769"/>
                    </a:lnTo>
                    <a:lnTo>
                      <a:pt x="43" y="779"/>
                    </a:lnTo>
                    <a:lnTo>
                      <a:pt x="44" y="795"/>
                    </a:lnTo>
                    <a:lnTo>
                      <a:pt x="26" y="798"/>
                    </a:lnTo>
                    <a:lnTo>
                      <a:pt x="12" y="790"/>
                    </a:lnTo>
                    <a:lnTo>
                      <a:pt x="15" y="811"/>
                    </a:lnTo>
                    <a:lnTo>
                      <a:pt x="12" y="827"/>
                    </a:lnTo>
                    <a:lnTo>
                      <a:pt x="0" y="827"/>
                    </a:lnTo>
                    <a:lnTo>
                      <a:pt x="30" y="855"/>
                    </a:lnTo>
                    <a:lnTo>
                      <a:pt x="44" y="871"/>
                    </a:lnTo>
                    <a:lnTo>
                      <a:pt x="52" y="893"/>
                    </a:lnTo>
                    <a:lnTo>
                      <a:pt x="81" y="909"/>
                    </a:lnTo>
                    <a:lnTo>
                      <a:pt x="113" y="925"/>
                    </a:lnTo>
                    <a:lnTo>
                      <a:pt x="143" y="925"/>
                    </a:lnTo>
                    <a:lnTo>
                      <a:pt x="186" y="899"/>
                    </a:lnTo>
                    <a:lnTo>
                      <a:pt x="230" y="869"/>
                    </a:lnTo>
                    <a:lnTo>
                      <a:pt x="269" y="819"/>
                    </a:lnTo>
                    <a:lnTo>
                      <a:pt x="276" y="814"/>
                    </a:lnTo>
                    <a:lnTo>
                      <a:pt x="287" y="830"/>
                    </a:lnTo>
                    <a:lnTo>
                      <a:pt x="307" y="819"/>
                    </a:lnTo>
                    <a:lnTo>
                      <a:pt x="313" y="801"/>
                    </a:lnTo>
                    <a:lnTo>
                      <a:pt x="316" y="779"/>
                    </a:lnTo>
                    <a:lnTo>
                      <a:pt x="336" y="750"/>
                    </a:lnTo>
                    <a:lnTo>
                      <a:pt x="328" y="782"/>
                    </a:lnTo>
                    <a:lnTo>
                      <a:pt x="338" y="787"/>
                    </a:lnTo>
                    <a:lnTo>
                      <a:pt x="333" y="801"/>
                    </a:lnTo>
                    <a:lnTo>
                      <a:pt x="338" y="825"/>
                    </a:lnTo>
                    <a:lnTo>
                      <a:pt x="348" y="846"/>
                    </a:lnTo>
                    <a:lnTo>
                      <a:pt x="359" y="840"/>
                    </a:lnTo>
                    <a:lnTo>
                      <a:pt x="358" y="84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91" name="Freeform 77">
                <a:extLst>
                  <a:ext uri="{FF2B5EF4-FFF2-40B4-BE49-F238E27FC236}">
                    <a16:creationId xmlns:a16="http://schemas.microsoft.com/office/drawing/2014/main" id="{1B830103-9ECC-1B6C-1BE0-652CB6AF5A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54379" y="2331075"/>
                <a:ext cx="229790" cy="95250"/>
              </a:xfrm>
              <a:custGeom>
                <a:avLst/>
                <a:gdLst>
                  <a:gd name="T0" fmla="*/ 104020 w 486"/>
                  <a:gd name="T1" fmla="*/ 6438 h 217"/>
                  <a:gd name="T2" fmla="*/ 114738 w 486"/>
                  <a:gd name="T3" fmla="*/ 0 h 217"/>
                  <a:gd name="T4" fmla="*/ 126716 w 486"/>
                  <a:gd name="T5" fmla="*/ 0 h 217"/>
                  <a:gd name="T6" fmla="*/ 132389 w 486"/>
                  <a:gd name="T7" fmla="*/ 8779 h 217"/>
                  <a:gd name="T8" fmla="*/ 143737 w 486"/>
                  <a:gd name="T9" fmla="*/ 1756 h 217"/>
                  <a:gd name="T10" fmla="*/ 155085 w 486"/>
                  <a:gd name="T11" fmla="*/ 4682 h 217"/>
                  <a:gd name="T12" fmla="*/ 172106 w 486"/>
                  <a:gd name="T13" fmla="*/ 21654 h 217"/>
                  <a:gd name="T14" fmla="*/ 191649 w 486"/>
                  <a:gd name="T15" fmla="*/ 29263 h 217"/>
                  <a:gd name="T16" fmla="*/ 198584 w 486"/>
                  <a:gd name="T17" fmla="*/ 31018 h 217"/>
                  <a:gd name="T18" fmla="*/ 208041 w 486"/>
                  <a:gd name="T19" fmla="*/ 23410 h 217"/>
                  <a:gd name="T20" fmla="*/ 217497 w 486"/>
                  <a:gd name="T21" fmla="*/ 20484 h 217"/>
                  <a:gd name="T22" fmla="*/ 243975 w 486"/>
                  <a:gd name="T23" fmla="*/ 26922 h 217"/>
                  <a:gd name="T24" fmla="*/ 278648 w 486"/>
                  <a:gd name="T25" fmla="*/ 33945 h 217"/>
                  <a:gd name="T26" fmla="*/ 306387 w 486"/>
                  <a:gd name="T27" fmla="*/ 41553 h 217"/>
                  <a:gd name="T28" fmla="*/ 296931 w 486"/>
                  <a:gd name="T29" fmla="*/ 52088 h 217"/>
                  <a:gd name="T30" fmla="*/ 278648 w 486"/>
                  <a:gd name="T31" fmla="*/ 69060 h 217"/>
                  <a:gd name="T32" fmla="*/ 274235 w 486"/>
                  <a:gd name="T33" fmla="*/ 74327 h 217"/>
                  <a:gd name="T34" fmla="*/ 276127 w 486"/>
                  <a:gd name="T35" fmla="*/ 86618 h 217"/>
                  <a:gd name="T36" fmla="*/ 262888 w 486"/>
                  <a:gd name="T37" fmla="*/ 86618 h 217"/>
                  <a:gd name="T38" fmla="*/ 249649 w 486"/>
                  <a:gd name="T39" fmla="*/ 77839 h 217"/>
                  <a:gd name="T40" fmla="*/ 237040 w 486"/>
                  <a:gd name="T41" fmla="*/ 74327 h 217"/>
                  <a:gd name="T42" fmla="*/ 202997 w 486"/>
                  <a:gd name="T43" fmla="*/ 81935 h 217"/>
                  <a:gd name="T44" fmla="*/ 194171 w 486"/>
                  <a:gd name="T45" fmla="*/ 88959 h 217"/>
                  <a:gd name="T46" fmla="*/ 184715 w 486"/>
                  <a:gd name="T47" fmla="*/ 100078 h 217"/>
                  <a:gd name="T48" fmla="*/ 166432 w 486"/>
                  <a:gd name="T49" fmla="*/ 110613 h 217"/>
                  <a:gd name="T50" fmla="*/ 155715 w 486"/>
                  <a:gd name="T51" fmla="*/ 110613 h 217"/>
                  <a:gd name="T52" fmla="*/ 144368 w 486"/>
                  <a:gd name="T53" fmla="*/ 101834 h 217"/>
                  <a:gd name="T54" fmla="*/ 134911 w 486"/>
                  <a:gd name="T55" fmla="*/ 101834 h 217"/>
                  <a:gd name="T56" fmla="*/ 100238 w 486"/>
                  <a:gd name="T57" fmla="*/ 117636 h 217"/>
                  <a:gd name="T58" fmla="*/ 83216 w 486"/>
                  <a:gd name="T59" fmla="*/ 125244 h 217"/>
                  <a:gd name="T60" fmla="*/ 71238 w 486"/>
                  <a:gd name="T61" fmla="*/ 127000 h 217"/>
                  <a:gd name="T62" fmla="*/ 43499 w 486"/>
                  <a:gd name="T63" fmla="*/ 125244 h 217"/>
                  <a:gd name="T64" fmla="*/ 32152 w 486"/>
                  <a:gd name="T65" fmla="*/ 125244 h 217"/>
                  <a:gd name="T66" fmla="*/ 23326 w 486"/>
                  <a:gd name="T67" fmla="*/ 113539 h 217"/>
                  <a:gd name="T68" fmla="*/ 18913 w 486"/>
                  <a:gd name="T69" fmla="*/ 109442 h 217"/>
                  <a:gd name="T70" fmla="*/ 9456 w 486"/>
                  <a:gd name="T71" fmla="*/ 104175 h 217"/>
                  <a:gd name="T72" fmla="*/ 3783 w 486"/>
                  <a:gd name="T73" fmla="*/ 98908 h 217"/>
                  <a:gd name="T74" fmla="*/ 0 w 486"/>
                  <a:gd name="T75" fmla="*/ 86618 h 217"/>
                  <a:gd name="T76" fmla="*/ 0 w 486"/>
                  <a:gd name="T77" fmla="*/ 72571 h 217"/>
                  <a:gd name="T78" fmla="*/ 29630 w 486"/>
                  <a:gd name="T79" fmla="*/ 61452 h 217"/>
                  <a:gd name="T80" fmla="*/ 62412 w 486"/>
                  <a:gd name="T81" fmla="*/ 61452 h 217"/>
                  <a:gd name="T82" fmla="*/ 82586 w 486"/>
                  <a:gd name="T83" fmla="*/ 44479 h 217"/>
                  <a:gd name="T84" fmla="*/ 85108 w 486"/>
                  <a:gd name="T85" fmla="*/ 15217 h 217"/>
                  <a:gd name="T86" fmla="*/ 104020 w 486"/>
                  <a:gd name="T87" fmla="*/ 6438 h 217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486" h="217">
                    <a:moveTo>
                      <a:pt x="165" y="11"/>
                    </a:moveTo>
                    <a:lnTo>
                      <a:pt x="182" y="0"/>
                    </a:lnTo>
                    <a:lnTo>
                      <a:pt x="201" y="0"/>
                    </a:lnTo>
                    <a:lnTo>
                      <a:pt x="210" y="15"/>
                    </a:lnTo>
                    <a:lnTo>
                      <a:pt x="228" y="3"/>
                    </a:lnTo>
                    <a:lnTo>
                      <a:pt x="246" y="8"/>
                    </a:lnTo>
                    <a:lnTo>
                      <a:pt x="273" y="37"/>
                    </a:lnTo>
                    <a:lnTo>
                      <a:pt x="304" y="50"/>
                    </a:lnTo>
                    <a:lnTo>
                      <a:pt x="315" y="53"/>
                    </a:lnTo>
                    <a:lnTo>
                      <a:pt x="330" y="40"/>
                    </a:lnTo>
                    <a:lnTo>
                      <a:pt x="345" y="35"/>
                    </a:lnTo>
                    <a:lnTo>
                      <a:pt x="387" y="46"/>
                    </a:lnTo>
                    <a:lnTo>
                      <a:pt x="442" y="58"/>
                    </a:lnTo>
                    <a:lnTo>
                      <a:pt x="486" y="71"/>
                    </a:lnTo>
                    <a:lnTo>
                      <a:pt x="471" y="89"/>
                    </a:lnTo>
                    <a:lnTo>
                      <a:pt x="442" y="118"/>
                    </a:lnTo>
                    <a:lnTo>
                      <a:pt x="435" y="127"/>
                    </a:lnTo>
                    <a:lnTo>
                      <a:pt x="438" y="148"/>
                    </a:lnTo>
                    <a:lnTo>
                      <a:pt x="417" y="148"/>
                    </a:lnTo>
                    <a:lnTo>
                      <a:pt x="396" y="133"/>
                    </a:lnTo>
                    <a:lnTo>
                      <a:pt x="376" y="127"/>
                    </a:lnTo>
                    <a:lnTo>
                      <a:pt x="322" y="140"/>
                    </a:lnTo>
                    <a:lnTo>
                      <a:pt x="308" y="152"/>
                    </a:lnTo>
                    <a:lnTo>
                      <a:pt x="293" y="171"/>
                    </a:lnTo>
                    <a:lnTo>
                      <a:pt x="264" y="189"/>
                    </a:lnTo>
                    <a:lnTo>
                      <a:pt x="247" y="189"/>
                    </a:lnTo>
                    <a:lnTo>
                      <a:pt x="229" y="174"/>
                    </a:lnTo>
                    <a:lnTo>
                      <a:pt x="214" y="174"/>
                    </a:lnTo>
                    <a:lnTo>
                      <a:pt x="159" y="201"/>
                    </a:lnTo>
                    <a:lnTo>
                      <a:pt x="132" y="214"/>
                    </a:lnTo>
                    <a:lnTo>
                      <a:pt x="113" y="217"/>
                    </a:lnTo>
                    <a:lnTo>
                      <a:pt x="69" y="214"/>
                    </a:lnTo>
                    <a:lnTo>
                      <a:pt x="51" y="214"/>
                    </a:lnTo>
                    <a:lnTo>
                      <a:pt x="37" y="194"/>
                    </a:lnTo>
                    <a:lnTo>
                      <a:pt x="30" y="187"/>
                    </a:lnTo>
                    <a:lnTo>
                      <a:pt x="15" y="178"/>
                    </a:lnTo>
                    <a:lnTo>
                      <a:pt x="6" y="169"/>
                    </a:lnTo>
                    <a:lnTo>
                      <a:pt x="0" y="148"/>
                    </a:lnTo>
                    <a:lnTo>
                      <a:pt x="0" y="124"/>
                    </a:lnTo>
                    <a:lnTo>
                      <a:pt x="47" y="105"/>
                    </a:lnTo>
                    <a:lnTo>
                      <a:pt x="99" y="105"/>
                    </a:lnTo>
                    <a:lnTo>
                      <a:pt x="131" y="76"/>
                    </a:lnTo>
                    <a:lnTo>
                      <a:pt x="135" y="26"/>
                    </a:lnTo>
                    <a:lnTo>
                      <a:pt x="165" y="11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92" name="Freeform 78">
                <a:extLst>
                  <a:ext uri="{FF2B5EF4-FFF2-40B4-BE49-F238E27FC236}">
                    <a16:creationId xmlns:a16="http://schemas.microsoft.com/office/drawing/2014/main" id="{9B8620A9-847A-5FE5-8CFE-D456F0C342A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97228" y="2562057"/>
                <a:ext cx="155972" cy="134540"/>
              </a:xfrm>
              <a:custGeom>
                <a:avLst/>
                <a:gdLst>
                  <a:gd name="T0" fmla="*/ 192159 w 329"/>
                  <a:gd name="T1" fmla="*/ 25208 h 306"/>
                  <a:gd name="T2" fmla="*/ 182046 w 329"/>
                  <a:gd name="T3" fmla="*/ 25208 h 306"/>
                  <a:gd name="T4" fmla="*/ 170668 w 329"/>
                  <a:gd name="T5" fmla="*/ 18173 h 306"/>
                  <a:gd name="T6" fmla="*/ 155497 w 329"/>
                  <a:gd name="T7" fmla="*/ 10552 h 306"/>
                  <a:gd name="T8" fmla="*/ 137166 w 329"/>
                  <a:gd name="T9" fmla="*/ 19346 h 306"/>
                  <a:gd name="T10" fmla="*/ 120732 w 329"/>
                  <a:gd name="T11" fmla="*/ 15242 h 306"/>
                  <a:gd name="T12" fmla="*/ 106193 w 329"/>
                  <a:gd name="T13" fmla="*/ 22277 h 306"/>
                  <a:gd name="T14" fmla="*/ 104929 w 329"/>
                  <a:gd name="T15" fmla="*/ 15242 h 306"/>
                  <a:gd name="T16" fmla="*/ 91655 w 329"/>
                  <a:gd name="T17" fmla="*/ 14656 h 306"/>
                  <a:gd name="T18" fmla="*/ 76485 w 329"/>
                  <a:gd name="T19" fmla="*/ 0 h 306"/>
                  <a:gd name="T20" fmla="*/ 52465 w 329"/>
                  <a:gd name="T21" fmla="*/ 24622 h 306"/>
                  <a:gd name="T22" fmla="*/ 15170 w 329"/>
                  <a:gd name="T23" fmla="*/ 12897 h 306"/>
                  <a:gd name="T24" fmla="*/ 0 w 329"/>
                  <a:gd name="T25" fmla="*/ 17001 h 306"/>
                  <a:gd name="T26" fmla="*/ 0 w 329"/>
                  <a:gd name="T27" fmla="*/ 25208 h 306"/>
                  <a:gd name="T28" fmla="*/ 40455 w 329"/>
                  <a:gd name="T29" fmla="*/ 63313 h 306"/>
                  <a:gd name="T30" fmla="*/ 49936 w 329"/>
                  <a:gd name="T31" fmla="*/ 88521 h 306"/>
                  <a:gd name="T32" fmla="*/ 70796 w 329"/>
                  <a:gd name="T33" fmla="*/ 103177 h 306"/>
                  <a:gd name="T34" fmla="*/ 79645 w 329"/>
                  <a:gd name="T35" fmla="*/ 100832 h 306"/>
                  <a:gd name="T36" fmla="*/ 131477 w 329"/>
                  <a:gd name="T37" fmla="*/ 151834 h 306"/>
                  <a:gd name="T38" fmla="*/ 134638 w 329"/>
                  <a:gd name="T39" fmla="*/ 162973 h 306"/>
                  <a:gd name="T40" fmla="*/ 131477 w 329"/>
                  <a:gd name="T41" fmla="*/ 171180 h 306"/>
                  <a:gd name="T42" fmla="*/ 134638 w 329"/>
                  <a:gd name="T43" fmla="*/ 179387 h 306"/>
                  <a:gd name="T44" fmla="*/ 149808 w 329"/>
                  <a:gd name="T45" fmla="*/ 171766 h 306"/>
                  <a:gd name="T46" fmla="*/ 161186 w 329"/>
                  <a:gd name="T47" fmla="*/ 167662 h 306"/>
                  <a:gd name="T48" fmla="*/ 161186 w 329"/>
                  <a:gd name="T49" fmla="*/ 150662 h 306"/>
                  <a:gd name="T50" fmla="*/ 175725 w 329"/>
                  <a:gd name="T51" fmla="*/ 139523 h 306"/>
                  <a:gd name="T52" fmla="*/ 182046 w 329"/>
                  <a:gd name="T53" fmla="*/ 127212 h 306"/>
                  <a:gd name="T54" fmla="*/ 197848 w 329"/>
                  <a:gd name="T55" fmla="*/ 121936 h 306"/>
                  <a:gd name="T56" fmla="*/ 200377 w 329"/>
                  <a:gd name="T57" fmla="*/ 107280 h 306"/>
                  <a:gd name="T58" fmla="*/ 197848 w 329"/>
                  <a:gd name="T59" fmla="*/ 93211 h 306"/>
                  <a:gd name="T60" fmla="*/ 205434 w 329"/>
                  <a:gd name="T61" fmla="*/ 87935 h 306"/>
                  <a:gd name="T62" fmla="*/ 191527 w 329"/>
                  <a:gd name="T63" fmla="*/ 69175 h 306"/>
                  <a:gd name="T64" fmla="*/ 207962 w 329"/>
                  <a:gd name="T65" fmla="*/ 42209 h 306"/>
                  <a:gd name="T66" fmla="*/ 192159 w 329"/>
                  <a:gd name="T67" fmla="*/ 25208 h 30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329" h="306">
                    <a:moveTo>
                      <a:pt x="304" y="43"/>
                    </a:moveTo>
                    <a:lnTo>
                      <a:pt x="288" y="43"/>
                    </a:lnTo>
                    <a:lnTo>
                      <a:pt x="270" y="31"/>
                    </a:lnTo>
                    <a:lnTo>
                      <a:pt x="246" y="18"/>
                    </a:lnTo>
                    <a:lnTo>
                      <a:pt x="217" y="33"/>
                    </a:lnTo>
                    <a:lnTo>
                      <a:pt x="191" y="26"/>
                    </a:lnTo>
                    <a:lnTo>
                      <a:pt x="168" y="38"/>
                    </a:lnTo>
                    <a:lnTo>
                      <a:pt x="166" y="26"/>
                    </a:lnTo>
                    <a:lnTo>
                      <a:pt x="145" y="25"/>
                    </a:lnTo>
                    <a:lnTo>
                      <a:pt x="121" y="0"/>
                    </a:lnTo>
                    <a:lnTo>
                      <a:pt x="83" y="42"/>
                    </a:lnTo>
                    <a:lnTo>
                      <a:pt x="24" y="22"/>
                    </a:lnTo>
                    <a:lnTo>
                      <a:pt x="0" y="29"/>
                    </a:lnTo>
                    <a:lnTo>
                      <a:pt x="0" y="43"/>
                    </a:lnTo>
                    <a:lnTo>
                      <a:pt x="64" y="108"/>
                    </a:lnTo>
                    <a:lnTo>
                      <a:pt x="79" y="151"/>
                    </a:lnTo>
                    <a:lnTo>
                      <a:pt x="112" y="176"/>
                    </a:lnTo>
                    <a:lnTo>
                      <a:pt x="126" y="172"/>
                    </a:lnTo>
                    <a:lnTo>
                      <a:pt x="208" y="259"/>
                    </a:lnTo>
                    <a:lnTo>
                      <a:pt x="213" y="278"/>
                    </a:lnTo>
                    <a:lnTo>
                      <a:pt x="208" y="292"/>
                    </a:lnTo>
                    <a:lnTo>
                      <a:pt x="213" y="306"/>
                    </a:lnTo>
                    <a:lnTo>
                      <a:pt x="237" y="293"/>
                    </a:lnTo>
                    <a:lnTo>
                      <a:pt x="255" y="286"/>
                    </a:lnTo>
                    <a:lnTo>
                      <a:pt x="255" y="257"/>
                    </a:lnTo>
                    <a:lnTo>
                      <a:pt x="278" y="238"/>
                    </a:lnTo>
                    <a:lnTo>
                      <a:pt x="288" y="217"/>
                    </a:lnTo>
                    <a:lnTo>
                      <a:pt x="313" y="208"/>
                    </a:lnTo>
                    <a:lnTo>
                      <a:pt x="317" y="183"/>
                    </a:lnTo>
                    <a:lnTo>
                      <a:pt x="313" y="159"/>
                    </a:lnTo>
                    <a:lnTo>
                      <a:pt x="325" y="150"/>
                    </a:lnTo>
                    <a:lnTo>
                      <a:pt x="303" y="118"/>
                    </a:lnTo>
                    <a:lnTo>
                      <a:pt x="329" y="72"/>
                    </a:lnTo>
                    <a:lnTo>
                      <a:pt x="304" y="4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93" name="Freeform 79">
                <a:extLst>
                  <a:ext uri="{FF2B5EF4-FFF2-40B4-BE49-F238E27FC236}">
                    <a16:creationId xmlns:a16="http://schemas.microsoft.com/office/drawing/2014/main" id="{E33E1C8E-7B90-A157-B454-EAAD02D5B2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10350" y="2737078"/>
                <a:ext cx="105966" cy="65485"/>
              </a:xfrm>
              <a:custGeom>
                <a:avLst/>
                <a:gdLst>
                  <a:gd name="T0" fmla="*/ 5046 w 224"/>
                  <a:gd name="T1" fmla="*/ 26424 h 152"/>
                  <a:gd name="T2" fmla="*/ 29645 w 224"/>
                  <a:gd name="T3" fmla="*/ 10914 h 152"/>
                  <a:gd name="T4" fmla="*/ 45414 w 224"/>
                  <a:gd name="T5" fmla="*/ 8616 h 152"/>
                  <a:gd name="T6" fmla="*/ 60552 w 224"/>
                  <a:gd name="T7" fmla="*/ 4595 h 152"/>
                  <a:gd name="T8" fmla="*/ 73798 w 224"/>
                  <a:gd name="T9" fmla="*/ 4595 h 152"/>
                  <a:gd name="T10" fmla="*/ 87044 w 224"/>
                  <a:gd name="T11" fmla="*/ 0 h 152"/>
                  <a:gd name="T12" fmla="*/ 109751 w 224"/>
                  <a:gd name="T13" fmla="*/ 4595 h 152"/>
                  <a:gd name="T14" fmla="*/ 122996 w 224"/>
                  <a:gd name="T15" fmla="*/ 4021 h 152"/>
                  <a:gd name="T16" fmla="*/ 135611 w 224"/>
                  <a:gd name="T17" fmla="*/ 16084 h 152"/>
                  <a:gd name="T18" fmla="*/ 134350 w 224"/>
                  <a:gd name="T19" fmla="*/ 49975 h 152"/>
                  <a:gd name="T20" fmla="*/ 141288 w 224"/>
                  <a:gd name="T21" fmla="*/ 53996 h 152"/>
                  <a:gd name="T22" fmla="*/ 131196 w 224"/>
                  <a:gd name="T23" fmla="*/ 68357 h 152"/>
                  <a:gd name="T24" fmla="*/ 100289 w 224"/>
                  <a:gd name="T25" fmla="*/ 74101 h 152"/>
                  <a:gd name="T26" fmla="*/ 87044 w 224"/>
                  <a:gd name="T27" fmla="*/ 70655 h 152"/>
                  <a:gd name="T28" fmla="*/ 78213 w 224"/>
                  <a:gd name="T29" fmla="*/ 87313 h 152"/>
                  <a:gd name="T30" fmla="*/ 54875 w 224"/>
                  <a:gd name="T31" fmla="*/ 85590 h 152"/>
                  <a:gd name="T32" fmla="*/ 45414 w 224"/>
                  <a:gd name="T33" fmla="*/ 83292 h 152"/>
                  <a:gd name="T34" fmla="*/ 30907 w 224"/>
                  <a:gd name="T35" fmla="*/ 82718 h 152"/>
                  <a:gd name="T36" fmla="*/ 23338 w 224"/>
                  <a:gd name="T37" fmla="*/ 75250 h 152"/>
                  <a:gd name="T38" fmla="*/ 18292 w 224"/>
                  <a:gd name="T39" fmla="*/ 78122 h 152"/>
                  <a:gd name="T40" fmla="*/ 7569 w 224"/>
                  <a:gd name="T41" fmla="*/ 70655 h 152"/>
                  <a:gd name="T42" fmla="*/ 0 w 224"/>
                  <a:gd name="T43" fmla="*/ 49975 h 152"/>
                  <a:gd name="T44" fmla="*/ 5677 w 224"/>
                  <a:gd name="T45" fmla="*/ 39636 h 152"/>
                  <a:gd name="T46" fmla="*/ 5046 w 224"/>
                  <a:gd name="T47" fmla="*/ 26424 h 15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24" h="152">
                    <a:moveTo>
                      <a:pt x="8" y="46"/>
                    </a:moveTo>
                    <a:lnTo>
                      <a:pt x="47" y="19"/>
                    </a:lnTo>
                    <a:lnTo>
                      <a:pt x="72" y="15"/>
                    </a:lnTo>
                    <a:lnTo>
                      <a:pt x="96" y="8"/>
                    </a:lnTo>
                    <a:lnTo>
                      <a:pt x="117" y="8"/>
                    </a:lnTo>
                    <a:lnTo>
                      <a:pt x="138" y="0"/>
                    </a:lnTo>
                    <a:lnTo>
                      <a:pt x="174" y="8"/>
                    </a:lnTo>
                    <a:lnTo>
                      <a:pt x="195" y="7"/>
                    </a:lnTo>
                    <a:lnTo>
                      <a:pt x="215" y="28"/>
                    </a:lnTo>
                    <a:lnTo>
                      <a:pt x="213" y="87"/>
                    </a:lnTo>
                    <a:lnTo>
                      <a:pt x="224" y="94"/>
                    </a:lnTo>
                    <a:lnTo>
                      <a:pt x="208" y="119"/>
                    </a:lnTo>
                    <a:lnTo>
                      <a:pt x="159" y="129"/>
                    </a:lnTo>
                    <a:lnTo>
                      <a:pt x="138" y="123"/>
                    </a:lnTo>
                    <a:lnTo>
                      <a:pt x="124" y="152"/>
                    </a:lnTo>
                    <a:lnTo>
                      <a:pt x="87" y="149"/>
                    </a:lnTo>
                    <a:lnTo>
                      <a:pt x="72" y="145"/>
                    </a:lnTo>
                    <a:lnTo>
                      <a:pt x="49" y="144"/>
                    </a:lnTo>
                    <a:lnTo>
                      <a:pt x="37" y="131"/>
                    </a:lnTo>
                    <a:lnTo>
                      <a:pt x="29" y="136"/>
                    </a:lnTo>
                    <a:lnTo>
                      <a:pt x="12" y="123"/>
                    </a:lnTo>
                    <a:lnTo>
                      <a:pt x="0" y="87"/>
                    </a:lnTo>
                    <a:lnTo>
                      <a:pt x="9" y="69"/>
                    </a:lnTo>
                    <a:lnTo>
                      <a:pt x="8" y="4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94" name="Freeform 80">
                <a:extLst>
                  <a:ext uri="{FF2B5EF4-FFF2-40B4-BE49-F238E27FC236}">
                    <a16:creationId xmlns:a16="http://schemas.microsoft.com/office/drawing/2014/main" id="{EC2ECE0D-D1B6-6352-3E19-A1604D8E4A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41331" y="2391797"/>
                <a:ext cx="147638" cy="150019"/>
              </a:xfrm>
              <a:custGeom>
                <a:avLst/>
                <a:gdLst>
                  <a:gd name="T0" fmla="*/ 105704 w 311"/>
                  <a:gd name="T1" fmla="*/ 200025 h 344"/>
                  <a:gd name="T2" fmla="*/ 94311 w 311"/>
                  <a:gd name="T3" fmla="*/ 188977 h 344"/>
                  <a:gd name="T4" fmla="*/ 91779 w 311"/>
                  <a:gd name="T5" fmla="*/ 162230 h 344"/>
                  <a:gd name="T6" fmla="*/ 79753 w 311"/>
                  <a:gd name="T7" fmla="*/ 143041 h 344"/>
                  <a:gd name="T8" fmla="*/ 78487 w 311"/>
                  <a:gd name="T9" fmla="*/ 126179 h 344"/>
                  <a:gd name="T10" fmla="*/ 82285 w 311"/>
                  <a:gd name="T11" fmla="*/ 113968 h 344"/>
                  <a:gd name="T12" fmla="*/ 71524 w 311"/>
                  <a:gd name="T13" fmla="*/ 96524 h 344"/>
                  <a:gd name="T14" fmla="*/ 58232 w 311"/>
                  <a:gd name="T15" fmla="*/ 82568 h 344"/>
                  <a:gd name="T16" fmla="*/ 53168 w 311"/>
                  <a:gd name="T17" fmla="*/ 68032 h 344"/>
                  <a:gd name="T18" fmla="*/ 50637 w 311"/>
                  <a:gd name="T19" fmla="*/ 58728 h 344"/>
                  <a:gd name="T20" fmla="*/ 34813 w 311"/>
                  <a:gd name="T21" fmla="*/ 48843 h 344"/>
                  <a:gd name="T22" fmla="*/ 25951 w 311"/>
                  <a:gd name="T23" fmla="*/ 36051 h 344"/>
                  <a:gd name="T24" fmla="*/ 16457 w 311"/>
                  <a:gd name="T25" fmla="*/ 21514 h 344"/>
                  <a:gd name="T26" fmla="*/ 0 w 311"/>
                  <a:gd name="T27" fmla="*/ 12211 h 344"/>
                  <a:gd name="T28" fmla="*/ 25951 w 311"/>
                  <a:gd name="T29" fmla="*/ 0 h 344"/>
                  <a:gd name="T30" fmla="*/ 46839 w 311"/>
                  <a:gd name="T31" fmla="*/ 2326 h 344"/>
                  <a:gd name="T32" fmla="*/ 60131 w 311"/>
                  <a:gd name="T33" fmla="*/ 4652 h 344"/>
                  <a:gd name="T34" fmla="*/ 94311 w 311"/>
                  <a:gd name="T35" fmla="*/ 27329 h 344"/>
                  <a:gd name="T36" fmla="*/ 102539 w 311"/>
                  <a:gd name="T37" fmla="*/ 31399 h 344"/>
                  <a:gd name="T38" fmla="*/ 126592 w 311"/>
                  <a:gd name="T39" fmla="*/ 36051 h 344"/>
                  <a:gd name="T40" fmla="*/ 141783 w 311"/>
                  <a:gd name="T41" fmla="*/ 55239 h 344"/>
                  <a:gd name="T42" fmla="*/ 134820 w 311"/>
                  <a:gd name="T43" fmla="*/ 69776 h 344"/>
                  <a:gd name="T44" fmla="*/ 144314 w 311"/>
                  <a:gd name="T45" fmla="*/ 88965 h 344"/>
                  <a:gd name="T46" fmla="*/ 167734 w 311"/>
                  <a:gd name="T47" fmla="*/ 103501 h 344"/>
                  <a:gd name="T48" fmla="*/ 176595 w 311"/>
                  <a:gd name="T49" fmla="*/ 115712 h 344"/>
                  <a:gd name="T50" fmla="*/ 191786 w 311"/>
                  <a:gd name="T51" fmla="*/ 120364 h 344"/>
                  <a:gd name="T52" fmla="*/ 196850 w 311"/>
                  <a:gd name="T53" fmla="*/ 121527 h 344"/>
                  <a:gd name="T54" fmla="*/ 187356 w 311"/>
                  <a:gd name="T55" fmla="*/ 127923 h 344"/>
                  <a:gd name="T56" fmla="*/ 162670 w 311"/>
                  <a:gd name="T57" fmla="*/ 127923 h 344"/>
                  <a:gd name="T58" fmla="*/ 141783 w 311"/>
                  <a:gd name="T59" fmla="*/ 126179 h 344"/>
                  <a:gd name="T60" fmla="*/ 132288 w 311"/>
                  <a:gd name="T61" fmla="*/ 130249 h 344"/>
                  <a:gd name="T62" fmla="*/ 134820 w 311"/>
                  <a:gd name="T63" fmla="*/ 151763 h 344"/>
                  <a:gd name="T64" fmla="*/ 131022 w 311"/>
                  <a:gd name="T65" fmla="*/ 168626 h 344"/>
                  <a:gd name="T66" fmla="*/ 110135 w 311"/>
                  <a:gd name="T67" fmla="*/ 188977 h 344"/>
                  <a:gd name="T68" fmla="*/ 105704 w 311"/>
                  <a:gd name="T69" fmla="*/ 200025 h 34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11" h="344">
                    <a:moveTo>
                      <a:pt x="167" y="344"/>
                    </a:moveTo>
                    <a:lnTo>
                      <a:pt x="149" y="325"/>
                    </a:lnTo>
                    <a:lnTo>
                      <a:pt x="145" y="279"/>
                    </a:lnTo>
                    <a:lnTo>
                      <a:pt x="126" y="246"/>
                    </a:lnTo>
                    <a:lnTo>
                      <a:pt x="124" y="217"/>
                    </a:lnTo>
                    <a:lnTo>
                      <a:pt x="130" y="196"/>
                    </a:lnTo>
                    <a:lnTo>
                      <a:pt x="113" y="166"/>
                    </a:lnTo>
                    <a:lnTo>
                      <a:pt x="92" y="142"/>
                    </a:lnTo>
                    <a:lnTo>
                      <a:pt x="84" y="117"/>
                    </a:lnTo>
                    <a:lnTo>
                      <a:pt x="80" y="101"/>
                    </a:lnTo>
                    <a:lnTo>
                      <a:pt x="55" y="84"/>
                    </a:lnTo>
                    <a:lnTo>
                      <a:pt x="41" y="62"/>
                    </a:lnTo>
                    <a:lnTo>
                      <a:pt x="26" y="37"/>
                    </a:lnTo>
                    <a:lnTo>
                      <a:pt x="0" y="21"/>
                    </a:lnTo>
                    <a:lnTo>
                      <a:pt x="41" y="0"/>
                    </a:lnTo>
                    <a:lnTo>
                      <a:pt x="74" y="4"/>
                    </a:lnTo>
                    <a:lnTo>
                      <a:pt x="95" y="8"/>
                    </a:lnTo>
                    <a:lnTo>
                      <a:pt x="149" y="47"/>
                    </a:lnTo>
                    <a:lnTo>
                      <a:pt x="162" y="54"/>
                    </a:lnTo>
                    <a:lnTo>
                      <a:pt x="200" y="62"/>
                    </a:lnTo>
                    <a:lnTo>
                      <a:pt x="224" y="95"/>
                    </a:lnTo>
                    <a:lnTo>
                      <a:pt x="213" y="120"/>
                    </a:lnTo>
                    <a:lnTo>
                      <a:pt x="228" y="153"/>
                    </a:lnTo>
                    <a:lnTo>
                      <a:pt x="265" y="178"/>
                    </a:lnTo>
                    <a:lnTo>
                      <a:pt x="279" y="199"/>
                    </a:lnTo>
                    <a:lnTo>
                      <a:pt x="303" y="207"/>
                    </a:lnTo>
                    <a:lnTo>
                      <a:pt x="311" y="209"/>
                    </a:lnTo>
                    <a:lnTo>
                      <a:pt x="296" y="220"/>
                    </a:lnTo>
                    <a:lnTo>
                      <a:pt x="257" y="220"/>
                    </a:lnTo>
                    <a:lnTo>
                      <a:pt x="224" y="217"/>
                    </a:lnTo>
                    <a:lnTo>
                      <a:pt x="209" y="224"/>
                    </a:lnTo>
                    <a:lnTo>
                      <a:pt x="213" y="261"/>
                    </a:lnTo>
                    <a:lnTo>
                      <a:pt x="207" y="290"/>
                    </a:lnTo>
                    <a:lnTo>
                      <a:pt x="174" y="325"/>
                    </a:lnTo>
                    <a:lnTo>
                      <a:pt x="167" y="34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95" name="Freeform 81">
                <a:extLst>
                  <a:ext uri="{FF2B5EF4-FFF2-40B4-BE49-F238E27FC236}">
                    <a16:creationId xmlns:a16="http://schemas.microsoft.com/office/drawing/2014/main" id="{EE8629BF-FBF6-4852-4F29-C4A34B831C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90122" y="1969126"/>
                <a:ext cx="351234" cy="264319"/>
              </a:xfrm>
              <a:custGeom>
                <a:avLst/>
                <a:gdLst>
                  <a:gd name="T0" fmla="*/ 177832 w 740"/>
                  <a:gd name="T1" fmla="*/ 22681 h 606"/>
                  <a:gd name="T2" fmla="*/ 153151 w 740"/>
                  <a:gd name="T3" fmla="*/ 37801 h 606"/>
                  <a:gd name="T4" fmla="*/ 144291 w 740"/>
                  <a:gd name="T5" fmla="*/ 52340 h 606"/>
                  <a:gd name="T6" fmla="*/ 144291 w 740"/>
                  <a:gd name="T7" fmla="*/ 76184 h 606"/>
                  <a:gd name="T8" fmla="*/ 116445 w 740"/>
                  <a:gd name="T9" fmla="*/ 90723 h 606"/>
                  <a:gd name="T10" fmla="*/ 114547 w 740"/>
                  <a:gd name="T11" fmla="*/ 111659 h 606"/>
                  <a:gd name="T12" fmla="*/ 109484 w 740"/>
                  <a:gd name="T13" fmla="*/ 158184 h 606"/>
                  <a:gd name="T14" fmla="*/ 87334 w 740"/>
                  <a:gd name="T15" fmla="*/ 157021 h 606"/>
                  <a:gd name="T16" fmla="*/ 49363 w 740"/>
                  <a:gd name="T17" fmla="*/ 187262 h 606"/>
                  <a:gd name="T18" fmla="*/ 26580 w 740"/>
                  <a:gd name="T19" fmla="*/ 177957 h 606"/>
                  <a:gd name="T20" fmla="*/ 15821 w 740"/>
                  <a:gd name="T21" fmla="*/ 201801 h 606"/>
                  <a:gd name="T22" fmla="*/ 26580 w 740"/>
                  <a:gd name="T23" fmla="*/ 237276 h 606"/>
                  <a:gd name="T24" fmla="*/ 15821 w 740"/>
                  <a:gd name="T25" fmla="*/ 273333 h 606"/>
                  <a:gd name="T26" fmla="*/ 5063 w 740"/>
                  <a:gd name="T27" fmla="*/ 292524 h 606"/>
                  <a:gd name="T28" fmla="*/ 8860 w 740"/>
                  <a:gd name="T29" fmla="*/ 315205 h 606"/>
                  <a:gd name="T30" fmla="*/ 33541 w 740"/>
                  <a:gd name="T31" fmla="*/ 342538 h 606"/>
                  <a:gd name="T32" fmla="*/ 97460 w 740"/>
                  <a:gd name="T33" fmla="*/ 329744 h 606"/>
                  <a:gd name="T34" fmla="*/ 186692 w 740"/>
                  <a:gd name="T35" fmla="*/ 337886 h 606"/>
                  <a:gd name="T36" fmla="*/ 263267 w 740"/>
                  <a:gd name="T37" fmla="*/ 342538 h 606"/>
                  <a:gd name="T38" fmla="*/ 298707 w 740"/>
                  <a:gd name="T39" fmla="*/ 336141 h 606"/>
                  <a:gd name="T40" fmla="*/ 356297 w 740"/>
                  <a:gd name="T41" fmla="*/ 337886 h 606"/>
                  <a:gd name="T42" fmla="*/ 375282 w 740"/>
                  <a:gd name="T43" fmla="*/ 336141 h 606"/>
                  <a:gd name="T44" fmla="*/ 403761 w 740"/>
                  <a:gd name="T45" fmla="*/ 296014 h 606"/>
                  <a:gd name="T46" fmla="*/ 425911 w 740"/>
                  <a:gd name="T47" fmla="*/ 287872 h 606"/>
                  <a:gd name="T48" fmla="*/ 403761 w 740"/>
                  <a:gd name="T49" fmla="*/ 235532 h 606"/>
                  <a:gd name="T50" fmla="*/ 438568 w 740"/>
                  <a:gd name="T51" fmla="*/ 232624 h 606"/>
                  <a:gd name="T52" fmla="*/ 468312 w 740"/>
                  <a:gd name="T53" fmla="*/ 190751 h 606"/>
                  <a:gd name="T54" fmla="*/ 408824 w 740"/>
                  <a:gd name="T55" fmla="*/ 176213 h 606"/>
                  <a:gd name="T56" fmla="*/ 394901 w 740"/>
                  <a:gd name="T57" fmla="*/ 124454 h 606"/>
                  <a:gd name="T58" fmla="*/ 351234 w 740"/>
                  <a:gd name="T59" fmla="*/ 79674 h 606"/>
                  <a:gd name="T60" fmla="*/ 352500 w 740"/>
                  <a:gd name="T61" fmla="*/ 50596 h 606"/>
                  <a:gd name="T62" fmla="*/ 324654 w 740"/>
                  <a:gd name="T63" fmla="*/ 9887 h 606"/>
                  <a:gd name="T64" fmla="*/ 265166 w 740"/>
                  <a:gd name="T65" fmla="*/ 14539 h 606"/>
                  <a:gd name="T66" fmla="*/ 219600 w 740"/>
                  <a:gd name="T67" fmla="*/ 0 h 60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740" h="606">
                    <a:moveTo>
                      <a:pt x="300" y="14"/>
                    </a:moveTo>
                    <a:lnTo>
                      <a:pt x="281" y="39"/>
                    </a:lnTo>
                    <a:lnTo>
                      <a:pt x="267" y="62"/>
                    </a:lnTo>
                    <a:lnTo>
                      <a:pt x="242" y="65"/>
                    </a:lnTo>
                    <a:lnTo>
                      <a:pt x="217" y="73"/>
                    </a:lnTo>
                    <a:lnTo>
                      <a:pt x="228" y="90"/>
                    </a:lnTo>
                    <a:lnTo>
                      <a:pt x="228" y="98"/>
                    </a:lnTo>
                    <a:lnTo>
                      <a:pt x="228" y="131"/>
                    </a:lnTo>
                    <a:lnTo>
                      <a:pt x="206" y="134"/>
                    </a:lnTo>
                    <a:lnTo>
                      <a:pt x="184" y="156"/>
                    </a:lnTo>
                    <a:lnTo>
                      <a:pt x="184" y="181"/>
                    </a:lnTo>
                    <a:lnTo>
                      <a:pt x="181" y="192"/>
                    </a:lnTo>
                    <a:lnTo>
                      <a:pt x="173" y="206"/>
                    </a:lnTo>
                    <a:lnTo>
                      <a:pt x="173" y="272"/>
                    </a:lnTo>
                    <a:lnTo>
                      <a:pt x="159" y="281"/>
                    </a:lnTo>
                    <a:lnTo>
                      <a:pt x="138" y="270"/>
                    </a:lnTo>
                    <a:lnTo>
                      <a:pt x="102" y="297"/>
                    </a:lnTo>
                    <a:lnTo>
                      <a:pt x="78" y="322"/>
                    </a:lnTo>
                    <a:lnTo>
                      <a:pt x="53" y="306"/>
                    </a:lnTo>
                    <a:lnTo>
                      <a:pt x="42" y="306"/>
                    </a:lnTo>
                    <a:lnTo>
                      <a:pt x="19" y="311"/>
                    </a:lnTo>
                    <a:lnTo>
                      <a:pt x="25" y="347"/>
                    </a:lnTo>
                    <a:lnTo>
                      <a:pt x="36" y="383"/>
                    </a:lnTo>
                    <a:lnTo>
                      <a:pt x="42" y="408"/>
                    </a:lnTo>
                    <a:lnTo>
                      <a:pt x="39" y="441"/>
                    </a:lnTo>
                    <a:lnTo>
                      <a:pt x="25" y="470"/>
                    </a:lnTo>
                    <a:lnTo>
                      <a:pt x="0" y="492"/>
                    </a:lnTo>
                    <a:lnTo>
                      <a:pt x="8" y="503"/>
                    </a:lnTo>
                    <a:lnTo>
                      <a:pt x="28" y="517"/>
                    </a:lnTo>
                    <a:lnTo>
                      <a:pt x="14" y="542"/>
                    </a:lnTo>
                    <a:lnTo>
                      <a:pt x="17" y="589"/>
                    </a:lnTo>
                    <a:lnTo>
                      <a:pt x="53" y="589"/>
                    </a:lnTo>
                    <a:lnTo>
                      <a:pt x="69" y="572"/>
                    </a:lnTo>
                    <a:lnTo>
                      <a:pt x="154" y="567"/>
                    </a:lnTo>
                    <a:lnTo>
                      <a:pt x="225" y="570"/>
                    </a:lnTo>
                    <a:lnTo>
                      <a:pt x="295" y="581"/>
                    </a:lnTo>
                    <a:lnTo>
                      <a:pt x="355" y="592"/>
                    </a:lnTo>
                    <a:lnTo>
                      <a:pt x="416" y="589"/>
                    </a:lnTo>
                    <a:lnTo>
                      <a:pt x="444" y="581"/>
                    </a:lnTo>
                    <a:lnTo>
                      <a:pt x="472" y="578"/>
                    </a:lnTo>
                    <a:lnTo>
                      <a:pt x="505" y="595"/>
                    </a:lnTo>
                    <a:lnTo>
                      <a:pt x="563" y="581"/>
                    </a:lnTo>
                    <a:lnTo>
                      <a:pt x="577" y="606"/>
                    </a:lnTo>
                    <a:lnTo>
                      <a:pt x="593" y="578"/>
                    </a:lnTo>
                    <a:lnTo>
                      <a:pt x="596" y="531"/>
                    </a:lnTo>
                    <a:lnTo>
                      <a:pt x="638" y="509"/>
                    </a:lnTo>
                    <a:lnTo>
                      <a:pt x="673" y="503"/>
                    </a:lnTo>
                    <a:lnTo>
                      <a:pt x="673" y="495"/>
                    </a:lnTo>
                    <a:lnTo>
                      <a:pt x="649" y="438"/>
                    </a:lnTo>
                    <a:lnTo>
                      <a:pt x="638" y="405"/>
                    </a:lnTo>
                    <a:lnTo>
                      <a:pt x="660" y="394"/>
                    </a:lnTo>
                    <a:lnTo>
                      <a:pt x="693" y="400"/>
                    </a:lnTo>
                    <a:lnTo>
                      <a:pt x="740" y="380"/>
                    </a:lnTo>
                    <a:lnTo>
                      <a:pt x="740" y="328"/>
                    </a:lnTo>
                    <a:lnTo>
                      <a:pt x="690" y="311"/>
                    </a:lnTo>
                    <a:lnTo>
                      <a:pt x="646" y="303"/>
                    </a:lnTo>
                    <a:lnTo>
                      <a:pt x="621" y="259"/>
                    </a:lnTo>
                    <a:lnTo>
                      <a:pt x="624" y="214"/>
                    </a:lnTo>
                    <a:lnTo>
                      <a:pt x="579" y="170"/>
                    </a:lnTo>
                    <a:lnTo>
                      <a:pt x="555" y="137"/>
                    </a:lnTo>
                    <a:lnTo>
                      <a:pt x="552" y="106"/>
                    </a:lnTo>
                    <a:lnTo>
                      <a:pt x="557" y="87"/>
                    </a:lnTo>
                    <a:lnTo>
                      <a:pt x="557" y="47"/>
                    </a:lnTo>
                    <a:lnTo>
                      <a:pt x="513" y="17"/>
                    </a:lnTo>
                    <a:lnTo>
                      <a:pt x="463" y="17"/>
                    </a:lnTo>
                    <a:lnTo>
                      <a:pt x="419" y="25"/>
                    </a:lnTo>
                    <a:lnTo>
                      <a:pt x="400" y="8"/>
                    </a:lnTo>
                    <a:lnTo>
                      <a:pt x="347" y="0"/>
                    </a:lnTo>
                    <a:lnTo>
                      <a:pt x="300" y="1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96" name="Freeform 82">
                <a:extLst>
                  <a:ext uri="{FF2B5EF4-FFF2-40B4-BE49-F238E27FC236}">
                    <a16:creationId xmlns:a16="http://schemas.microsoft.com/office/drawing/2014/main" id="{75AB8AF3-9C78-A6F8-8BF4-4C172D92CCF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59166" y="2176294"/>
                <a:ext cx="529828" cy="409575"/>
              </a:xfrm>
              <a:custGeom>
                <a:avLst/>
                <a:gdLst>
                  <a:gd name="T0" fmla="*/ 490545 w 1070"/>
                  <a:gd name="T1" fmla="*/ 12577 h 825"/>
                  <a:gd name="T2" fmla="*/ 549965 w 1070"/>
                  <a:gd name="T3" fmla="*/ 0 h 825"/>
                  <a:gd name="T4" fmla="*/ 594860 w 1070"/>
                  <a:gd name="T5" fmla="*/ 28463 h 825"/>
                  <a:gd name="T6" fmla="*/ 655600 w 1070"/>
                  <a:gd name="T7" fmla="*/ 69504 h 825"/>
                  <a:gd name="T8" fmla="*/ 704456 w 1070"/>
                  <a:gd name="T9" fmla="*/ 112530 h 825"/>
                  <a:gd name="T10" fmla="*/ 653619 w 1070"/>
                  <a:gd name="T11" fmla="*/ 363405 h 825"/>
                  <a:gd name="T12" fmla="*/ 589578 w 1070"/>
                  <a:gd name="T13" fmla="*/ 387896 h 825"/>
                  <a:gd name="T14" fmla="*/ 629191 w 1070"/>
                  <a:gd name="T15" fmla="*/ 405769 h 825"/>
                  <a:gd name="T16" fmla="*/ 668144 w 1070"/>
                  <a:gd name="T17" fmla="*/ 457400 h 825"/>
                  <a:gd name="T18" fmla="*/ 697194 w 1070"/>
                  <a:gd name="T19" fmla="*/ 460048 h 825"/>
                  <a:gd name="T20" fmla="*/ 705777 w 1070"/>
                  <a:gd name="T21" fmla="*/ 487187 h 825"/>
                  <a:gd name="T22" fmla="*/ 683329 w 1070"/>
                  <a:gd name="T23" fmla="*/ 474611 h 825"/>
                  <a:gd name="T24" fmla="*/ 643056 w 1070"/>
                  <a:gd name="T25" fmla="*/ 513665 h 825"/>
                  <a:gd name="T26" fmla="*/ 622589 w 1070"/>
                  <a:gd name="T27" fmla="*/ 546100 h 825"/>
                  <a:gd name="T28" fmla="*/ 596840 w 1070"/>
                  <a:gd name="T29" fmla="*/ 529552 h 825"/>
                  <a:gd name="T30" fmla="*/ 590898 w 1070"/>
                  <a:gd name="T31" fmla="*/ 484540 h 825"/>
                  <a:gd name="T32" fmla="*/ 562509 w 1070"/>
                  <a:gd name="T33" fmla="*/ 483216 h 825"/>
                  <a:gd name="T34" fmla="*/ 542702 w 1070"/>
                  <a:gd name="T35" fmla="*/ 460048 h 825"/>
                  <a:gd name="T36" fmla="*/ 558547 w 1070"/>
                  <a:gd name="T37" fmla="*/ 428275 h 825"/>
                  <a:gd name="T38" fmla="*/ 576373 w 1070"/>
                  <a:gd name="T39" fmla="*/ 399149 h 825"/>
                  <a:gd name="T40" fmla="*/ 534779 w 1070"/>
                  <a:gd name="T41" fmla="*/ 411726 h 825"/>
                  <a:gd name="T42" fmla="*/ 516953 w 1070"/>
                  <a:gd name="T43" fmla="*/ 415698 h 825"/>
                  <a:gd name="T44" fmla="*/ 496487 w 1070"/>
                  <a:gd name="T45" fmla="*/ 397164 h 825"/>
                  <a:gd name="T46" fmla="*/ 505069 w 1070"/>
                  <a:gd name="T47" fmla="*/ 377967 h 825"/>
                  <a:gd name="T48" fmla="*/ 475359 w 1070"/>
                  <a:gd name="T49" fmla="*/ 392530 h 825"/>
                  <a:gd name="T50" fmla="*/ 462815 w 1070"/>
                  <a:gd name="T51" fmla="*/ 411726 h 825"/>
                  <a:gd name="T52" fmla="*/ 462815 w 1070"/>
                  <a:gd name="T53" fmla="*/ 424965 h 825"/>
                  <a:gd name="T54" fmla="*/ 448951 w 1070"/>
                  <a:gd name="T55" fmla="*/ 450781 h 825"/>
                  <a:gd name="T56" fmla="*/ 443669 w 1070"/>
                  <a:gd name="T57" fmla="*/ 460048 h 825"/>
                  <a:gd name="T58" fmla="*/ 414619 w 1070"/>
                  <a:gd name="T59" fmla="*/ 444823 h 825"/>
                  <a:gd name="T60" fmla="*/ 437067 w 1070"/>
                  <a:gd name="T61" fmla="*/ 479906 h 825"/>
                  <a:gd name="T62" fmla="*/ 414619 w 1070"/>
                  <a:gd name="T63" fmla="*/ 485864 h 825"/>
                  <a:gd name="T64" fmla="*/ 386230 w 1070"/>
                  <a:gd name="T65" fmla="*/ 489835 h 825"/>
                  <a:gd name="T66" fmla="*/ 351238 w 1070"/>
                  <a:gd name="T67" fmla="*/ 476596 h 825"/>
                  <a:gd name="T68" fmla="*/ 377647 w 1070"/>
                  <a:gd name="T69" fmla="*/ 432908 h 825"/>
                  <a:gd name="T70" fmla="*/ 400754 w 1070"/>
                  <a:gd name="T71" fmla="*/ 413712 h 825"/>
                  <a:gd name="T72" fmla="*/ 438387 w 1070"/>
                  <a:gd name="T73" fmla="*/ 409079 h 825"/>
                  <a:gd name="T74" fmla="*/ 410658 w 1070"/>
                  <a:gd name="T75" fmla="*/ 391206 h 825"/>
                  <a:gd name="T76" fmla="*/ 377647 w 1070"/>
                  <a:gd name="T77" fmla="*/ 355461 h 825"/>
                  <a:gd name="T78" fmla="*/ 369064 w 1070"/>
                  <a:gd name="T79" fmla="*/ 321703 h 825"/>
                  <a:gd name="T80" fmla="*/ 301061 w 1070"/>
                  <a:gd name="T81" fmla="*/ 291253 h 825"/>
                  <a:gd name="T82" fmla="*/ 246263 w 1070"/>
                  <a:gd name="T83" fmla="*/ 295887 h 825"/>
                  <a:gd name="T84" fmla="*/ 227776 w 1070"/>
                  <a:gd name="T85" fmla="*/ 313759 h 825"/>
                  <a:gd name="T86" fmla="*/ 187503 w 1070"/>
                  <a:gd name="T87" fmla="*/ 326998 h 825"/>
                  <a:gd name="T88" fmla="*/ 154492 w 1070"/>
                  <a:gd name="T89" fmla="*/ 317069 h 825"/>
                  <a:gd name="T90" fmla="*/ 118840 w 1070"/>
                  <a:gd name="T91" fmla="*/ 321703 h 825"/>
                  <a:gd name="T92" fmla="*/ 89130 w 1070"/>
                  <a:gd name="T93" fmla="*/ 313759 h 825"/>
                  <a:gd name="T94" fmla="*/ 52157 w 1070"/>
                  <a:gd name="T95" fmla="*/ 326998 h 825"/>
                  <a:gd name="T96" fmla="*/ 21127 w 1070"/>
                  <a:gd name="T97" fmla="*/ 323026 h 825"/>
                  <a:gd name="T98" fmla="*/ 3301 w 1070"/>
                  <a:gd name="T99" fmla="*/ 276691 h 825"/>
                  <a:gd name="T100" fmla="*/ 31691 w 1070"/>
                  <a:gd name="T101" fmla="*/ 203215 h 825"/>
                  <a:gd name="T102" fmla="*/ 92431 w 1070"/>
                  <a:gd name="T103" fmla="*/ 146289 h 825"/>
                  <a:gd name="T104" fmla="*/ 79887 w 1070"/>
                  <a:gd name="T105" fmla="*/ 99953 h 825"/>
                  <a:gd name="T106" fmla="*/ 52157 w 1070"/>
                  <a:gd name="T107" fmla="*/ 66194 h 825"/>
                  <a:gd name="T108" fmla="*/ 89130 w 1070"/>
                  <a:gd name="T109" fmla="*/ 56265 h 825"/>
                  <a:gd name="T110" fmla="*/ 185522 w 1070"/>
                  <a:gd name="T111" fmla="*/ 54941 h 825"/>
                  <a:gd name="T112" fmla="*/ 260127 w 1070"/>
                  <a:gd name="T113" fmla="*/ 67518 h 825"/>
                  <a:gd name="T114" fmla="*/ 325489 w 1070"/>
                  <a:gd name="T115" fmla="*/ 61560 h 825"/>
                  <a:gd name="T116" fmla="*/ 361801 w 1070"/>
                  <a:gd name="T117" fmla="*/ 67518 h 825"/>
                  <a:gd name="T118" fmla="*/ 407357 w 1070"/>
                  <a:gd name="T119" fmla="*/ 74137 h 825"/>
                  <a:gd name="T120" fmla="*/ 419241 w 1070"/>
                  <a:gd name="T121" fmla="*/ 33759 h 825"/>
                  <a:gd name="T122" fmla="*/ 468097 w 1070"/>
                  <a:gd name="T123" fmla="*/ 15887 h 82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070" h="825">
                    <a:moveTo>
                      <a:pt x="709" y="24"/>
                    </a:moveTo>
                    <a:lnTo>
                      <a:pt x="743" y="19"/>
                    </a:lnTo>
                    <a:lnTo>
                      <a:pt x="788" y="7"/>
                    </a:lnTo>
                    <a:lnTo>
                      <a:pt x="833" y="0"/>
                    </a:lnTo>
                    <a:lnTo>
                      <a:pt x="878" y="7"/>
                    </a:lnTo>
                    <a:lnTo>
                      <a:pt x="901" y="43"/>
                    </a:lnTo>
                    <a:lnTo>
                      <a:pt x="932" y="75"/>
                    </a:lnTo>
                    <a:lnTo>
                      <a:pt x="993" y="105"/>
                    </a:lnTo>
                    <a:lnTo>
                      <a:pt x="1033" y="137"/>
                    </a:lnTo>
                    <a:lnTo>
                      <a:pt x="1067" y="170"/>
                    </a:lnTo>
                    <a:lnTo>
                      <a:pt x="1066" y="526"/>
                    </a:lnTo>
                    <a:lnTo>
                      <a:pt x="990" y="549"/>
                    </a:lnTo>
                    <a:lnTo>
                      <a:pt x="964" y="576"/>
                    </a:lnTo>
                    <a:lnTo>
                      <a:pt x="893" y="586"/>
                    </a:lnTo>
                    <a:lnTo>
                      <a:pt x="919" y="613"/>
                    </a:lnTo>
                    <a:lnTo>
                      <a:pt x="953" y="613"/>
                    </a:lnTo>
                    <a:lnTo>
                      <a:pt x="1007" y="659"/>
                    </a:lnTo>
                    <a:lnTo>
                      <a:pt x="1012" y="691"/>
                    </a:lnTo>
                    <a:lnTo>
                      <a:pt x="1041" y="695"/>
                    </a:lnTo>
                    <a:lnTo>
                      <a:pt x="1056" y="695"/>
                    </a:lnTo>
                    <a:lnTo>
                      <a:pt x="1070" y="681"/>
                    </a:lnTo>
                    <a:lnTo>
                      <a:pt x="1069" y="736"/>
                    </a:lnTo>
                    <a:lnTo>
                      <a:pt x="1052" y="725"/>
                    </a:lnTo>
                    <a:lnTo>
                      <a:pt x="1035" y="717"/>
                    </a:lnTo>
                    <a:lnTo>
                      <a:pt x="1028" y="742"/>
                    </a:lnTo>
                    <a:lnTo>
                      <a:pt x="974" y="776"/>
                    </a:lnTo>
                    <a:lnTo>
                      <a:pt x="959" y="798"/>
                    </a:lnTo>
                    <a:lnTo>
                      <a:pt x="943" y="825"/>
                    </a:lnTo>
                    <a:lnTo>
                      <a:pt x="904" y="815"/>
                    </a:lnTo>
                    <a:lnTo>
                      <a:pt x="904" y="800"/>
                    </a:lnTo>
                    <a:lnTo>
                      <a:pt x="911" y="776"/>
                    </a:lnTo>
                    <a:lnTo>
                      <a:pt x="895" y="732"/>
                    </a:lnTo>
                    <a:lnTo>
                      <a:pt x="873" y="730"/>
                    </a:lnTo>
                    <a:lnTo>
                      <a:pt x="852" y="730"/>
                    </a:lnTo>
                    <a:lnTo>
                      <a:pt x="815" y="720"/>
                    </a:lnTo>
                    <a:lnTo>
                      <a:pt x="822" y="695"/>
                    </a:lnTo>
                    <a:lnTo>
                      <a:pt x="841" y="672"/>
                    </a:lnTo>
                    <a:lnTo>
                      <a:pt x="846" y="647"/>
                    </a:lnTo>
                    <a:lnTo>
                      <a:pt x="881" y="625"/>
                    </a:lnTo>
                    <a:lnTo>
                      <a:pt x="873" y="603"/>
                    </a:lnTo>
                    <a:lnTo>
                      <a:pt x="833" y="613"/>
                    </a:lnTo>
                    <a:lnTo>
                      <a:pt x="810" y="622"/>
                    </a:lnTo>
                    <a:lnTo>
                      <a:pt x="783" y="618"/>
                    </a:lnTo>
                    <a:lnTo>
                      <a:pt x="783" y="628"/>
                    </a:lnTo>
                    <a:lnTo>
                      <a:pt x="749" y="610"/>
                    </a:lnTo>
                    <a:lnTo>
                      <a:pt x="752" y="600"/>
                    </a:lnTo>
                    <a:lnTo>
                      <a:pt x="780" y="591"/>
                    </a:lnTo>
                    <a:lnTo>
                      <a:pt x="765" y="571"/>
                    </a:lnTo>
                    <a:lnTo>
                      <a:pt x="738" y="576"/>
                    </a:lnTo>
                    <a:lnTo>
                      <a:pt x="720" y="593"/>
                    </a:lnTo>
                    <a:lnTo>
                      <a:pt x="704" y="600"/>
                    </a:lnTo>
                    <a:lnTo>
                      <a:pt x="701" y="622"/>
                    </a:lnTo>
                    <a:lnTo>
                      <a:pt x="683" y="625"/>
                    </a:lnTo>
                    <a:lnTo>
                      <a:pt x="701" y="642"/>
                    </a:lnTo>
                    <a:lnTo>
                      <a:pt x="701" y="659"/>
                    </a:lnTo>
                    <a:lnTo>
                      <a:pt x="680" y="681"/>
                    </a:lnTo>
                    <a:lnTo>
                      <a:pt x="653" y="672"/>
                    </a:lnTo>
                    <a:lnTo>
                      <a:pt x="672" y="695"/>
                    </a:lnTo>
                    <a:lnTo>
                      <a:pt x="662" y="701"/>
                    </a:lnTo>
                    <a:lnTo>
                      <a:pt x="628" y="672"/>
                    </a:lnTo>
                    <a:lnTo>
                      <a:pt x="638" y="710"/>
                    </a:lnTo>
                    <a:lnTo>
                      <a:pt x="662" y="725"/>
                    </a:lnTo>
                    <a:lnTo>
                      <a:pt x="638" y="747"/>
                    </a:lnTo>
                    <a:lnTo>
                      <a:pt x="628" y="734"/>
                    </a:lnTo>
                    <a:lnTo>
                      <a:pt x="601" y="732"/>
                    </a:lnTo>
                    <a:lnTo>
                      <a:pt x="585" y="740"/>
                    </a:lnTo>
                    <a:lnTo>
                      <a:pt x="529" y="742"/>
                    </a:lnTo>
                    <a:lnTo>
                      <a:pt x="532" y="720"/>
                    </a:lnTo>
                    <a:lnTo>
                      <a:pt x="569" y="686"/>
                    </a:lnTo>
                    <a:lnTo>
                      <a:pt x="572" y="654"/>
                    </a:lnTo>
                    <a:lnTo>
                      <a:pt x="574" y="630"/>
                    </a:lnTo>
                    <a:lnTo>
                      <a:pt x="607" y="625"/>
                    </a:lnTo>
                    <a:lnTo>
                      <a:pt x="653" y="628"/>
                    </a:lnTo>
                    <a:lnTo>
                      <a:pt x="664" y="618"/>
                    </a:lnTo>
                    <a:lnTo>
                      <a:pt x="632" y="608"/>
                    </a:lnTo>
                    <a:lnTo>
                      <a:pt x="622" y="591"/>
                    </a:lnTo>
                    <a:lnTo>
                      <a:pt x="585" y="571"/>
                    </a:lnTo>
                    <a:lnTo>
                      <a:pt x="572" y="537"/>
                    </a:lnTo>
                    <a:lnTo>
                      <a:pt x="580" y="520"/>
                    </a:lnTo>
                    <a:lnTo>
                      <a:pt x="559" y="486"/>
                    </a:lnTo>
                    <a:lnTo>
                      <a:pt x="508" y="479"/>
                    </a:lnTo>
                    <a:lnTo>
                      <a:pt x="456" y="440"/>
                    </a:lnTo>
                    <a:lnTo>
                      <a:pt x="408" y="437"/>
                    </a:lnTo>
                    <a:lnTo>
                      <a:pt x="373" y="447"/>
                    </a:lnTo>
                    <a:lnTo>
                      <a:pt x="360" y="464"/>
                    </a:lnTo>
                    <a:lnTo>
                      <a:pt x="345" y="474"/>
                    </a:lnTo>
                    <a:lnTo>
                      <a:pt x="305" y="476"/>
                    </a:lnTo>
                    <a:lnTo>
                      <a:pt x="284" y="494"/>
                    </a:lnTo>
                    <a:lnTo>
                      <a:pt x="247" y="494"/>
                    </a:lnTo>
                    <a:lnTo>
                      <a:pt x="234" y="479"/>
                    </a:lnTo>
                    <a:lnTo>
                      <a:pt x="218" y="474"/>
                    </a:lnTo>
                    <a:lnTo>
                      <a:pt x="180" y="486"/>
                    </a:lnTo>
                    <a:lnTo>
                      <a:pt x="153" y="488"/>
                    </a:lnTo>
                    <a:lnTo>
                      <a:pt x="135" y="474"/>
                    </a:lnTo>
                    <a:lnTo>
                      <a:pt x="106" y="479"/>
                    </a:lnTo>
                    <a:lnTo>
                      <a:pt x="79" y="494"/>
                    </a:lnTo>
                    <a:lnTo>
                      <a:pt x="66" y="488"/>
                    </a:lnTo>
                    <a:lnTo>
                      <a:pt x="32" y="488"/>
                    </a:lnTo>
                    <a:lnTo>
                      <a:pt x="0" y="440"/>
                    </a:lnTo>
                    <a:lnTo>
                      <a:pt x="5" y="418"/>
                    </a:lnTo>
                    <a:lnTo>
                      <a:pt x="66" y="367"/>
                    </a:lnTo>
                    <a:lnTo>
                      <a:pt x="48" y="307"/>
                    </a:lnTo>
                    <a:lnTo>
                      <a:pt x="118" y="253"/>
                    </a:lnTo>
                    <a:lnTo>
                      <a:pt x="140" y="221"/>
                    </a:lnTo>
                    <a:lnTo>
                      <a:pt x="138" y="190"/>
                    </a:lnTo>
                    <a:lnTo>
                      <a:pt x="121" y="151"/>
                    </a:lnTo>
                    <a:lnTo>
                      <a:pt x="103" y="116"/>
                    </a:lnTo>
                    <a:lnTo>
                      <a:pt x="79" y="100"/>
                    </a:lnTo>
                    <a:lnTo>
                      <a:pt x="118" y="102"/>
                    </a:lnTo>
                    <a:lnTo>
                      <a:pt x="135" y="85"/>
                    </a:lnTo>
                    <a:lnTo>
                      <a:pt x="208" y="83"/>
                    </a:lnTo>
                    <a:lnTo>
                      <a:pt x="281" y="83"/>
                    </a:lnTo>
                    <a:lnTo>
                      <a:pt x="300" y="83"/>
                    </a:lnTo>
                    <a:lnTo>
                      <a:pt x="394" y="102"/>
                    </a:lnTo>
                    <a:lnTo>
                      <a:pt x="463" y="102"/>
                    </a:lnTo>
                    <a:lnTo>
                      <a:pt x="493" y="93"/>
                    </a:lnTo>
                    <a:lnTo>
                      <a:pt x="519" y="93"/>
                    </a:lnTo>
                    <a:lnTo>
                      <a:pt x="548" y="102"/>
                    </a:lnTo>
                    <a:lnTo>
                      <a:pt x="607" y="95"/>
                    </a:lnTo>
                    <a:lnTo>
                      <a:pt x="617" y="112"/>
                    </a:lnTo>
                    <a:lnTo>
                      <a:pt x="638" y="90"/>
                    </a:lnTo>
                    <a:lnTo>
                      <a:pt x="635" y="51"/>
                    </a:lnTo>
                    <a:lnTo>
                      <a:pt x="683" y="26"/>
                    </a:lnTo>
                    <a:lnTo>
                      <a:pt x="709" y="2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97" name="Freeform 83">
                <a:extLst>
                  <a:ext uri="{FF2B5EF4-FFF2-40B4-BE49-F238E27FC236}">
                    <a16:creationId xmlns:a16="http://schemas.microsoft.com/office/drawing/2014/main" id="{40078558-8CEB-B38D-4626-7B032F657A0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87728" y="2681120"/>
                <a:ext cx="73819" cy="77390"/>
              </a:xfrm>
              <a:custGeom>
                <a:avLst/>
                <a:gdLst>
                  <a:gd name="T0" fmla="*/ 32027 w 378"/>
                  <a:gd name="T1" fmla="*/ 25597 h 387"/>
                  <a:gd name="T2" fmla="*/ 40620 w 378"/>
                  <a:gd name="T3" fmla="*/ 11199 h 387"/>
                  <a:gd name="T4" fmla="*/ 35152 w 378"/>
                  <a:gd name="T5" fmla="*/ 4799 h 387"/>
                  <a:gd name="T6" fmla="*/ 41401 w 378"/>
                  <a:gd name="T7" fmla="*/ 0 h 387"/>
                  <a:gd name="T8" fmla="*/ 46869 w 378"/>
                  <a:gd name="T9" fmla="*/ 8799 h 387"/>
                  <a:gd name="T10" fmla="*/ 60930 w 378"/>
                  <a:gd name="T11" fmla="*/ 13598 h 387"/>
                  <a:gd name="T12" fmla="*/ 66398 w 378"/>
                  <a:gd name="T13" fmla="*/ 20797 h 387"/>
                  <a:gd name="T14" fmla="*/ 65617 w 378"/>
                  <a:gd name="T15" fmla="*/ 27197 h 387"/>
                  <a:gd name="T16" fmla="*/ 78115 w 378"/>
                  <a:gd name="T17" fmla="*/ 31996 h 387"/>
                  <a:gd name="T18" fmla="*/ 77334 w 378"/>
                  <a:gd name="T19" fmla="*/ 38395 h 387"/>
                  <a:gd name="T20" fmla="*/ 80459 w 378"/>
                  <a:gd name="T21" fmla="*/ 41595 h 387"/>
                  <a:gd name="T22" fmla="*/ 89832 w 378"/>
                  <a:gd name="T23" fmla="*/ 41595 h 387"/>
                  <a:gd name="T24" fmla="*/ 96082 w 378"/>
                  <a:gd name="T25" fmla="*/ 44794 h 387"/>
                  <a:gd name="T26" fmla="*/ 98425 w 378"/>
                  <a:gd name="T27" fmla="*/ 43994 h 387"/>
                  <a:gd name="T28" fmla="*/ 97644 w 378"/>
                  <a:gd name="T29" fmla="*/ 51194 h 387"/>
                  <a:gd name="T30" fmla="*/ 93738 w 378"/>
                  <a:gd name="T31" fmla="*/ 63992 h 387"/>
                  <a:gd name="T32" fmla="*/ 86708 w 378"/>
                  <a:gd name="T33" fmla="*/ 63992 h 387"/>
                  <a:gd name="T34" fmla="*/ 86708 w 378"/>
                  <a:gd name="T35" fmla="*/ 70391 h 387"/>
                  <a:gd name="T36" fmla="*/ 90613 w 378"/>
                  <a:gd name="T37" fmla="*/ 78390 h 387"/>
                  <a:gd name="T38" fmla="*/ 93738 w 378"/>
                  <a:gd name="T39" fmla="*/ 82390 h 387"/>
                  <a:gd name="T40" fmla="*/ 94780 w 378"/>
                  <a:gd name="T41" fmla="*/ 82123 h 387"/>
                  <a:gd name="T42" fmla="*/ 79157 w 378"/>
                  <a:gd name="T43" fmla="*/ 86122 h 387"/>
                  <a:gd name="T44" fmla="*/ 63794 w 378"/>
                  <a:gd name="T45" fmla="*/ 88522 h 387"/>
                  <a:gd name="T46" fmla="*/ 39318 w 378"/>
                  <a:gd name="T47" fmla="*/ 103187 h 387"/>
                  <a:gd name="T48" fmla="*/ 40620 w 378"/>
                  <a:gd name="T49" fmla="*/ 74924 h 387"/>
                  <a:gd name="T50" fmla="*/ 35152 w 378"/>
                  <a:gd name="T51" fmla="*/ 67458 h 387"/>
                  <a:gd name="T52" fmla="*/ 18748 w 378"/>
                  <a:gd name="T53" fmla="*/ 65058 h 387"/>
                  <a:gd name="T54" fmla="*/ 13800 w 378"/>
                  <a:gd name="T55" fmla="*/ 53327 h 387"/>
                  <a:gd name="T56" fmla="*/ 3125 w 378"/>
                  <a:gd name="T57" fmla="*/ 52260 h 387"/>
                  <a:gd name="T58" fmla="*/ 781 w 378"/>
                  <a:gd name="T59" fmla="*/ 55193 h 387"/>
                  <a:gd name="T60" fmla="*/ 5468 w 378"/>
                  <a:gd name="T61" fmla="*/ 45594 h 387"/>
                  <a:gd name="T62" fmla="*/ 0 w 378"/>
                  <a:gd name="T63" fmla="*/ 41595 h 387"/>
                  <a:gd name="T64" fmla="*/ 3125 w 378"/>
                  <a:gd name="T65" fmla="*/ 38395 h 387"/>
                  <a:gd name="T66" fmla="*/ 4687 w 378"/>
                  <a:gd name="T67" fmla="*/ 38395 h 387"/>
                  <a:gd name="T68" fmla="*/ 10155 w 378"/>
                  <a:gd name="T69" fmla="*/ 40795 h 387"/>
                  <a:gd name="T70" fmla="*/ 10155 w 378"/>
                  <a:gd name="T71" fmla="*/ 38395 h 387"/>
                  <a:gd name="T72" fmla="*/ 17185 w 378"/>
                  <a:gd name="T73" fmla="*/ 35196 h 387"/>
                  <a:gd name="T74" fmla="*/ 17966 w 378"/>
                  <a:gd name="T75" fmla="*/ 33596 h 387"/>
                  <a:gd name="T76" fmla="*/ 23435 w 378"/>
                  <a:gd name="T77" fmla="*/ 29596 h 387"/>
                  <a:gd name="T78" fmla="*/ 25778 w 378"/>
                  <a:gd name="T79" fmla="*/ 24797 h 387"/>
                  <a:gd name="T80" fmla="*/ 32027 w 378"/>
                  <a:gd name="T81" fmla="*/ 25597 h 387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378" h="387">
                    <a:moveTo>
                      <a:pt x="123" y="96"/>
                    </a:moveTo>
                    <a:lnTo>
                      <a:pt x="156" y="42"/>
                    </a:lnTo>
                    <a:lnTo>
                      <a:pt x="135" y="18"/>
                    </a:lnTo>
                    <a:lnTo>
                      <a:pt x="159" y="0"/>
                    </a:lnTo>
                    <a:lnTo>
                      <a:pt x="180" y="33"/>
                    </a:lnTo>
                    <a:lnTo>
                      <a:pt x="234" y="51"/>
                    </a:lnTo>
                    <a:lnTo>
                      <a:pt x="255" y="78"/>
                    </a:lnTo>
                    <a:lnTo>
                      <a:pt x="252" y="102"/>
                    </a:lnTo>
                    <a:lnTo>
                      <a:pt x="300" y="120"/>
                    </a:lnTo>
                    <a:lnTo>
                      <a:pt x="297" y="144"/>
                    </a:lnTo>
                    <a:lnTo>
                      <a:pt x="309" y="156"/>
                    </a:lnTo>
                    <a:lnTo>
                      <a:pt x="345" y="156"/>
                    </a:lnTo>
                    <a:lnTo>
                      <a:pt x="369" y="168"/>
                    </a:lnTo>
                    <a:lnTo>
                      <a:pt x="378" y="165"/>
                    </a:lnTo>
                    <a:lnTo>
                      <a:pt x="375" y="192"/>
                    </a:lnTo>
                    <a:lnTo>
                      <a:pt x="360" y="240"/>
                    </a:lnTo>
                    <a:lnTo>
                      <a:pt x="333" y="240"/>
                    </a:lnTo>
                    <a:lnTo>
                      <a:pt x="333" y="264"/>
                    </a:lnTo>
                    <a:lnTo>
                      <a:pt x="348" y="294"/>
                    </a:lnTo>
                    <a:lnTo>
                      <a:pt x="360" y="309"/>
                    </a:lnTo>
                    <a:lnTo>
                      <a:pt x="364" y="308"/>
                    </a:lnTo>
                    <a:lnTo>
                      <a:pt x="304" y="323"/>
                    </a:lnTo>
                    <a:lnTo>
                      <a:pt x="245" y="332"/>
                    </a:lnTo>
                    <a:lnTo>
                      <a:pt x="151" y="387"/>
                    </a:lnTo>
                    <a:lnTo>
                      <a:pt x="156" y="281"/>
                    </a:lnTo>
                    <a:lnTo>
                      <a:pt x="135" y="253"/>
                    </a:lnTo>
                    <a:lnTo>
                      <a:pt x="72" y="244"/>
                    </a:lnTo>
                    <a:lnTo>
                      <a:pt x="53" y="200"/>
                    </a:lnTo>
                    <a:lnTo>
                      <a:pt x="12" y="196"/>
                    </a:lnTo>
                    <a:lnTo>
                      <a:pt x="3" y="207"/>
                    </a:lnTo>
                    <a:lnTo>
                      <a:pt x="21" y="171"/>
                    </a:lnTo>
                    <a:lnTo>
                      <a:pt x="0" y="156"/>
                    </a:lnTo>
                    <a:lnTo>
                      <a:pt x="12" y="144"/>
                    </a:lnTo>
                    <a:lnTo>
                      <a:pt x="18" y="144"/>
                    </a:lnTo>
                    <a:lnTo>
                      <a:pt x="39" y="153"/>
                    </a:lnTo>
                    <a:lnTo>
                      <a:pt x="39" y="144"/>
                    </a:lnTo>
                    <a:lnTo>
                      <a:pt x="66" y="132"/>
                    </a:lnTo>
                    <a:lnTo>
                      <a:pt x="69" y="126"/>
                    </a:lnTo>
                    <a:lnTo>
                      <a:pt x="90" y="111"/>
                    </a:lnTo>
                    <a:lnTo>
                      <a:pt x="99" y="93"/>
                    </a:lnTo>
                    <a:lnTo>
                      <a:pt x="123" y="9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98" name="Freeform 84">
                <a:extLst>
                  <a:ext uri="{FF2B5EF4-FFF2-40B4-BE49-F238E27FC236}">
                    <a16:creationId xmlns:a16="http://schemas.microsoft.com/office/drawing/2014/main" id="{37077B60-2DD6-6555-5788-D39D2A0B18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96050" y="2662069"/>
                <a:ext cx="105966" cy="91678"/>
              </a:xfrm>
              <a:custGeom>
                <a:avLst/>
                <a:gdLst>
                  <a:gd name="T0" fmla="*/ 124449 w 537"/>
                  <a:gd name="T1" fmla="*/ 69160 h 456"/>
                  <a:gd name="T2" fmla="*/ 122344 w 537"/>
                  <a:gd name="T3" fmla="*/ 76666 h 456"/>
                  <a:gd name="T4" fmla="*/ 118135 w 537"/>
                  <a:gd name="T5" fmla="*/ 76666 h 456"/>
                  <a:gd name="T6" fmla="*/ 117608 w 537"/>
                  <a:gd name="T7" fmla="*/ 77470 h 456"/>
                  <a:gd name="T8" fmla="*/ 113399 w 537"/>
                  <a:gd name="T9" fmla="*/ 80955 h 456"/>
                  <a:gd name="T10" fmla="*/ 91824 w 537"/>
                  <a:gd name="T11" fmla="*/ 77470 h 456"/>
                  <a:gd name="T12" fmla="*/ 83668 w 537"/>
                  <a:gd name="T13" fmla="*/ 83368 h 456"/>
                  <a:gd name="T14" fmla="*/ 79458 w 537"/>
                  <a:gd name="T15" fmla="*/ 105081 h 456"/>
                  <a:gd name="T16" fmla="*/ 70512 w 537"/>
                  <a:gd name="T17" fmla="*/ 122237 h 456"/>
                  <a:gd name="T18" fmla="*/ 11314 w 537"/>
                  <a:gd name="T19" fmla="*/ 73181 h 456"/>
                  <a:gd name="T20" fmla="*/ 0 w 537"/>
                  <a:gd name="T21" fmla="*/ 50932 h 456"/>
                  <a:gd name="T22" fmla="*/ 15786 w 537"/>
                  <a:gd name="T23" fmla="*/ 43694 h 456"/>
                  <a:gd name="T24" fmla="*/ 28942 w 537"/>
                  <a:gd name="T25" fmla="*/ 37261 h 456"/>
                  <a:gd name="T26" fmla="*/ 28942 w 537"/>
                  <a:gd name="T27" fmla="*/ 19033 h 456"/>
                  <a:gd name="T28" fmla="*/ 42097 w 537"/>
                  <a:gd name="T29" fmla="*/ 11259 h 456"/>
                  <a:gd name="T30" fmla="*/ 46570 w 537"/>
                  <a:gd name="T31" fmla="*/ 0 h 456"/>
                  <a:gd name="T32" fmla="*/ 62356 w 537"/>
                  <a:gd name="T33" fmla="*/ 6434 h 456"/>
                  <a:gd name="T34" fmla="*/ 79721 w 537"/>
                  <a:gd name="T35" fmla="*/ 15280 h 456"/>
                  <a:gd name="T36" fmla="*/ 86036 w 537"/>
                  <a:gd name="T37" fmla="*/ 32168 h 456"/>
                  <a:gd name="T38" fmla="*/ 98665 w 537"/>
                  <a:gd name="T39" fmla="*/ 34580 h 456"/>
                  <a:gd name="T40" fmla="*/ 112873 w 537"/>
                  <a:gd name="T41" fmla="*/ 41014 h 456"/>
                  <a:gd name="T42" fmla="*/ 126554 w 537"/>
                  <a:gd name="T43" fmla="*/ 48788 h 456"/>
                  <a:gd name="T44" fmla="*/ 134973 w 537"/>
                  <a:gd name="T45" fmla="*/ 53077 h 456"/>
                  <a:gd name="T46" fmla="*/ 141288 w 537"/>
                  <a:gd name="T47" fmla="*/ 56293 h 456"/>
                  <a:gd name="T48" fmla="*/ 131816 w 537"/>
                  <a:gd name="T49" fmla="*/ 62727 h 456"/>
                  <a:gd name="T50" fmla="*/ 120240 w 537"/>
                  <a:gd name="T51" fmla="*/ 62727 h 456"/>
                  <a:gd name="T52" fmla="*/ 124449 w 537"/>
                  <a:gd name="T53" fmla="*/ 69160 h 45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537" h="456">
                    <a:moveTo>
                      <a:pt x="473" y="258"/>
                    </a:moveTo>
                    <a:lnTo>
                      <a:pt x="465" y="286"/>
                    </a:lnTo>
                    <a:lnTo>
                      <a:pt x="449" y="286"/>
                    </a:lnTo>
                    <a:lnTo>
                      <a:pt x="447" y="289"/>
                    </a:lnTo>
                    <a:lnTo>
                      <a:pt x="431" y="302"/>
                    </a:lnTo>
                    <a:lnTo>
                      <a:pt x="349" y="289"/>
                    </a:lnTo>
                    <a:lnTo>
                      <a:pt x="318" y="311"/>
                    </a:lnTo>
                    <a:lnTo>
                      <a:pt x="302" y="392"/>
                    </a:lnTo>
                    <a:lnTo>
                      <a:pt x="268" y="456"/>
                    </a:lnTo>
                    <a:lnTo>
                      <a:pt x="43" y="273"/>
                    </a:lnTo>
                    <a:lnTo>
                      <a:pt x="0" y="190"/>
                    </a:lnTo>
                    <a:lnTo>
                      <a:pt x="60" y="163"/>
                    </a:lnTo>
                    <a:lnTo>
                      <a:pt x="110" y="139"/>
                    </a:lnTo>
                    <a:lnTo>
                      <a:pt x="110" y="71"/>
                    </a:lnTo>
                    <a:lnTo>
                      <a:pt x="160" y="42"/>
                    </a:lnTo>
                    <a:lnTo>
                      <a:pt x="177" y="0"/>
                    </a:lnTo>
                    <a:lnTo>
                      <a:pt x="237" y="24"/>
                    </a:lnTo>
                    <a:lnTo>
                      <a:pt x="303" y="57"/>
                    </a:lnTo>
                    <a:lnTo>
                      <a:pt x="327" y="120"/>
                    </a:lnTo>
                    <a:lnTo>
                      <a:pt x="375" y="129"/>
                    </a:lnTo>
                    <a:lnTo>
                      <a:pt x="429" y="153"/>
                    </a:lnTo>
                    <a:lnTo>
                      <a:pt x="481" y="182"/>
                    </a:lnTo>
                    <a:lnTo>
                      <a:pt x="513" y="198"/>
                    </a:lnTo>
                    <a:lnTo>
                      <a:pt x="537" y="210"/>
                    </a:lnTo>
                    <a:lnTo>
                      <a:pt x="501" y="234"/>
                    </a:lnTo>
                    <a:lnTo>
                      <a:pt x="457" y="234"/>
                    </a:lnTo>
                    <a:lnTo>
                      <a:pt x="473" y="25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799" name="Freeform 85">
                <a:extLst>
                  <a:ext uri="{FF2B5EF4-FFF2-40B4-BE49-F238E27FC236}">
                    <a16:creationId xmlns:a16="http://schemas.microsoft.com/office/drawing/2014/main" id="{69FFF920-A96B-93B9-3707-4D6E014D6A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31769" y="2519195"/>
                <a:ext cx="183356" cy="220265"/>
              </a:xfrm>
              <a:custGeom>
                <a:avLst/>
                <a:gdLst>
                  <a:gd name="T0" fmla="*/ 57150 w 154"/>
                  <a:gd name="T1" fmla="*/ 3175 h 185"/>
                  <a:gd name="T2" fmla="*/ 98425 w 154"/>
                  <a:gd name="T3" fmla="*/ 0 h 185"/>
                  <a:gd name="T4" fmla="*/ 109538 w 154"/>
                  <a:gd name="T5" fmla="*/ 9525 h 185"/>
                  <a:gd name="T6" fmla="*/ 115888 w 154"/>
                  <a:gd name="T7" fmla="*/ 17462 h 185"/>
                  <a:gd name="T8" fmla="*/ 122238 w 154"/>
                  <a:gd name="T9" fmla="*/ 47625 h 185"/>
                  <a:gd name="T10" fmla="*/ 146050 w 154"/>
                  <a:gd name="T11" fmla="*/ 55562 h 185"/>
                  <a:gd name="T12" fmla="*/ 157163 w 154"/>
                  <a:gd name="T13" fmla="*/ 98425 h 185"/>
                  <a:gd name="T14" fmla="*/ 171450 w 154"/>
                  <a:gd name="T15" fmla="*/ 109537 h 185"/>
                  <a:gd name="T16" fmla="*/ 196850 w 154"/>
                  <a:gd name="T17" fmla="*/ 106362 h 185"/>
                  <a:gd name="T18" fmla="*/ 215900 w 154"/>
                  <a:gd name="T19" fmla="*/ 130175 h 185"/>
                  <a:gd name="T20" fmla="*/ 214313 w 154"/>
                  <a:gd name="T21" fmla="*/ 150812 h 185"/>
                  <a:gd name="T22" fmla="*/ 211138 w 154"/>
                  <a:gd name="T23" fmla="*/ 161925 h 185"/>
                  <a:gd name="T24" fmla="*/ 219075 w 154"/>
                  <a:gd name="T25" fmla="*/ 190500 h 185"/>
                  <a:gd name="T26" fmla="*/ 238125 w 154"/>
                  <a:gd name="T27" fmla="*/ 203200 h 185"/>
                  <a:gd name="T28" fmla="*/ 244475 w 154"/>
                  <a:gd name="T29" fmla="*/ 227012 h 185"/>
                  <a:gd name="T30" fmla="*/ 219075 w 154"/>
                  <a:gd name="T31" fmla="*/ 242887 h 185"/>
                  <a:gd name="T32" fmla="*/ 217488 w 154"/>
                  <a:gd name="T33" fmla="*/ 265112 h 185"/>
                  <a:gd name="T34" fmla="*/ 222250 w 154"/>
                  <a:gd name="T35" fmla="*/ 276225 h 185"/>
                  <a:gd name="T36" fmla="*/ 209550 w 154"/>
                  <a:gd name="T37" fmla="*/ 293687 h 185"/>
                  <a:gd name="T38" fmla="*/ 192088 w 154"/>
                  <a:gd name="T39" fmla="*/ 285750 h 185"/>
                  <a:gd name="T40" fmla="*/ 163513 w 154"/>
                  <a:gd name="T41" fmla="*/ 292100 h 185"/>
                  <a:gd name="T42" fmla="*/ 171450 w 154"/>
                  <a:gd name="T43" fmla="*/ 277812 h 185"/>
                  <a:gd name="T44" fmla="*/ 173038 w 154"/>
                  <a:gd name="T45" fmla="*/ 258762 h 185"/>
                  <a:gd name="T46" fmla="*/ 157163 w 154"/>
                  <a:gd name="T47" fmla="*/ 250825 h 185"/>
                  <a:gd name="T48" fmla="*/ 144463 w 154"/>
                  <a:gd name="T49" fmla="*/ 238125 h 185"/>
                  <a:gd name="T50" fmla="*/ 125413 w 154"/>
                  <a:gd name="T51" fmla="*/ 225425 h 185"/>
                  <a:gd name="T52" fmla="*/ 115888 w 154"/>
                  <a:gd name="T53" fmla="*/ 215900 h 185"/>
                  <a:gd name="T54" fmla="*/ 111125 w 154"/>
                  <a:gd name="T55" fmla="*/ 227012 h 185"/>
                  <a:gd name="T56" fmla="*/ 104775 w 154"/>
                  <a:gd name="T57" fmla="*/ 239712 h 185"/>
                  <a:gd name="T58" fmla="*/ 96838 w 154"/>
                  <a:gd name="T59" fmla="*/ 249237 h 185"/>
                  <a:gd name="T60" fmla="*/ 84138 w 154"/>
                  <a:gd name="T61" fmla="*/ 242887 h 185"/>
                  <a:gd name="T62" fmla="*/ 55563 w 154"/>
                  <a:gd name="T63" fmla="*/ 227012 h 185"/>
                  <a:gd name="T64" fmla="*/ 33338 w 154"/>
                  <a:gd name="T65" fmla="*/ 206375 h 185"/>
                  <a:gd name="T66" fmla="*/ 14288 w 154"/>
                  <a:gd name="T67" fmla="*/ 180975 h 185"/>
                  <a:gd name="T68" fmla="*/ 15875 w 154"/>
                  <a:gd name="T69" fmla="*/ 155575 h 185"/>
                  <a:gd name="T70" fmla="*/ 12700 w 154"/>
                  <a:gd name="T71" fmla="*/ 128587 h 185"/>
                  <a:gd name="T72" fmla="*/ 11113 w 154"/>
                  <a:gd name="T73" fmla="*/ 85725 h 185"/>
                  <a:gd name="T74" fmla="*/ 0 w 154"/>
                  <a:gd name="T75" fmla="*/ 47625 h 18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54" h="185">
                    <a:moveTo>
                      <a:pt x="0" y="14"/>
                    </a:moveTo>
                    <a:lnTo>
                      <a:pt x="36" y="2"/>
                    </a:lnTo>
                    <a:lnTo>
                      <a:pt x="52" y="0"/>
                    </a:lnTo>
                    <a:lnTo>
                      <a:pt x="62" y="0"/>
                    </a:lnTo>
                    <a:lnTo>
                      <a:pt x="66" y="3"/>
                    </a:lnTo>
                    <a:lnTo>
                      <a:pt x="69" y="6"/>
                    </a:lnTo>
                    <a:lnTo>
                      <a:pt x="69" y="10"/>
                    </a:lnTo>
                    <a:lnTo>
                      <a:pt x="73" y="11"/>
                    </a:lnTo>
                    <a:lnTo>
                      <a:pt x="77" y="19"/>
                    </a:lnTo>
                    <a:lnTo>
                      <a:pt x="77" y="30"/>
                    </a:lnTo>
                    <a:lnTo>
                      <a:pt x="82" y="35"/>
                    </a:lnTo>
                    <a:lnTo>
                      <a:pt x="92" y="35"/>
                    </a:lnTo>
                    <a:lnTo>
                      <a:pt x="99" y="51"/>
                    </a:lnTo>
                    <a:lnTo>
                      <a:pt x="99" y="62"/>
                    </a:lnTo>
                    <a:lnTo>
                      <a:pt x="103" y="69"/>
                    </a:lnTo>
                    <a:lnTo>
                      <a:pt x="108" y="69"/>
                    </a:lnTo>
                    <a:lnTo>
                      <a:pt x="119" y="62"/>
                    </a:lnTo>
                    <a:lnTo>
                      <a:pt x="124" y="67"/>
                    </a:lnTo>
                    <a:lnTo>
                      <a:pt x="125" y="76"/>
                    </a:lnTo>
                    <a:lnTo>
                      <a:pt x="136" y="82"/>
                    </a:lnTo>
                    <a:lnTo>
                      <a:pt x="134" y="92"/>
                    </a:lnTo>
                    <a:lnTo>
                      <a:pt x="135" y="95"/>
                    </a:lnTo>
                    <a:lnTo>
                      <a:pt x="137" y="96"/>
                    </a:lnTo>
                    <a:lnTo>
                      <a:pt x="133" y="102"/>
                    </a:lnTo>
                    <a:lnTo>
                      <a:pt x="132" y="108"/>
                    </a:lnTo>
                    <a:lnTo>
                      <a:pt x="138" y="120"/>
                    </a:lnTo>
                    <a:lnTo>
                      <a:pt x="147" y="122"/>
                    </a:lnTo>
                    <a:lnTo>
                      <a:pt x="150" y="128"/>
                    </a:lnTo>
                    <a:lnTo>
                      <a:pt x="154" y="136"/>
                    </a:lnTo>
                    <a:lnTo>
                      <a:pt x="154" y="143"/>
                    </a:lnTo>
                    <a:lnTo>
                      <a:pt x="147" y="153"/>
                    </a:lnTo>
                    <a:lnTo>
                      <a:pt x="138" y="153"/>
                    </a:lnTo>
                    <a:lnTo>
                      <a:pt x="138" y="159"/>
                    </a:lnTo>
                    <a:lnTo>
                      <a:pt x="137" y="167"/>
                    </a:lnTo>
                    <a:lnTo>
                      <a:pt x="140" y="171"/>
                    </a:lnTo>
                    <a:lnTo>
                      <a:pt x="140" y="174"/>
                    </a:lnTo>
                    <a:lnTo>
                      <a:pt x="141" y="184"/>
                    </a:lnTo>
                    <a:lnTo>
                      <a:pt x="132" y="185"/>
                    </a:lnTo>
                    <a:lnTo>
                      <a:pt x="120" y="181"/>
                    </a:lnTo>
                    <a:lnTo>
                      <a:pt x="121" y="180"/>
                    </a:lnTo>
                    <a:lnTo>
                      <a:pt x="114" y="184"/>
                    </a:lnTo>
                    <a:lnTo>
                      <a:pt x="103" y="184"/>
                    </a:lnTo>
                    <a:lnTo>
                      <a:pt x="103" y="181"/>
                    </a:lnTo>
                    <a:lnTo>
                      <a:pt x="108" y="175"/>
                    </a:lnTo>
                    <a:lnTo>
                      <a:pt x="109" y="163"/>
                    </a:lnTo>
                    <a:lnTo>
                      <a:pt x="97" y="161"/>
                    </a:lnTo>
                    <a:lnTo>
                      <a:pt x="99" y="158"/>
                    </a:lnTo>
                    <a:lnTo>
                      <a:pt x="90" y="154"/>
                    </a:lnTo>
                    <a:lnTo>
                      <a:pt x="91" y="150"/>
                    </a:lnTo>
                    <a:lnTo>
                      <a:pt x="86" y="145"/>
                    </a:lnTo>
                    <a:lnTo>
                      <a:pt x="79" y="142"/>
                    </a:lnTo>
                    <a:lnTo>
                      <a:pt x="76" y="140"/>
                    </a:lnTo>
                    <a:lnTo>
                      <a:pt x="73" y="136"/>
                    </a:lnTo>
                    <a:lnTo>
                      <a:pt x="67" y="141"/>
                    </a:lnTo>
                    <a:lnTo>
                      <a:pt x="70" y="143"/>
                    </a:lnTo>
                    <a:lnTo>
                      <a:pt x="70" y="148"/>
                    </a:lnTo>
                    <a:lnTo>
                      <a:pt x="66" y="151"/>
                    </a:lnTo>
                    <a:lnTo>
                      <a:pt x="62" y="153"/>
                    </a:lnTo>
                    <a:lnTo>
                      <a:pt x="61" y="157"/>
                    </a:lnTo>
                    <a:lnTo>
                      <a:pt x="59" y="156"/>
                    </a:lnTo>
                    <a:lnTo>
                      <a:pt x="53" y="153"/>
                    </a:lnTo>
                    <a:lnTo>
                      <a:pt x="44" y="147"/>
                    </a:lnTo>
                    <a:lnTo>
                      <a:pt x="35" y="143"/>
                    </a:lnTo>
                    <a:lnTo>
                      <a:pt x="25" y="140"/>
                    </a:lnTo>
                    <a:lnTo>
                      <a:pt x="21" y="130"/>
                    </a:lnTo>
                    <a:lnTo>
                      <a:pt x="0" y="120"/>
                    </a:lnTo>
                    <a:lnTo>
                      <a:pt x="9" y="114"/>
                    </a:lnTo>
                    <a:lnTo>
                      <a:pt x="11" y="106"/>
                    </a:lnTo>
                    <a:lnTo>
                      <a:pt x="10" y="98"/>
                    </a:lnTo>
                    <a:lnTo>
                      <a:pt x="16" y="93"/>
                    </a:lnTo>
                    <a:lnTo>
                      <a:pt x="8" y="81"/>
                    </a:lnTo>
                    <a:lnTo>
                      <a:pt x="17" y="65"/>
                    </a:lnTo>
                    <a:lnTo>
                      <a:pt x="7" y="54"/>
                    </a:lnTo>
                    <a:lnTo>
                      <a:pt x="9" y="42"/>
                    </a:lnTo>
                    <a:lnTo>
                      <a:pt x="0" y="3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</p:grpSp>
        <p:pic>
          <p:nvPicPr>
            <p:cNvPr id="800" name="Picture 49">
              <a:extLst>
                <a:ext uri="{FF2B5EF4-FFF2-40B4-BE49-F238E27FC236}">
                  <a16:creationId xmlns:a16="http://schemas.microsoft.com/office/drawing/2014/main" id="{F400BC74-ADBE-6D5C-A682-12A339543C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941805" y="3076727"/>
              <a:ext cx="606195" cy="638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1" name="Picture 58">
              <a:extLst>
                <a:ext uri="{FF2B5EF4-FFF2-40B4-BE49-F238E27FC236}">
                  <a16:creationId xmlns:a16="http://schemas.microsoft.com/office/drawing/2014/main" id="{07DA6724-CB46-AAD1-05BC-F84D0A1E52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560332" y="3165767"/>
              <a:ext cx="332650" cy="166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2" name="Picture 50">
              <a:extLst>
                <a:ext uri="{FF2B5EF4-FFF2-40B4-BE49-F238E27FC236}">
                  <a16:creationId xmlns:a16="http://schemas.microsoft.com/office/drawing/2014/main" id="{A6B254C2-A040-3C2C-CF0F-310569FF53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145195" y="3616938"/>
              <a:ext cx="744689" cy="1306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3" name="Picture 57">
              <a:extLst>
                <a:ext uri="{FF2B5EF4-FFF2-40B4-BE49-F238E27FC236}">
                  <a16:creationId xmlns:a16="http://schemas.microsoft.com/office/drawing/2014/main" id="{2714573D-0E3B-3CD4-EDDD-96E69FC2C4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020272" y="3965402"/>
              <a:ext cx="540371" cy="1250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4" name="Picture 51">
              <a:extLst>
                <a:ext uri="{FF2B5EF4-FFF2-40B4-BE49-F238E27FC236}">
                  <a16:creationId xmlns:a16="http://schemas.microsoft.com/office/drawing/2014/main" id="{C3DE5C62-ED2E-F997-34E1-017A3B631A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652369" y="3950919"/>
              <a:ext cx="700051" cy="969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5" name="Picture 59">
              <a:extLst>
                <a:ext uri="{FF2B5EF4-FFF2-40B4-BE49-F238E27FC236}">
                  <a16:creationId xmlns:a16="http://schemas.microsoft.com/office/drawing/2014/main" id="{4E8C0A3D-6B3A-87B0-5975-0C3455F9D2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269979" y="4083918"/>
              <a:ext cx="370473" cy="1282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6" name="Picture 48">
              <a:extLst>
                <a:ext uri="{FF2B5EF4-FFF2-40B4-BE49-F238E27FC236}">
                  <a16:creationId xmlns:a16="http://schemas.microsoft.com/office/drawing/2014/main" id="{989ADC02-BD8E-0DFD-C25C-2C928C6814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732097" y="4251724"/>
              <a:ext cx="495347" cy="1470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7" name="Picture 55">
              <a:extLst>
                <a:ext uri="{FF2B5EF4-FFF2-40B4-BE49-F238E27FC236}">
                  <a16:creationId xmlns:a16="http://schemas.microsoft.com/office/drawing/2014/main" id="{F7CED318-1FBB-5C93-C4E1-71DDB330D2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356869" y="4155926"/>
              <a:ext cx="808841" cy="635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8" name="Picture 85">
              <a:extLst>
                <a:ext uri="{FF2B5EF4-FFF2-40B4-BE49-F238E27FC236}">
                  <a16:creationId xmlns:a16="http://schemas.microsoft.com/office/drawing/2014/main" id="{AC5A6810-F17F-B165-106A-7EF25CDF12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827596" y="4580362"/>
              <a:ext cx="308799" cy="2146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9" name="Picture 52">
              <a:extLst>
                <a:ext uri="{FF2B5EF4-FFF2-40B4-BE49-F238E27FC236}">
                  <a16:creationId xmlns:a16="http://schemas.microsoft.com/office/drawing/2014/main" id="{386AF215-6347-2EA0-425C-21EBAEA726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961087" y="3686576"/>
              <a:ext cx="312283" cy="1333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0" name="Picture 56">
              <a:extLst>
                <a:ext uri="{FF2B5EF4-FFF2-40B4-BE49-F238E27FC236}">
                  <a16:creationId xmlns:a16="http://schemas.microsoft.com/office/drawing/2014/main" id="{E12F49BC-9D29-E7BE-8A97-05F4C30196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060419" y="3407883"/>
              <a:ext cx="360473" cy="822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1" name="Picture 93">
              <a:extLst>
                <a:ext uri="{FF2B5EF4-FFF2-40B4-BE49-F238E27FC236}">
                  <a16:creationId xmlns:a16="http://schemas.microsoft.com/office/drawing/2014/main" id="{BE626300-56D0-1DE3-403D-117CDF6EF8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244809" y="3642593"/>
              <a:ext cx="383081" cy="1172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2" name="Picture 95">
              <a:extLst>
                <a:ext uri="{FF2B5EF4-FFF2-40B4-BE49-F238E27FC236}">
                  <a16:creationId xmlns:a16="http://schemas.microsoft.com/office/drawing/2014/main" id="{711B3396-9C55-8567-3320-B888CA4793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264188" y="2895786"/>
              <a:ext cx="575626" cy="1056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3" name="Picture 101">
              <a:extLst>
                <a:ext uri="{FF2B5EF4-FFF2-40B4-BE49-F238E27FC236}">
                  <a16:creationId xmlns:a16="http://schemas.microsoft.com/office/drawing/2014/main" id="{AD777B29-BDD5-C6EC-5BD0-E315471A51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264188" y="3291867"/>
              <a:ext cx="610259" cy="1439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4" name="Picture 105">
              <a:extLst>
                <a:ext uri="{FF2B5EF4-FFF2-40B4-BE49-F238E27FC236}">
                  <a16:creationId xmlns:a16="http://schemas.microsoft.com/office/drawing/2014/main" id="{FA6412E4-B832-D25B-5679-B648C6A6BF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505475" y="3433356"/>
              <a:ext cx="600544" cy="146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5" name="Picture 107">
              <a:extLst>
                <a:ext uri="{FF2B5EF4-FFF2-40B4-BE49-F238E27FC236}">
                  <a16:creationId xmlns:a16="http://schemas.microsoft.com/office/drawing/2014/main" id="{8CE72B7F-F21E-A2A3-E698-767C06B3A6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474475" y="2134989"/>
              <a:ext cx="329411" cy="88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6" name="Grafik 815">
              <a:extLst>
                <a:ext uri="{FF2B5EF4-FFF2-40B4-BE49-F238E27FC236}">
                  <a16:creationId xmlns:a16="http://schemas.microsoft.com/office/drawing/2014/main" id="{1E496B3E-F8E4-A831-9F51-6C81C5C599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7561020" y="3782160"/>
              <a:ext cx="204102" cy="144742"/>
            </a:xfrm>
            <a:prstGeom prst="rect">
              <a:avLst/>
            </a:prstGeom>
          </p:spPr>
        </p:pic>
        <p:pic>
          <p:nvPicPr>
            <p:cNvPr id="817" name="Picture 115">
              <a:extLst>
                <a:ext uri="{FF2B5EF4-FFF2-40B4-BE49-F238E27FC236}">
                  <a16:creationId xmlns:a16="http://schemas.microsoft.com/office/drawing/2014/main" id="{4E663BC0-B142-3D4F-1FB0-600823E56A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266910" y="3059655"/>
              <a:ext cx="461087" cy="1601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8" name="Picture 119">
              <a:extLst>
                <a:ext uri="{FF2B5EF4-FFF2-40B4-BE49-F238E27FC236}">
                  <a16:creationId xmlns:a16="http://schemas.microsoft.com/office/drawing/2014/main" id="{2B23C4E0-93EE-AFD4-E1D2-8EA6E0602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904148" y="3048976"/>
              <a:ext cx="293267" cy="2487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9" name="Picture 121">
              <a:extLst>
                <a:ext uri="{FF2B5EF4-FFF2-40B4-BE49-F238E27FC236}">
                  <a16:creationId xmlns:a16="http://schemas.microsoft.com/office/drawing/2014/main" id="{F3B6CE41-47D7-1264-239B-7C22039F3F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071271" y="4188000"/>
              <a:ext cx="541530" cy="1701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0" name="Picture 123">
              <a:extLst>
                <a:ext uri="{FF2B5EF4-FFF2-40B4-BE49-F238E27FC236}">
                  <a16:creationId xmlns:a16="http://schemas.microsoft.com/office/drawing/2014/main" id="{1D85556C-A5C9-37E1-BBD2-D3D7B443A2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172400" y="4679601"/>
              <a:ext cx="454803" cy="117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1" name="Picture 127">
              <a:extLst>
                <a:ext uri="{FF2B5EF4-FFF2-40B4-BE49-F238E27FC236}">
                  <a16:creationId xmlns:a16="http://schemas.microsoft.com/office/drawing/2014/main" id="{4600563D-E841-2DF2-ED64-5180169C09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735796" y="2643758"/>
              <a:ext cx="515368" cy="4469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2" name="Picture 135">
              <a:extLst>
                <a:ext uri="{FF2B5EF4-FFF2-40B4-BE49-F238E27FC236}">
                  <a16:creationId xmlns:a16="http://schemas.microsoft.com/office/drawing/2014/main" id="{03C94B36-3EAF-6C63-2A0D-284C827D46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253092" y="3435846"/>
              <a:ext cx="622268" cy="1833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3" name="Picture 137">
              <a:extLst>
                <a:ext uri="{FF2B5EF4-FFF2-40B4-BE49-F238E27FC236}">
                  <a16:creationId xmlns:a16="http://schemas.microsoft.com/office/drawing/2014/main" id="{136EE7C2-116B-44E1-1781-F625734499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695419" y="2428105"/>
              <a:ext cx="475718" cy="2639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4" name="Picture 139">
              <a:extLst>
                <a:ext uri="{FF2B5EF4-FFF2-40B4-BE49-F238E27FC236}">
                  <a16:creationId xmlns:a16="http://schemas.microsoft.com/office/drawing/2014/main" id="{C9FE3A32-C65A-5E03-D85F-5CA6A80E68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691711" y="2631595"/>
              <a:ext cx="552038" cy="776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5" name="Picture 141">
              <a:extLst>
                <a:ext uri="{FF2B5EF4-FFF2-40B4-BE49-F238E27FC236}">
                  <a16:creationId xmlns:a16="http://schemas.microsoft.com/office/drawing/2014/main" id="{5262CFC3-9A80-028F-ABFD-F6FD86B46E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078184" y="2371938"/>
              <a:ext cx="496478" cy="1283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6" name="Picture 143">
              <a:extLst>
                <a:ext uri="{FF2B5EF4-FFF2-40B4-BE49-F238E27FC236}">
                  <a16:creationId xmlns:a16="http://schemas.microsoft.com/office/drawing/2014/main" id="{9D45BA95-3381-6107-5876-DF965353A8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149653" y="3239614"/>
              <a:ext cx="519818" cy="1579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7" name="Picture 147">
              <a:extLst>
                <a:ext uri="{FF2B5EF4-FFF2-40B4-BE49-F238E27FC236}">
                  <a16:creationId xmlns:a16="http://schemas.microsoft.com/office/drawing/2014/main" id="{F90437CB-34CC-29F6-AD24-C7CBFF4CF1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944357" y="2677814"/>
              <a:ext cx="607555" cy="1110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8" name="Picture 149">
              <a:extLst>
                <a:ext uri="{FF2B5EF4-FFF2-40B4-BE49-F238E27FC236}">
                  <a16:creationId xmlns:a16="http://schemas.microsoft.com/office/drawing/2014/main" id="{CA4DED36-B4CD-C19F-690C-6685336FC4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635615" y="4528622"/>
              <a:ext cx="638093" cy="2204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9" name="Picture 39">
              <a:extLst>
                <a:ext uri="{FF2B5EF4-FFF2-40B4-BE49-F238E27FC236}">
                  <a16:creationId xmlns:a16="http://schemas.microsoft.com/office/drawing/2014/main" id="{FDFDB6AB-7013-DEC9-C37B-C50BA59237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546986" y="2718019"/>
              <a:ext cx="269482" cy="1767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830" name="Gerader Verbinder 829">
              <a:extLst>
                <a:ext uri="{FF2B5EF4-FFF2-40B4-BE49-F238E27FC236}">
                  <a16:creationId xmlns:a16="http://schemas.microsoft.com/office/drawing/2014/main" id="{854ED5E1-7783-1847-EA51-325ED0AF690B}"/>
                </a:ext>
              </a:extLst>
            </p:cNvPr>
            <p:cNvCxnSpPr>
              <a:cxnSpLocks/>
            </p:cNvCxnSpPr>
            <p:nvPr/>
          </p:nvCxnSpPr>
          <p:spPr bwMode="gray">
            <a:xfrm flipH="1" flipV="1">
              <a:off x="3768010" y="2128719"/>
              <a:ext cx="2459180" cy="2675279"/>
            </a:xfrm>
            <a:prstGeom prst="line">
              <a:avLst/>
            </a:prstGeom>
            <a:ln w="6350">
              <a:solidFill>
                <a:schemeClr val="accent6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1" name="Gerader Verbinder 830">
              <a:extLst>
                <a:ext uri="{FF2B5EF4-FFF2-40B4-BE49-F238E27FC236}">
                  <a16:creationId xmlns:a16="http://schemas.microsoft.com/office/drawing/2014/main" id="{038925EC-6EDE-5D4E-91A3-CAA3760F1812}"/>
                </a:ext>
              </a:extLst>
            </p:cNvPr>
            <p:cNvCxnSpPr>
              <a:cxnSpLocks/>
            </p:cNvCxnSpPr>
            <p:nvPr/>
          </p:nvCxnSpPr>
          <p:spPr bwMode="gray">
            <a:xfrm flipH="1" flipV="1">
              <a:off x="4837785" y="1146952"/>
              <a:ext cx="3910679" cy="1726242"/>
            </a:xfrm>
            <a:prstGeom prst="line">
              <a:avLst/>
            </a:prstGeom>
            <a:ln w="6350">
              <a:solidFill>
                <a:schemeClr val="accent6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2" name="Rechteck 831">
              <a:extLst>
                <a:ext uri="{FF2B5EF4-FFF2-40B4-BE49-F238E27FC236}">
                  <a16:creationId xmlns:a16="http://schemas.microsoft.com/office/drawing/2014/main" id="{60F80313-0F9D-0527-D238-594FA0B530B5}"/>
                </a:ext>
              </a:extLst>
            </p:cNvPr>
            <p:cNvSpPr/>
            <p:nvPr/>
          </p:nvSpPr>
          <p:spPr bwMode="gray">
            <a:xfrm>
              <a:off x="3754837" y="1150267"/>
              <a:ext cx="1069902" cy="984722"/>
            </a:xfrm>
            <a:prstGeom prst="rect">
              <a:avLst/>
            </a:prstGeom>
            <a:noFill/>
            <a:ln>
              <a:solidFill>
                <a:schemeClr val="accent6">
                  <a:lumMod val="20000"/>
                  <a:lumOff val="8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/>
            </a:p>
          </p:txBody>
        </p:sp>
        <p:cxnSp>
          <p:nvCxnSpPr>
            <p:cNvPr id="833" name="Gerader Verbinder 832">
              <a:extLst>
                <a:ext uri="{FF2B5EF4-FFF2-40B4-BE49-F238E27FC236}">
                  <a16:creationId xmlns:a16="http://schemas.microsoft.com/office/drawing/2014/main" id="{B8617F3E-C5B2-4A1E-2CEF-AF8D5F5B161F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6228184" y="3785465"/>
              <a:ext cx="681307" cy="10421"/>
            </a:xfrm>
            <a:prstGeom prst="line">
              <a:avLst/>
            </a:prstGeom>
            <a:ln w="6350">
              <a:solidFill>
                <a:schemeClr val="accent6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4" name="Gerader Verbinder 833">
              <a:extLst>
                <a:ext uri="{FF2B5EF4-FFF2-40B4-BE49-F238E27FC236}">
                  <a16:creationId xmlns:a16="http://schemas.microsoft.com/office/drawing/2014/main" id="{665737C2-2948-1DCC-C158-1DA32E059F0E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6900201" y="2871423"/>
              <a:ext cx="0" cy="917430"/>
            </a:xfrm>
            <a:prstGeom prst="line">
              <a:avLst/>
            </a:prstGeom>
            <a:ln w="6350">
              <a:solidFill>
                <a:schemeClr val="accent6">
                  <a:lumMod val="40000"/>
                  <a:lumOff val="6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35" name="Picture 8">
              <a:extLst>
                <a:ext uri="{FF2B5EF4-FFF2-40B4-BE49-F238E27FC236}">
                  <a16:creationId xmlns:a16="http://schemas.microsoft.com/office/drawing/2014/main" id="{E735EDCE-BA68-4131-A027-B61D61B30B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281377" y="1743658"/>
              <a:ext cx="402259" cy="1099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6329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D899076-D56E-759D-A4E5-4B11D08434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7343774" y="286141"/>
            <a:ext cx="1297421" cy="21914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7167E04-B2DB-632E-38D8-4FE549DC3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8" y="290513"/>
            <a:ext cx="6478587" cy="492443"/>
          </a:xfrm>
        </p:spPr>
        <p:txBody>
          <a:bodyPr/>
          <a:lstStyle/>
          <a:p>
            <a:pPr lvl="0"/>
            <a:r>
              <a:rPr lang="en-US" noProof="0" dirty="0"/>
              <a:t>Pricing</a:t>
            </a:r>
            <a:br>
              <a:rPr lang="en-US" noProof="0" dirty="0"/>
            </a:br>
            <a:r>
              <a:rPr lang="en-US" b="0" noProof="0" dirty="0"/>
              <a:t>Competitive Analysis – published prices pulled on February 2024</a:t>
            </a:r>
          </a:p>
        </p:txBody>
      </p:sp>
      <p:cxnSp>
        <p:nvCxnSpPr>
          <p:cNvPr id="8" name="Gerade Verbindung 9">
            <a:extLst>
              <a:ext uri="{FF2B5EF4-FFF2-40B4-BE49-F238E27FC236}">
                <a16:creationId xmlns:a16="http://schemas.microsoft.com/office/drawing/2014/main" id="{E6E886A4-6B2A-8BA4-E237-B7A5F056B8B2}"/>
              </a:ext>
            </a:extLst>
          </p:cNvPr>
          <p:cNvCxnSpPr>
            <a:cxnSpLocks/>
          </p:cNvCxnSpPr>
          <p:nvPr/>
        </p:nvCxnSpPr>
        <p:spPr bwMode="gray">
          <a:xfrm>
            <a:off x="507037" y="812800"/>
            <a:ext cx="8132964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E65E167-5A60-A3A8-16BD-39EC96ED6D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dor Sales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220BE4-74DE-BDA1-FB17-D90D8F6E81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C1238E5F-BF35-42A5-A94E-68B816B46E96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9200B7F-DA46-D747-6C4A-576D65C4FC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0791" y="988572"/>
            <a:ext cx="6942418" cy="3523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01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35B0D1-A40A-F316-5DFC-A571AB566D34}"/>
              </a:ext>
            </a:extLst>
          </p:cNvPr>
          <p:cNvSpPr txBox="1"/>
          <p:nvPr/>
        </p:nvSpPr>
        <p:spPr>
          <a:xfrm>
            <a:off x="471080" y="138072"/>
            <a:ext cx="42800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Loyalty progra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78EF03F-6B75-6012-78F5-02FC9233C35B}"/>
              </a:ext>
            </a:extLst>
          </p:cNvPr>
          <p:cNvSpPr txBox="1"/>
          <p:nvPr/>
        </p:nvSpPr>
        <p:spPr>
          <a:xfrm>
            <a:off x="471080" y="850444"/>
            <a:ext cx="4355897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600" b="0" i="0">
                <a:solidFill>
                  <a:srgbClr val="406EBD"/>
                </a:solidFill>
                <a:effectLst/>
                <a:latin typeface="Helvetica Neue LT Heavy"/>
              </a:rPr>
              <a:t>Alaska Mileage Plan™</a:t>
            </a:r>
          </a:p>
          <a:p>
            <a:pPr algn="l"/>
            <a:endParaRPr lang="en-US" sz="1600" b="0" i="0">
              <a:solidFill>
                <a:srgbClr val="406EBD"/>
              </a:solidFill>
              <a:effectLst/>
              <a:latin typeface="Helvetica Neue LT Heavy"/>
            </a:endParaRPr>
          </a:p>
          <a:p>
            <a:pPr algn="l"/>
            <a:r>
              <a:rPr lang="en-US" sz="1600" b="0" i="0">
                <a:solidFill>
                  <a:srgbClr val="000000"/>
                </a:solidFill>
                <a:effectLst/>
                <a:latin typeface="Helvetica Neue LT"/>
              </a:rPr>
              <a:t>Earn miles with Alaska Mileage Plan™ whenever you fly with Condor or Alaska Airlines.</a:t>
            </a:r>
          </a:p>
          <a:p>
            <a:pPr algn="l"/>
            <a:endParaRPr lang="en-US" sz="1600" b="0" i="0">
              <a:solidFill>
                <a:srgbClr val="000000"/>
              </a:solidFill>
              <a:effectLst/>
              <a:latin typeface="Helvetica Neue LT"/>
            </a:endParaRPr>
          </a:p>
          <a:p>
            <a:pPr algn="l"/>
            <a:r>
              <a:rPr lang="en-US" sz="1600" b="0" i="0">
                <a:solidFill>
                  <a:srgbClr val="000000"/>
                </a:solidFill>
                <a:effectLst/>
                <a:latin typeface="Helvetica Neue LT Heavy"/>
              </a:rPr>
              <a:t>Earn Miles with Alaska Mileage Plan™</a:t>
            </a:r>
          </a:p>
          <a:p>
            <a:pPr algn="l"/>
            <a:endParaRPr lang="en-US" sz="1600" b="0" i="0">
              <a:solidFill>
                <a:srgbClr val="000000"/>
              </a:solidFill>
              <a:effectLst/>
              <a:latin typeface="Helvetica Neue LT Heavy"/>
            </a:endParaRPr>
          </a:p>
          <a:p>
            <a:pPr algn="l"/>
            <a:r>
              <a:rPr lang="en-US" sz="1600" b="0" i="0">
                <a:solidFill>
                  <a:srgbClr val="000000"/>
                </a:solidFill>
                <a:effectLst/>
                <a:latin typeface="Helvetica Neue LT"/>
              </a:rPr>
              <a:t>Earning miles was never that easy! As a member of the Alaska Mileage Plan™ you can earn miles on every Condor and Alaska Airlines flight.</a:t>
            </a:r>
          </a:p>
          <a:p>
            <a:pPr algn="l"/>
            <a:r>
              <a:rPr lang="en-US" sz="1600" b="0" i="0">
                <a:solidFill>
                  <a:srgbClr val="000000"/>
                </a:solidFill>
                <a:effectLst/>
                <a:latin typeface="Helvetica Neue LT"/>
              </a:rPr>
              <a:t>Simply show your member card at check-in or provide your details during online check-in. The miles will be automatically credited to your account.</a:t>
            </a: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C0513C96-4F6E-6CAE-C78F-DDD3074E01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9170" y="1261061"/>
            <a:ext cx="3333750" cy="3333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32091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>
            <a:extLst>
              <a:ext uri="{FF2B5EF4-FFF2-40B4-BE49-F238E27FC236}">
                <a16:creationId xmlns:a16="http://schemas.microsoft.com/office/drawing/2014/main" id="{1B895E9D-44CC-77B5-2FB7-ECA287F9C0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641" b="9075"/>
          <a:stretch/>
        </p:blipFill>
        <p:spPr bwMode="gray">
          <a:xfrm flipH="1">
            <a:off x="-1" y="0"/>
            <a:ext cx="9144000" cy="51435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13D5C03-96F3-2C88-F0C4-E261826E7446}"/>
              </a:ext>
            </a:extLst>
          </p:cNvPr>
          <p:cNvSpPr/>
          <p:nvPr/>
        </p:nvSpPr>
        <p:spPr bwMode="gray">
          <a:xfrm>
            <a:off x="-1" y="0"/>
            <a:ext cx="5364481" cy="5143500"/>
          </a:xfrm>
          <a:prstGeom prst="rect">
            <a:avLst/>
          </a:prstGeom>
          <a:gradFill>
            <a:gsLst>
              <a:gs pos="70656">
                <a:schemeClr val="bg1">
                  <a:alpha val="60000"/>
                </a:schemeClr>
              </a:gs>
              <a:gs pos="100000">
                <a:schemeClr val="bg1">
                  <a:alpha val="0"/>
                </a:schemeClr>
              </a:gs>
              <a:gs pos="44000">
                <a:schemeClr val="bg1">
                  <a:alpha val="77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C2A91C7-95B5-0580-E4FD-2683C0BED3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Condor Sales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28652C-F227-3829-784E-C58CA6B1DA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Page </a:t>
            </a:r>
            <a:fld id="{C1238E5F-BF35-42A5-A94E-68B816B46E96}" type="slidenum">
              <a:rPr lang="en-US" smtClean="0">
                <a:solidFill>
                  <a:schemeClr val="bg1"/>
                </a:solidFill>
              </a:rPr>
              <a:pPr/>
              <a:t>23</a:t>
            </a:fld>
            <a:endParaRPr lang="en-US">
              <a:solidFill>
                <a:schemeClr val="bg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DDB10E6-5E2E-4945-0DCD-843FABE7B01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7343774" y="286141"/>
            <a:ext cx="1297421" cy="219146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5BE19846-5BC9-DD66-2683-9BDFCE5571E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0" y="4144960"/>
            <a:ext cx="324000" cy="742950"/>
            <a:chOff x="0" y="4144960"/>
            <a:chExt cx="324000" cy="742950"/>
          </a:xfrm>
          <a:solidFill>
            <a:schemeClr val="bg2"/>
          </a:solidFill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675FF0F1-171B-0439-C116-8107CCB5A551}"/>
                </a:ext>
              </a:extLst>
            </p:cNvPr>
            <p:cNvSpPr/>
            <p:nvPr/>
          </p:nvSpPr>
          <p:spPr bwMode="gray">
            <a:xfrm>
              <a:off x="0" y="4144960"/>
              <a:ext cx="323528" cy="7429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DF4BD677-ADC2-12A8-8DEE-36C840BE40B3}"/>
                </a:ext>
              </a:extLst>
            </p:cNvPr>
            <p:cNvGrpSpPr/>
            <p:nvPr/>
          </p:nvGrpSpPr>
          <p:grpSpPr bwMode="gray">
            <a:xfrm>
              <a:off x="0" y="4144960"/>
              <a:ext cx="324000" cy="742950"/>
              <a:chOff x="0" y="4154488"/>
              <a:chExt cx="324000" cy="742950"/>
            </a:xfrm>
            <a:grpFill/>
          </p:grpSpPr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D2273608-97A9-AF5F-D4F6-F7BB3C1324B2}"/>
                  </a:ext>
                </a:extLst>
              </p:cNvPr>
              <p:cNvSpPr/>
              <p:nvPr userDrawn="1"/>
            </p:nvSpPr>
            <p:spPr bwMode="gray">
              <a:xfrm>
                <a:off x="0" y="41544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CD0BFE7E-DD3C-08A4-55F6-1BB75340A330}"/>
                  </a:ext>
                </a:extLst>
              </p:cNvPr>
              <p:cNvSpPr/>
              <p:nvPr userDrawn="1"/>
            </p:nvSpPr>
            <p:spPr bwMode="gray">
              <a:xfrm>
                <a:off x="0" y="43195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7B1A4E4E-9AD2-DD99-619F-BC17FB334906}"/>
                  </a:ext>
                </a:extLst>
              </p:cNvPr>
              <p:cNvSpPr/>
              <p:nvPr userDrawn="1"/>
            </p:nvSpPr>
            <p:spPr bwMode="gray">
              <a:xfrm>
                <a:off x="0" y="44846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3509C053-D877-410A-2827-9A29E6B71DAE}"/>
                  </a:ext>
                </a:extLst>
              </p:cNvPr>
              <p:cNvSpPr/>
              <p:nvPr userDrawn="1"/>
            </p:nvSpPr>
            <p:spPr bwMode="gray">
              <a:xfrm>
                <a:off x="0" y="46497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Rechteck 34">
                <a:extLst>
                  <a:ext uri="{FF2B5EF4-FFF2-40B4-BE49-F238E27FC236}">
                    <a16:creationId xmlns:a16="http://schemas.microsoft.com/office/drawing/2014/main" id="{2A79BF31-96E0-3DB7-B6AF-DD8BDA8FAAC8}"/>
                  </a:ext>
                </a:extLst>
              </p:cNvPr>
              <p:cNvSpPr/>
              <p:nvPr userDrawn="1"/>
            </p:nvSpPr>
            <p:spPr bwMode="gray">
              <a:xfrm>
                <a:off x="0" y="48148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0" name="Platshållare för text 3">
            <a:extLst>
              <a:ext uri="{FF2B5EF4-FFF2-40B4-BE49-F238E27FC236}">
                <a16:creationId xmlns:a16="http://schemas.microsoft.com/office/drawing/2014/main" id="{6839455F-4EA7-3922-2DAE-00F886628A62}"/>
              </a:ext>
            </a:extLst>
          </p:cNvPr>
          <p:cNvSpPr txBox="1">
            <a:spLocks/>
          </p:cNvSpPr>
          <p:nvPr/>
        </p:nvSpPr>
        <p:spPr bwMode="gray">
          <a:xfrm>
            <a:off x="503236" y="538841"/>
            <a:ext cx="3678239" cy="1181862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Lucida Grande"/>
              <a:buChar char="›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Lucida Grande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80000"/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80000"/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ts val="0"/>
              </a:spcBef>
              <a:buNone/>
              <a:tabLst>
                <a:tab pos="1780114" algn="l"/>
              </a:tabLst>
            </a:pPr>
            <a:r>
              <a:rPr lang="en-US" sz="2400">
                <a:cs typeface="Arial" panose="020B0604020202020204" pitchFamily="34" charset="0"/>
              </a:rPr>
              <a:t>Affordable and Direct: </a:t>
            </a:r>
            <a:br>
              <a:rPr lang="en-US" sz="2400">
                <a:cs typeface="Arial" panose="020B0604020202020204" pitchFamily="34" charset="0"/>
              </a:rPr>
            </a:br>
            <a:r>
              <a:rPr lang="en-US" sz="2400">
                <a:cs typeface="Arial" panose="020B0604020202020204" pitchFamily="34" charset="0"/>
              </a:rPr>
              <a:t>Get to the Airport</a:t>
            </a:r>
            <a:br>
              <a:rPr lang="en-US" sz="2400">
                <a:cs typeface="Arial" panose="020B0604020202020204" pitchFamily="34" charset="0"/>
              </a:rPr>
            </a:br>
            <a:r>
              <a:rPr lang="en-US" sz="2400" b="1">
                <a:cs typeface="Arial" panose="020B0604020202020204" pitchFamily="34" charset="0"/>
              </a:rPr>
              <a:t>with Deutsche Bahn </a:t>
            </a:r>
            <a:br>
              <a:rPr lang="en-US" sz="2400" b="1">
                <a:cs typeface="Arial" panose="020B0604020202020204" pitchFamily="34" charset="0"/>
              </a:rPr>
            </a:br>
            <a:r>
              <a:rPr lang="en-US" sz="2400" b="1">
                <a:cs typeface="Arial" panose="020B0604020202020204" pitchFamily="34" charset="0"/>
              </a:rPr>
              <a:t>Rail&amp;Fly </a:t>
            </a:r>
            <a:endParaRPr lang="en-US" sz="2400">
              <a:cs typeface="Arial" panose="020B0604020202020204" pitchFamily="34" charset="0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19EBF1B-B146-B6FB-EE9A-93BA644FA2CB}"/>
              </a:ext>
            </a:extLst>
          </p:cNvPr>
          <p:cNvSpPr txBox="1"/>
          <p:nvPr/>
        </p:nvSpPr>
        <p:spPr bwMode="gray">
          <a:xfrm>
            <a:off x="1214713" y="2305329"/>
            <a:ext cx="288852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Bookable up to </a:t>
            </a:r>
            <a:r>
              <a:rPr lang="en-US" sz="1200" b="1"/>
              <a:t>3 hrs. before </a:t>
            </a:r>
            <a:br>
              <a:rPr lang="en-US" sz="1200" b="1"/>
            </a:br>
            <a:r>
              <a:rPr lang="en-US" sz="1200" b="1"/>
              <a:t>departure.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89852F81-4D04-8479-18E1-099D669FCD40}"/>
              </a:ext>
            </a:extLst>
          </p:cNvPr>
          <p:cNvSpPr txBox="1"/>
          <p:nvPr/>
        </p:nvSpPr>
        <p:spPr bwMode="gray">
          <a:xfrm>
            <a:off x="1193554" y="2987496"/>
            <a:ext cx="288852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Available for </a:t>
            </a:r>
            <a:r>
              <a:rPr lang="en-US" sz="1200" b="1"/>
              <a:t>short, medium</a:t>
            </a:r>
            <a:br>
              <a:rPr lang="en-US" sz="1200" b="1"/>
            </a:br>
            <a:r>
              <a:rPr lang="en-US" sz="1200" b="1"/>
              <a:t>and long-haul flights.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F21011B6-DA22-C997-04E3-D65ED3C9FA8E}"/>
              </a:ext>
            </a:extLst>
          </p:cNvPr>
          <p:cNvSpPr txBox="1"/>
          <p:nvPr/>
        </p:nvSpPr>
        <p:spPr bwMode="gray">
          <a:xfrm>
            <a:off x="1214714" y="3662754"/>
            <a:ext cx="21228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Entitles the holder to travel by train on the </a:t>
            </a:r>
            <a:r>
              <a:rPr lang="en-US" sz="1200" b="1"/>
              <a:t>day of validity (departure date) +/- 1 day. </a:t>
            </a:r>
          </a:p>
        </p:txBody>
      </p: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F27021D9-9F1C-4F7A-0DAA-71CD03423CA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03238" y="2136518"/>
            <a:ext cx="522288" cy="522288"/>
            <a:chOff x="503238" y="1695450"/>
            <a:chExt cx="522288" cy="522288"/>
          </a:xfrm>
        </p:grpSpPr>
        <p:sp>
          <p:nvSpPr>
            <p:cNvPr id="125" name="Ellipse 124">
              <a:extLst>
                <a:ext uri="{FF2B5EF4-FFF2-40B4-BE49-F238E27FC236}">
                  <a16:creationId xmlns:a16="http://schemas.microsoft.com/office/drawing/2014/main" id="{BE2747C9-58D8-D2A6-EA2B-8F58A13A4616}"/>
                </a:ext>
              </a:extLst>
            </p:cNvPr>
            <p:cNvSpPr/>
            <p:nvPr/>
          </p:nvSpPr>
          <p:spPr bwMode="gray">
            <a:xfrm>
              <a:off x="503238" y="1695450"/>
              <a:ext cx="522288" cy="5222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grpSp>
          <p:nvGrpSpPr>
            <p:cNvPr id="126" name="Gruppieren 125">
              <a:extLst>
                <a:ext uri="{FF2B5EF4-FFF2-40B4-BE49-F238E27FC236}">
                  <a16:creationId xmlns:a16="http://schemas.microsoft.com/office/drawing/2014/main" id="{FDC9411B-05B4-D82D-0ACE-DF322B750BD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30382" y="1722594"/>
              <a:ext cx="468000" cy="468000"/>
              <a:chOff x="3619500" y="1619250"/>
              <a:chExt cx="1905000" cy="1905000"/>
            </a:xfrm>
          </p:grpSpPr>
          <p:sp>
            <p:nvSpPr>
              <p:cNvPr id="127" name="Freihandform: Form 126">
                <a:extLst>
                  <a:ext uri="{FF2B5EF4-FFF2-40B4-BE49-F238E27FC236}">
                    <a16:creationId xmlns:a16="http://schemas.microsoft.com/office/drawing/2014/main" id="{AF3FBA00-90D5-3496-61D3-ABEAA99DD2ED}"/>
                  </a:ext>
                </a:extLst>
              </p:cNvPr>
              <p:cNvSpPr/>
              <p:nvPr/>
            </p:nvSpPr>
            <p:spPr bwMode="gray">
              <a:xfrm>
                <a:off x="3619500" y="1619250"/>
                <a:ext cx="1905000" cy="1905000"/>
              </a:xfrm>
              <a:custGeom>
                <a:avLst/>
                <a:gdLst>
                  <a:gd name="connsiteX0" fmla="*/ 0 w 1905000"/>
                  <a:gd name="connsiteY0" fmla="*/ 0 h 1905000"/>
                  <a:gd name="connsiteX1" fmla="*/ 1905000 w 1905000"/>
                  <a:gd name="connsiteY1" fmla="*/ 0 h 1905000"/>
                  <a:gd name="connsiteX2" fmla="*/ 1905000 w 1905000"/>
                  <a:gd name="connsiteY2" fmla="*/ 1905000 h 1905000"/>
                  <a:gd name="connsiteX3" fmla="*/ 0 w 1905000"/>
                  <a:gd name="connsiteY3" fmla="*/ 1905000 h 190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00" h="1905000">
                    <a:moveTo>
                      <a:pt x="0" y="0"/>
                    </a:moveTo>
                    <a:lnTo>
                      <a:pt x="1905000" y="0"/>
                    </a:lnTo>
                    <a:lnTo>
                      <a:pt x="1905000" y="1905000"/>
                    </a:lnTo>
                    <a:lnTo>
                      <a:pt x="0" y="1905000"/>
                    </a:ln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" name="Freihandform: Form 127">
                <a:extLst>
                  <a:ext uri="{FF2B5EF4-FFF2-40B4-BE49-F238E27FC236}">
                    <a16:creationId xmlns:a16="http://schemas.microsoft.com/office/drawing/2014/main" id="{B8294945-63CD-6268-A40B-0E1AE1C51EA9}"/>
                  </a:ext>
                </a:extLst>
              </p:cNvPr>
              <p:cNvSpPr/>
              <p:nvPr/>
            </p:nvSpPr>
            <p:spPr bwMode="gray">
              <a:xfrm>
                <a:off x="4075366" y="2991992"/>
                <a:ext cx="147351" cy="142112"/>
              </a:xfrm>
              <a:custGeom>
                <a:avLst/>
                <a:gdLst>
                  <a:gd name="connsiteX0" fmla="*/ 147352 w 147351"/>
                  <a:gd name="connsiteY0" fmla="*/ 0 h 142112"/>
                  <a:gd name="connsiteX1" fmla="*/ 98012 w 147351"/>
                  <a:gd name="connsiteY1" fmla="*/ 142113 h 142112"/>
                  <a:gd name="connsiteX2" fmla="*/ 0 w 147351"/>
                  <a:gd name="connsiteY2" fmla="*/ 57721 h 142112"/>
                  <a:gd name="connsiteX3" fmla="*/ 29813 w 147351"/>
                  <a:gd name="connsiteY3" fmla="*/ 0 h 142112"/>
                  <a:gd name="connsiteX4" fmla="*/ 147352 w 147351"/>
                  <a:gd name="connsiteY4" fmla="*/ 0 h 142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351" h="142112">
                    <a:moveTo>
                      <a:pt x="147352" y="0"/>
                    </a:moveTo>
                    <a:lnTo>
                      <a:pt x="98012" y="142113"/>
                    </a:lnTo>
                    <a:cubicBezTo>
                      <a:pt x="62674" y="117062"/>
                      <a:pt x="29908" y="88773"/>
                      <a:pt x="0" y="57721"/>
                    </a:cubicBezTo>
                    <a:lnTo>
                      <a:pt x="29813" y="0"/>
                    </a:lnTo>
                    <a:lnTo>
                      <a:pt x="14735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" name="Freihandform: Form 128">
                <a:extLst>
                  <a:ext uri="{FF2B5EF4-FFF2-40B4-BE49-F238E27FC236}">
                    <a16:creationId xmlns:a16="http://schemas.microsoft.com/office/drawing/2014/main" id="{ADC1AC56-1FBD-E6C8-1654-94F48E0F6314}"/>
                  </a:ext>
                </a:extLst>
              </p:cNvPr>
              <p:cNvSpPr/>
              <p:nvPr/>
            </p:nvSpPr>
            <p:spPr bwMode="gray">
              <a:xfrm>
                <a:off x="3974877" y="2589561"/>
                <a:ext cx="699515" cy="598931"/>
              </a:xfrm>
              <a:custGeom>
                <a:avLst/>
                <a:gdLst>
                  <a:gd name="connsiteX0" fmla="*/ 699516 w 699515"/>
                  <a:gd name="connsiteY0" fmla="*/ 325660 h 598931"/>
                  <a:gd name="connsiteX1" fmla="*/ 657320 w 699515"/>
                  <a:gd name="connsiteY1" fmla="*/ 364045 h 598931"/>
                  <a:gd name="connsiteX2" fmla="*/ 649033 w 699515"/>
                  <a:gd name="connsiteY2" fmla="*/ 364427 h 598931"/>
                  <a:gd name="connsiteX3" fmla="*/ 428720 w 699515"/>
                  <a:gd name="connsiteY3" fmla="*/ 364427 h 598931"/>
                  <a:gd name="connsiteX4" fmla="*/ 406432 w 699515"/>
                  <a:gd name="connsiteY4" fmla="*/ 401860 h 598931"/>
                  <a:gd name="connsiteX5" fmla="*/ 368332 w 699515"/>
                  <a:gd name="connsiteY5" fmla="*/ 465868 h 598931"/>
                  <a:gd name="connsiteX6" fmla="*/ 322802 w 699515"/>
                  <a:gd name="connsiteY6" fmla="*/ 542353 h 598931"/>
                  <a:gd name="connsiteX7" fmla="*/ 289179 w 699515"/>
                  <a:gd name="connsiteY7" fmla="*/ 598932 h 598931"/>
                  <a:gd name="connsiteX8" fmla="*/ 284702 w 699515"/>
                  <a:gd name="connsiteY8" fmla="*/ 596646 h 598931"/>
                  <a:gd name="connsiteX9" fmla="*/ 239268 w 699515"/>
                  <a:gd name="connsiteY9" fmla="*/ 571405 h 598931"/>
                  <a:gd name="connsiteX10" fmla="*/ 231172 w 699515"/>
                  <a:gd name="connsiteY10" fmla="*/ 566357 h 598931"/>
                  <a:gd name="connsiteX11" fmla="*/ 239077 w 699515"/>
                  <a:gd name="connsiteY11" fmla="*/ 543782 h 598931"/>
                  <a:gd name="connsiteX12" fmla="*/ 284702 w 699515"/>
                  <a:gd name="connsiteY12" fmla="*/ 412337 h 598931"/>
                  <a:gd name="connsiteX13" fmla="*/ 301371 w 699515"/>
                  <a:gd name="connsiteY13" fmla="*/ 364331 h 598931"/>
                  <a:gd name="connsiteX14" fmla="*/ 107061 w 699515"/>
                  <a:gd name="connsiteY14" fmla="*/ 364331 h 598931"/>
                  <a:gd name="connsiteX15" fmla="*/ 73152 w 699515"/>
                  <a:gd name="connsiteY15" fmla="*/ 430054 h 598931"/>
                  <a:gd name="connsiteX16" fmla="*/ 72009 w 699515"/>
                  <a:gd name="connsiteY16" fmla="*/ 428625 h 598931"/>
                  <a:gd name="connsiteX17" fmla="*/ 33909 w 699515"/>
                  <a:gd name="connsiteY17" fmla="*/ 379666 h 598931"/>
                  <a:gd name="connsiteX18" fmla="*/ 31242 w 699515"/>
                  <a:gd name="connsiteY18" fmla="*/ 375857 h 598931"/>
                  <a:gd name="connsiteX19" fmla="*/ 33909 w 699515"/>
                  <a:gd name="connsiteY19" fmla="*/ 370046 h 598931"/>
                  <a:gd name="connsiteX20" fmla="*/ 53816 w 699515"/>
                  <a:gd name="connsiteY20" fmla="*/ 325850 h 598931"/>
                  <a:gd name="connsiteX21" fmla="*/ 33909 w 699515"/>
                  <a:gd name="connsiteY21" fmla="*/ 281464 h 598931"/>
                  <a:gd name="connsiteX22" fmla="*/ 0 w 699515"/>
                  <a:gd name="connsiteY22" fmla="*/ 205930 h 598931"/>
                  <a:gd name="connsiteX23" fmla="*/ 33909 w 699515"/>
                  <a:gd name="connsiteY23" fmla="*/ 205930 h 598931"/>
                  <a:gd name="connsiteX24" fmla="*/ 65437 w 699515"/>
                  <a:gd name="connsiteY24" fmla="*/ 206121 h 598931"/>
                  <a:gd name="connsiteX25" fmla="*/ 72009 w 699515"/>
                  <a:gd name="connsiteY25" fmla="*/ 218884 h 598931"/>
                  <a:gd name="connsiteX26" fmla="*/ 107061 w 699515"/>
                  <a:gd name="connsiteY26" fmla="*/ 286893 h 598931"/>
                  <a:gd name="connsiteX27" fmla="*/ 301371 w 699515"/>
                  <a:gd name="connsiteY27" fmla="*/ 286893 h 598931"/>
                  <a:gd name="connsiteX28" fmla="*/ 284702 w 699515"/>
                  <a:gd name="connsiteY28" fmla="*/ 238887 h 598931"/>
                  <a:gd name="connsiteX29" fmla="*/ 239268 w 699515"/>
                  <a:gd name="connsiteY29" fmla="*/ 108109 h 598931"/>
                  <a:gd name="connsiteX30" fmla="*/ 201740 w 699515"/>
                  <a:gd name="connsiteY30" fmla="*/ 0 h 598931"/>
                  <a:gd name="connsiteX31" fmla="*/ 257937 w 699515"/>
                  <a:gd name="connsiteY31" fmla="*/ 0 h 598931"/>
                  <a:gd name="connsiteX32" fmla="*/ 284702 w 699515"/>
                  <a:gd name="connsiteY32" fmla="*/ 44958 h 598931"/>
                  <a:gd name="connsiteX33" fmla="*/ 322802 w 699515"/>
                  <a:gd name="connsiteY33" fmla="*/ 108966 h 598931"/>
                  <a:gd name="connsiteX34" fmla="*/ 368332 w 699515"/>
                  <a:gd name="connsiteY34" fmla="*/ 185547 h 598931"/>
                  <a:gd name="connsiteX35" fmla="*/ 406432 w 699515"/>
                  <a:gd name="connsiteY35" fmla="*/ 249555 h 598931"/>
                  <a:gd name="connsiteX36" fmla="*/ 428720 w 699515"/>
                  <a:gd name="connsiteY36" fmla="*/ 286988 h 598931"/>
                  <a:gd name="connsiteX37" fmla="*/ 649033 w 699515"/>
                  <a:gd name="connsiteY37" fmla="*/ 286988 h 598931"/>
                  <a:gd name="connsiteX38" fmla="*/ 657320 w 699515"/>
                  <a:gd name="connsiteY38" fmla="*/ 287369 h 598931"/>
                  <a:gd name="connsiteX39" fmla="*/ 699516 w 699515"/>
                  <a:gd name="connsiteY39" fmla="*/ 325660 h 598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699515" h="598931">
                    <a:moveTo>
                      <a:pt x="699516" y="325660"/>
                    </a:moveTo>
                    <a:cubicBezTo>
                      <a:pt x="699516" y="350996"/>
                      <a:pt x="679037" y="361950"/>
                      <a:pt x="657320" y="364045"/>
                    </a:cubicBezTo>
                    <a:cubicBezTo>
                      <a:pt x="654558" y="364331"/>
                      <a:pt x="651796" y="364427"/>
                      <a:pt x="649033" y="364427"/>
                    </a:cubicBezTo>
                    <a:lnTo>
                      <a:pt x="428720" y="364427"/>
                    </a:lnTo>
                    <a:lnTo>
                      <a:pt x="406432" y="401860"/>
                    </a:lnTo>
                    <a:lnTo>
                      <a:pt x="368332" y="465868"/>
                    </a:lnTo>
                    <a:lnTo>
                      <a:pt x="322802" y="542353"/>
                    </a:lnTo>
                    <a:lnTo>
                      <a:pt x="289179" y="598932"/>
                    </a:lnTo>
                    <a:cubicBezTo>
                      <a:pt x="287655" y="598265"/>
                      <a:pt x="286226" y="597503"/>
                      <a:pt x="284702" y="596646"/>
                    </a:cubicBezTo>
                    <a:cubicBezTo>
                      <a:pt x="269272" y="588836"/>
                      <a:pt x="254127" y="580358"/>
                      <a:pt x="239268" y="571405"/>
                    </a:cubicBezTo>
                    <a:cubicBezTo>
                      <a:pt x="236601" y="569786"/>
                      <a:pt x="233839" y="568071"/>
                      <a:pt x="231172" y="566357"/>
                    </a:cubicBezTo>
                    <a:lnTo>
                      <a:pt x="239077" y="543782"/>
                    </a:lnTo>
                    <a:lnTo>
                      <a:pt x="284702" y="412337"/>
                    </a:lnTo>
                    <a:lnTo>
                      <a:pt x="301371" y="364331"/>
                    </a:lnTo>
                    <a:lnTo>
                      <a:pt x="107061" y="364331"/>
                    </a:lnTo>
                    <a:lnTo>
                      <a:pt x="73152" y="430054"/>
                    </a:lnTo>
                    <a:lnTo>
                      <a:pt x="72009" y="428625"/>
                    </a:lnTo>
                    <a:cubicBezTo>
                      <a:pt x="58593" y="412871"/>
                      <a:pt x="45881" y="396535"/>
                      <a:pt x="33909" y="379666"/>
                    </a:cubicBezTo>
                    <a:lnTo>
                      <a:pt x="31242" y="375857"/>
                    </a:lnTo>
                    <a:lnTo>
                      <a:pt x="33909" y="370046"/>
                    </a:lnTo>
                    <a:lnTo>
                      <a:pt x="53816" y="325850"/>
                    </a:lnTo>
                    <a:lnTo>
                      <a:pt x="33909" y="281464"/>
                    </a:lnTo>
                    <a:lnTo>
                      <a:pt x="0" y="205930"/>
                    </a:lnTo>
                    <a:lnTo>
                      <a:pt x="33909" y="205930"/>
                    </a:lnTo>
                    <a:lnTo>
                      <a:pt x="65437" y="206121"/>
                    </a:lnTo>
                    <a:lnTo>
                      <a:pt x="72009" y="218884"/>
                    </a:lnTo>
                    <a:lnTo>
                      <a:pt x="107061" y="286893"/>
                    </a:lnTo>
                    <a:lnTo>
                      <a:pt x="301371" y="286893"/>
                    </a:lnTo>
                    <a:lnTo>
                      <a:pt x="284702" y="238887"/>
                    </a:lnTo>
                    <a:lnTo>
                      <a:pt x="239268" y="108109"/>
                    </a:lnTo>
                    <a:lnTo>
                      <a:pt x="201740" y="0"/>
                    </a:lnTo>
                    <a:lnTo>
                      <a:pt x="257937" y="0"/>
                    </a:lnTo>
                    <a:lnTo>
                      <a:pt x="284702" y="44958"/>
                    </a:lnTo>
                    <a:lnTo>
                      <a:pt x="322802" y="108966"/>
                    </a:lnTo>
                    <a:lnTo>
                      <a:pt x="368332" y="185547"/>
                    </a:lnTo>
                    <a:lnTo>
                      <a:pt x="406432" y="249555"/>
                    </a:lnTo>
                    <a:lnTo>
                      <a:pt x="428720" y="286988"/>
                    </a:lnTo>
                    <a:lnTo>
                      <a:pt x="649033" y="286988"/>
                    </a:lnTo>
                    <a:cubicBezTo>
                      <a:pt x="651796" y="286988"/>
                      <a:pt x="654558" y="286988"/>
                      <a:pt x="657320" y="287369"/>
                    </a:cubicBezTo>
                    <a:cubicBezTo>
                      <a:pt x="679037" y="289465"/>
                      <a:pt x="699516" y="300419"/>
                      <a:pt x="699516" y="3256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" name="Freihandform: Form 130">
                <a:extLst>
                  <a:ext uri="{FF2B5EF4-FFF2-40B4-BE49-F238E27FC236}">
                    <a16:creationId xmlns:a16="http://schemas.microsoft.com/office/drawing/2014/main" id="{FFFBE5D6-E112-A445-C239-E4A0271A978A}"/>
                  </a:ext>
                </a:extLst>
              </p:cNvPr>
              <p:cNvSpPr/>
              <p:nvPr/>
            </p:nvSpPr>
            <p:spPr bwMode="gray">
              <a:xfrm>
                <a:off x="3882675" y="1882425"/>
                <a:ext cx="1378553" cy="1378553"/>
              </a:xfrm>
              <a:custGeom>
                <a:avLst/>
                <a:gdLst>
                  <a:gd name="connsiteX0" fmla="*/ 1378553 w 1378553"/>
                  <a:gd name="connsiteY0" fmla="*/ 689324 h 1378553"/>
                  <a:gd name="connsiteX1" fmla="*/ 689324 w 1378553"/>
                  <a:gd name="connsiteY1" fmla="*/ 1378553 h 1378553"/>
                  <a:gd name="connsiteX2" fmla="*/ 670179 w 1378553"/>
                  <a:gd name="connsiteY2" fmla="*/ 1378268 h 1378553"/>
                  <a:gd name="connsiteX3" fmla="*/ 416052 w 1378553"/>
                  <a:gd name="connsiteY3" fmla="*/ 1322165 h 1378553"/>
                  <a:gd name="connsiteX4" fmla="*/ 498062 w 1378553"/>
                  <a:gd name="connsiteY4" fmla="*/ 1184339 h 1378553"/>
                  <a:gd name="connsiteX5" fmla="*/ 498634 w 1378553"/>
                  <a:gd name="connsiteY5" fmla="*/ 1183481 h 1378553"/>
                  <a:gd name="connsiteX6" fmla="*/ 542544 w 1378553"/>
                  <a:gd name="connsiteY6" fmla="*/ 1109663 h 1378553"/>
                  <a:gd name="connsiteX7" fmla="*/ 741236 w 1378553"/>
                  <a:gd name="connsiteY7" fmla="*/ 1109663 h 1378553"/>
                  <a:gd name="connsiteX8" fmla="*/ 829818 w 1378553"/>
                  <a:gd name="connsiteY8" fmla="*/ 1032796 h 1378553"/>
                  <a:gd name="connsiteX9" fmla="*/ 741236 w 1378553"/>
                  <a:gd name="connsiteY9" fmla="*/ 956024 h 1378553"/>
                  <a:gd name="connsiteX10" fmla="*/ 542544 w 1378553"/>
                  <a:gd name="connsiteY10" fmla="*/ 956024 h 1378553"/>
                  <a:gd name="connsiteX11" fmla="*/ 371856 w 1378553"/>
                  <a:gd name="connsiteY11" fmla="*/ 669036 h 1378553"/>
                  <a:gd name="connsiteX12" fmla="*/ 240411 w 1378553"/>
                  <a:gd name="connsiteY12" fmla="*/ 669036 h 1378553"/>
                  <a:gd name="connsiteX13" fmla="*/ 293370 w 1378553"/>
                  <a:gd name="connsiteY13" fmla="*/ 821531 h 1378553"/>
                  <a:gd name="connsiteX14" fmla="*/ 293370 w 1378553"/>
                  <a:gd name="connsiteY14" fmla="*/ 821817 h 1378553"/>
                  <a:gd name="connsiteX15" fmla="*/ 340043 w 1378553"/>
                  <a:gd name="connsiteY15" fmla="*/ 955929 h 1378553"/>
                  <a:gd name="connsiteX16" fmla="*/ 222504 w 1378553"/>
                  <a:gd name="connsiteY16" fmla="*/ 955929 h 1378553"/>
                  <a:gd name="connsiteX17" fmla="*/ 180880 w 1378553"/>
                  <a:gd name="connsiteY17" fmla="*/ 875252 h 1378553"/>
                  <a:gd name="connsiteX18" fmla="*/ 33147 w 1378553"/>
                  <a:gd name="connsiteY18" fmla="*/ 874776 h 1378553"/>
                  <a:gd name="connsiteX19" fmla="*/ 104299 w 1378553"/>
                  <a:gd name="connsiteY19" fmla="*/ 1032986 h 1378553"/>
                  <a:gd name="connsiteX20" fmla="*/ 98869 w 1378553"/>
                  <a:gd name="connsiteY20" fmla="*/ 1045083 h 1378553"/>
                  <a:gd name="connsiteX21" fmla="*/ 191 w 1378553"/>
                  <a:gd name="connsiteY21" fmla="*/ 708374 h 1378553"/>
                  <a:gd name="connsiteX22" fmla="*/ 0 w 1378553"/>
                  <a:gd name="connsiteY22" fmla="*/ 689324 h 1378553"/>
                  <a:gd name="connsiteX23" fmla="*/ 689324 w 1378553"/>
                  <a:gd name="connsiteY23" fmla="*/ 0 h 1378553"/>
                  <a:gd name="connsiteX24" fmla="*/ 1378553 w 1378553"/>
                  <a:gd name="connsiteY24" fmla="*/ 689324 h 1378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378553" h="1378553">
                    <a:moveTo>
                      <a:pt x="1378553" y="689324"/>
                    </a:moveTo>
                    <a:cubicBezTo>
                      <a:pt x="1378553" y="1069943"/>
                      <a:pt x="1069943" y="1378553"/>
                      <a:pt x="689324" y="1378553"/>
                    </a:cubicBezTo>
                    <a:cubicBezTo>
                      <a:pt x="682943" y="1378553"/>
                      <a:pt x="676561" y="1378553"/>
                      <a:pt x="670179" y="1378268"/>
                    </a:cubicBezTo>
                    <a:cubicBezTo>
                      <a:pt x="580073" y="1375791"/>
                      <a:pt x="494348" y="1356074"/>
                      <a:pt x="416052" y="1322165"/>
                    </a:cubicBezTo>
                    <a:lnTo>
                      <a:pt x="498062" y="1184339"/>
                    </a:lnTo>
                    <a:lnTo>
                      <a:pt x="498634" y="1183481"/>
                    </a:lnTo>
                    <a:lnTo>
                      <a:pt x="542544" y="1109663"/>
                    </a:lnTo>
                    <a:lnTo>
                      <a:pt x="741236" y="1109663"/>
                    </a:lnTo>
                    <a:cubicBezTo>
                      <a:pt x="793433" y="1109663"/>
                      <a:pt x="829818" y="1078040"/>
                      <a:pt x="829818" y="1032796"/>
                    </a:cubicBezTo>
                    <a:cubicBezTo>
                      <a:pt x="829818" y="987552"/>
                      <a:pt x="793433" y="956024"/>
                      <a:pt x="741236" y="956024"/>
                    </a:cubicBezTo>
                    <a:lnTo>
                      <a:pt x="542544" y="956024"/>
                    </a:lnTo>
                    <a:lnTo>
                      <a:pt x="371856" y="669036"/>
                    </a:lnTo>
                    <a:lnTo>
                      <a:pt x="240411" y="669036"/>
                    </a:lnTo>
                    <a:lnTo>
                      <a:pt x="293370" y="821531"/>
                    </a:lnTo>
                    <a:lnTo>
                      <a:pt x="293370" y="821817"/>
                    </a:lnTo>
                    <a:lnTo>
                      <a:pt x="340043" y="955929"/>
                    </a:lnTo>
                    <a:lnTo>
                      <a:pt x="222504" y="955929"/>
                    </a:lnTo>
                    <a:lnTo>
                      <a:pt x="180880" y="875252"/>
                    </a:lnTo>
                    <a:lnTo>
                      <a:pt x="33147" y="874776"/>
                    </a:lnTo>
                    <a:lnTo>
                      <a:pt x="104299" y="1032986"/>
                    </a:lnTo>
                    <a:lnTo>
                      <a:pt x="98869" y="1045083"/>
                    </a:lnTo>
                    <a:cubicBezTo>
                      <a:pt x="39148" y="946309"/>
                      <a:pt x="3620" y="831342"/>
                      <a:pt x="191" y="708374"/>
                    </a:cubicBezTo>
                    <a:cubicBezTo>
                      <a:pt x="191" y="701993"/>
                      <a:pt x="0" y="695706"/>
                      <a:pt x="0" y="689324"/>
                    </a:cubicBezTo>
                    <a:cubicBezTo>
                      <a:pt x="0" y="308610"/>
                      <a:pt x="308610" y="0"/>
                      <a:pt x="689324" y="0"/>
                    </a:cubicBezTo>
                    <a:cubicBezTo>
                      <a:pt x="1070039" y="0"/>
                      <a:pt x="1378553" y="308610"/>
                      <a:pt x="1378553" y="68932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" name="Freihandform: Form 131">
                <a:extLst>
                  <a:ext uri="{FF2B5EF4-FFF2-40B4-BE49-F238E27FC236}">
                    <a16:creationId xmlns:a16="http://schemas.microsoft.com/office/drawing/2014/main" id="{DEFFF638-F85E-DCD7-3C3F-1422E96B181F}"/>
                  </a:ext>
                </a:extLst>
              </p:cNvPr>
              <p:cNvSpPr/>
              <p:nvPr/>
            </p:nvSpPr>
            <p:spPr bwMode="gray">
              <a:xfrm>
                <a:off x="3863720" y="1863375"/>
                <a:ext cx="1416653" cy="1416653"/>
              </a:xfrm>
              <a:custGeom>
                <a:avLst/>
                <a:gdLst>
                  <a:gd name="connsiteX0" fmla="*/ 708279 w 1416653"/>
                  <a:gd name="connsiteY0" fmla="*/ 1416653 h 1416653"/>
                  <a:gd name="connsiteX1" fmla="*/ 689229 w 1416653"/>
                  <a:gd name="connsiteY1" fmla="*/ 1416653 h 1416653"/>
                  <a:gd name="connsiteX2" fmla="*/ 689229 w 1416653"/>
                  <a:gd name="connsiteY2" fmla="*/ 1378553 h 1416653"/>
                  <a:gd name="connsiteX3" fmla="*/ 708279 w 1416653"/>
                  <a:gd name="connsiteY3" fmla="*/ 1378553 h 1416653"/>
                  <a:gd name="connsiteX4" fmla="*/ 1378553 w 1416653"/>
                  <a:gd name="connsiteY4" fmla="*/ 708374 h 1416653"/>
                  <a:gd name="connsiteX5" fmla="*/ 708279 w 1416653"/>
                  <a:gd name="connsiteY5" fmla="*/ 38100 h 1416653"/>
                  <a:gd name="connsiteX6" fmla="*/ 38100 w 1416653"/>
                  <a:gd name="connsiteY6" fmla="*/ 708374 h 1416653"/>
                  <a:gd name="connsiteX7" fmla="*/ 38100 w 1416653"/>
                  <a:gd name="connsiteY7" fmla="*/ 727424 h 1416653"/>
                  <a:gd name="connsiteX8" fmla="*/ 0 w 1416653"/>
                  <a:gd name="connsiteY8" fmla="*/ 727424 h 1416653"/>
                  <a:gd name="connsiteX9" fmla="*/ 0 w 1416653"/>
                  <a:gd name="connsiteY9" fmla="*/ 708374 h 1416653"/>
                  <a:gd name="connsiteX10" fmla="*/ 708279 w 1416653"/>
                  <a:gd name="connsiteY10" fmla="*/ 0 h 1416653"/>
                  <a:gd name="connsiteX11" fmla="*/ 1416653 w 1416653"/>
                  <a:gd name="connsiteY11" fmla="*/ 708374 h 1416653"/>
                  <a:gd name="connsiteX12" fmla="*/ 708279 w 1416653"/>
                  <a:gd name="connsiteY12" fmla="*/ 1416653 h 1416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16653" h="1416653">
                    <a:moveTo>
                      <a:pt x="708279" y="1416653"/>
                    </a:moveTo>
                    <a:lnTo>
                      <a:pt x="689229" y="1416653"/>
                    </a:lnTo>
                    <a:lnTo>
                      <a:pt x="689229" y="1378553"/>
                    </a:lnTo>
                    <a:lnTo>
                      <a:pt x="708279" y="1378553"/>
                    </a:lnTo>
                    <a:cubicBezTo>
                      <a:pt x="1077849" y="1378553"/>
                      <a:pt x="1378458" y="1077944"/>
                      <a:pt x="1378553" y="708374"/>
                    </a:cubicBezTo>
                    <a:cubicBezTo>
                      <a:pt x="1378553" y="338804"/>
                      <a:pt x="1077849" y="38100"/>
                      <a:pt x="708279" y="38100"/>
                    </a:cubicBezTo>
                    <a:cubicBezTo>
                      <a:pt x="338709" y="38100"/>
                      <a:pt x="38100" y="338804"/>
                      <a:pt x="38100" y="708374"/>
                    </a:cubicBezTo>
                    <a:lnTo>
                      <a:pt x="38100" y="727424"/>
                    </a:lnTo>
                    <a:lnTo>
                      <a:pt x="0" y="727424"/>
                    </a:lnTo>
                    <a:lnTo>
                      <a:pt x="0" y="708374"/>
                    </a:lnTo>
                    <a:cubicBezTo>
                      <a:pt x="0" y="317849"/>
                      <a:pt x="317754" y="95"/>
                      <a:pt x="708279" y="0"/>
                    </a:cubicBezTo>
                    <a:cubicBezTo>
                      <a:pt x="1098804" y="0"/>
                      <a:pt x="1416653" y="317754"/>
                      <a:pt x="1416653" y="708374"/>
                    </a:cubicBezTo>
                    <a:cubicBezTo>
                      <a:pt x="1416653" y="1098899"/>
                      <a:pt x="1098899" y="1416653"/>
                      <a:pt x="708279" y="1416653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" name="Freihandform: Form 132">
                <a:extLst>
                  <a:ext uri="{FF2B5EF4-FFF2-40B4-BE49-F238E27FC236}">
                    <a16:creationId xmlns:a16="http://schemas.microsoft.com/office/drawing/2014/main" id="{548E44E8-205C-1CF7-0275-DC5B51870F15}"/>
                  </a:ext>
                </a:extLst>
              </p:cNvPr>
              <p:cNvSpPr/>
              <p:nvPr/>
            </p:nvSpPr>
            <p:spPr bwMode="gray">
              <a:xfrm>
                <a:off x="3962114" y="1969484"/>
                <a:ext cx="1219676" cy="1204531"/>
              </a:xfrm>
              <a:custGeom>
                <a:avLst/>
                <a:gdLst>
                  <a:gd name="connsiteX0" fmla="*/ 609790 w 1219676"/>
                  <a:gd name="connsiteY0" fmla="*/ 643319 h 1204531"/>
                  <a:gd name="connsiteX1" fmla="*/ 595979 w 1219676"/>
                  <a:gd name="connsiteY1" fmla="*/ 637413 h 1204531"/>
                  <a:gd name="connsiteX2" fmla="*/ 361855 w 1219676"/>
                  <a:gd name="connsiteY2" fmla="*/ 392335 h 1204531"/>
                  <a:gd name="connsiteX3" fmla="*/ 389382 w 1219676"/>
                  <a:gd name="connsiteY3" fmla="*/ 366046 h 1204531"/>
                  <a:gd name="connsiteX4" fmla="*/ 609695 w 1219676"/>
                  <a:gd name="connsiteY4" fmla="*/ 596741 h 1204531"/>
                  <a:gd name="connsiteX5" fmla="*/ 951167 w 1219676"/>
                  <a:gd name="connsiteY5" fmla="*/ 239268 h 1204531"/>
                  <a:gd name="connsiteX6" fmla="*/ 978694 w 1219676"/>
                  <a:gd name="connsiteY6" fmla="*/ 265557 h 1204531"/>
                  <a:gd name="connsiteX7" fmla="*/ 623411 w 1219676"/>
                  <a:gd name="connsiteY7" fmla="*/ 637413 h 1204531"/>
                  <a:gd name="connsiteX8" fmla="*/ 609600 w 1219676"/>
                  <a:gd name="connsiteY8" fmla="*/ 643319 h 1204531"/>
                  <a:gd name="connsiteX9" fmla="*/ 590740 w 1219676"/>
                  <a:gd name="connsiteY9" fmla="*/ 1087184 h 1204531"/>
                  <a:gd name="connsiteX10" fmla="*/ 628840 w 1219676"/>
                  <a:gd name="connsiteY10" fmla="*/ 1087184 h 1204531"/>
                  <a:gd name="connsiteX11" fmla="*/ 628840 w 1219676"/>
                  <a:gd name="connsiteY11" fmla="*/ 1204532 h 1204531"/>
                  <a:gd name="connsiteX12" fmla="*/ 590740 w 1219676"/>
                  <a:gd name="connsiteY12" fmla="*/ 1204532 h 1204531"/>
                  <a:gd name="connsiteX13" fmla="*/ 0 w 1219676"/>
                  <a:gd name="connsiteY13" fmla="*/ 583216 h 1204531"/>
                  <a:gd name="connsiteX14" fmla="*/ 117348 w 1219676"/>
                  <a:gd name="connsiteY14" fmla="*/ 583216 h 1204531"/>
                  <a:gd name="connsiteX15" fmla="*/ 117348 w 1219676"/>
                  <a:gd name="connsiteY15" fmla="*/ 621316 h 1204531"/>
                  <a:gd name="connsiteX16" fmla="*/ 0 w 1219676"/>
                  <a:gd name="connsiteY16" fmla="*/ 621316 h 1204531"/>
                  <a:gd name="connsiteX17" fmla="*/ 590740 w 1219676"/>
                  <a:gd name="connsiteY17" fmla="*/ 0 h 1204531"/>
                  <a:gd name="connsiteX18" fmla="*/ 628840 w 1219676"/>
                  <a:gd name="connsiteY18" fmla="*/ 0 h 1204531"/>
                  <a:gd name="connsiteX19" fmla="*/ 628840 w 1219676"/>
                  <a:gd name="connsiteY19" fmla="*/ 117348 h 1204531"/>
                  <a:gd name="connsiteX20" fmla="*/ 590740 w 1219676"/>
                  <a:gd name="connsiteY20" fmla="*/ 117348 h 1204531"/>
                  <a:gd name="connsiteX21" fmla="*/ 1102328 w 1219676"/>
                  <a:gd name="connsiteY21" fmla="*/ 583216 h 1204531"/>
                  <a:gd name="connsiteX22" fmla="*/ 1219676 w 1219676"/>
                  <a:gd name="connsiteY22" fmla="*/ 583216 h 1204531"/>
                  <a:gd name="connsiteX23" fmla="*/ 1219676 w 1219676"/>
                  <a:gd name="connsiteY23" fmla="*/ 621316 h 1204531"/>
                  <a:gd name="connsiteX24" fmla="*/ 1102328 w 1219676"/>
                  <a:gd name="connsiteY24" fmla="*/ 621316 h 1204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219676" h="1204531">
                    <a:moveTo>
                      <a:pt x="609790" y="643319"/>
                    </a:moveTo>
                    <a:cubicBezTo>
                      <a:pt x="604552" y="643319"/>
                      <a:pt x="599599" y="641223"/>
                      <a:pt x="595979" y="637413"/>
                    </a:cubicBezTo>
                    <a:lnTo>
                      <a:pt x="361855" y="392335"/>
                    </a:lnTo>
                    <a:lnTo>
                      <a:pt x="389382" y="366046"/>
                    </a:lnTo>
                    <a:lnTo>
                      <a:pt x="609695" y="596741"/>
                    </a:lnTo>
                    <a:lnTo>
                      <a:pt x="951167" y="239268"/>
                    </a:lnTo>
                    <a:lnTo>
                      <a:pt x="978694" y="265557"/>
                    </a:lnTo>
                    <a:lnTo>
                      <a:pt x="623411" y="637413"/>
                    </a:lnTo>
                    <a:cubicBezTo>
                      <a:pt x="619792" y="641223"/>
                      <a:pt x="614839" y="643319"/>
                      <a:pt x="609600" y="643319"/>
                    </a:cubicBezTo>
                    <a:close/>
                    <a:moveTo>
                      <a:pt x="590740" y="1087184"/>
                    </a:moveTo>
                    <a:lnTo>
                      <a:pt x="628840" y="1087184"/>
                    </a:lnTo>
                    <a:lnTo>
                      <a:pt x="628840" y="1204532"/>
                    </a:lnTo>
                    <a:lnTo>
                      <a:pt x="590740" y="1204532"/>
                    </a:lnTo>
                    <a:close/>
                    <a:moveTo>
                      <a:pt x="0" y="583216"/>
                    </a:moveTo>
                    <a:lnTo>
                      <a:pt x="117348" y="583216"/>
                    </a:lnTo>
                    <a:lnTo>
                      <a:pt x="117348" y="621316"/>
                    </a:lnTo>
                    <a:lnTo>
                      <a:pt x="0" y="621316"/>
                    </a:lnTo>
                    <a:close/>
                    <a:moveTo>
                      <a:pt x="590740" y="0"/>
                    </a:moveTo>
                    <a:lnTo>
                      <a:pt x="628840" y="0"/>
                    </a:lnTo>
                    <a:lnTo>
                      <a:pt x="628840" y="117348"/>
                    </a:lnTo>
                    <a:lnTo>
                      <a:pt x="590740" y="117348"/>
                    </a:lnTo>
                    <a:close/>
                    <a:moveTo>
                      <a:pt x="1102328" y="583216"/>
                    </a:moveTo>
                    <a:lnTo>
                      <a:pt x="1219676" y="583216"/>
                    </a:lnTo>
                    <a:lnTo>
                      <a:pt x="1219676" y="621316"/>
                    </a:lnTo>
                    <a:lnTo>
                      <a:pt x="1102328" y="621316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" name="Freihandform: Form 133">
                <a:extLst>
                  <a:ext uri="{FF2B5EF4-FFF2-40B4-BE49-F238E27FC236}">
                    <a16:creationId xmlns:a16="http://schemas.microsoft.com/office/drawing/2014/main" id="{5BB7DAD6-C67B-79CC-5B1B-9C35BDF6F3D6}"/>
                  </a:ext>
                </a:extLst>
              </p:cNvPr>
              <p:cNvSpPr/>
              <p:nvPr/>
            </p:nvSpPr>
            <p:spPr bwMode="gray">
              <a:xfrm>
                <a:off x="3974877" y="2589561"/>
                <a:ext cx="699515" cy="651224"/>
              </a:xfrm>
              <a:custGeom>
                <a:avLst/>
                <a:gdLst>
                  <a:gd name="connsiteX0" fmla="*/ 699516 w 699515"/>
                  <a:gd name="connsiteY0" fmla="*/ 325660 h 651224"/>
                  <a:gd name="connsiteX1" fmla="*/ 657320 w 699515"/>
                  <a:gd name="connsiteY1" fmla="*/ 364045 h 651224"/>
                  <a:gd name="connsiteX2" fmla="*/ 649033 w 699515"/>
                  <a:gd name="connsiteY2" fmla="*/ 364427 h 651224"/>
                  <a:gd name="connsiteX3" fmla="*/ 428720 w 699515"/>
                  <a:gd name="connsiteY3" fmla="*/ 364427 h 651224"/>
                  <a:gd name="connsiteX4" fmla="*/ 406432 w 699515"/>
                  <a:gd name="connsiteY4" fmla="*/ 401860 h 651224"/>
                  <a:gd name="connsiteX5" fmla="*/ 368332 w 699515"/>
                  <a:gd name="connsiteY5" fmla="*/ 465868 h 651224"/>
                  <a:gd name="connsiteX6" fmla="*/ 322802 w 699515"/>
                  <a:gd name="connsiteY6" fmla="*/ 542353 h 651224"/>
                  <a:gd name="connsiteX7" fmla="*/ 289179 w 699515"/>
                  <a:gd name="connsiteY7" fmla="*/ 598932 h 651224"/>
                  <a:gd name="connsiteX8" fmla="*/ 284702 w 699515"/>
                  <a:gd name="connsiteY8" fmla="*/ 606457 h 651224"/>
                  <a:gd name="connsiteX9" fmla="*/ 258032 w 699515"/>
                  <a:gd name="connsiteY9" fmla="*/ 651224 h 651224"/>
                  <a:gd name="connsiteX10" fmla="*/ 201740 w 699515"/>
                  <a:gd name="connsiteY10" fmla="*/ 651224 h 651224"/>
                  <a:gd name="connsiteX11" fmla="*/ 231172 w 699515"/>
                  <a:gd name="connsiteY11" fmla="*/ 566357 h 651224"/>
                  <a:gd name="connsiteX12" fmla="*/ 239077 w 699515"/>
                  <a:gd name="connsiteY12" fmla="*/ 543782 h 651224"/>
                  <a:gd name="connsiteX13" fmla="*/ 284702 w 699515"/>
                  <a:gd name="connsiteY13" fmla="*/ 412337 h 651224"/>
                  <a:gd name="connsiteX14" fmla="*/ 301371 w 699515"/>
                  <a:gd name="connsiteY14" fmla="*/ 364331 h 651224"/>
                  <a:gd name="connsiteX15" fmla="*/ 107061 w 699515"/>
                  <a:gd name="connsiteY15" fmla="*/ 364331 h 651224"/>
                  <a:gd name="connsiteX16" fmla="*/ 73152 w 699515"/>
                  <a:gd name="connsiteY16" fmla="*/ 430054 h 651224"/>
                  <a:gd name="connsiteX17" fmla="*/ 72009 w 699515"/>
                  <a:gd name="connsiteY17" fmla="*/ 432340 h 651224"/>
                  <a:gd name="connsiteX18" fmla="*/ 65437 w 699515"/>
                  <a:gd name="connsiteY18" fmla="*/ 445103 h 651224"/>
                  <a:gd name="connsiteX19" fmla="*/ 33909 w 699515"/>
                  <a:gd name="connsiteY19" fmla="*/ 445103 h 651224"/>
                  <a:gd name="connsiteX20" fmla="*/ 0 w 699515"/>
                  <a:gd name="connsiteY20" fmla="*/ 445389 h 651224"/>
                  <a:gd name="connsiteX21" fmla="*/ 31242 w 699515"/>
                  <a:gd name="connsiteY21" fmla="*/ 375857 h 651224"/>
                  <a:gd name="connsiteX22" fmla="*/ 33909 w 699515"/>
                  <a:gd name="connsiteY22" fmla="*/ 370046 h 651224"/>
                  <a:gd name="connsiteX23" fmla="*/ 53816 w 699515"/>
                  <a:gd name="connsiteY23" fmla="*/ 325850 h 651224"/>
                  <a:gd name="connsiteX24" fmla="*/ 33909 w 699515"/>
                  <a:gd name="connsiteY24" fmla="*/ 281464 h 651224"/>
                  <a:gd name="connsiteX25" fmla="*/ 0 w 699515"/>
                  <a:gd name="connsiteY25" fmla="*/ 205930 h 651224"/>
                  <a:gd name="connsiteX26" fmla="*/ 33909 w 699515"/>
                  <a:gd name="connsiteY26" fmla="*/ 205930 h 651224"/>
                  <a:gd name="connsiteX27" fmla="*/ 65437 w 699515"/>
                  <a:gd name="connsiteY27" fmla="*/ 206121 h 651224"/>
                  <a:gd name="connsiteX28" fmla="*/ 72009 w 699515"/>
                  <a:gd name="connsiteY28" fmla="*/ 218884 h 651224"/>
                  <a:gd name="connsiteX29" fmla="*/ 107061 w 699515"/>
                  <a:gd name="connsiteY29" fmla="*/ 286893 h 651224"/>
                  <a:gd name="connsiteX30" fmla="*/ 301371 w 699515"/>
                  <a:gd name="connsiteY30" fmla="*/ 286893 h 651224"/>
                  <a:gd name="connsiteX31" fmla="*/ 284702 w 699515"/>
                  <a:gd name="connsiteY31" fmla="*/ 238887 h 651224"/>
                  <a:gd name="connsiteX32" fmla="*/ 239268 w 699515"/>
                  <a:gd name="connsiteY32" fmla="*/ 108109 h 651224"/>
                  <a:gd name="connsiteX33" fmla="*/ 201740 w 699515"/>
                  <a:gd name="connsiteY33" fmla="*/ 0 h 651224"/>
                  <a:gd name="connsiteX34" fmla="*/ 257937 w 699515"/>
                  <a:gd name="connsiteY34" fmla="*/ 0 h 651224"/>
                  <a:gd name="connsiteX35" fmla="*/ 284702 w 699515"/>
                  <a:gd name="connsiteY35" fmla="*/ 44958 h 651224"/>
                  <a:gd name="connsiteX36" fmla="*/ 322802 w 699515"/>
                  <a:gd name="connsiteY36" fmla="*/ 108966 h 651224"/>
                  <a:gd name="connsiteX37" fmla="*/ 368332 w 699515"/>
                  <a:gd name="connsiteY37" fmla="*/ 185547 h 651224"/>
                  <a:gd name="connsiteX38" fmla="*/ 406432 w 699515"/>
                  <a:gd name="connsiteY38" fmla="*/ 249555 h 651224"/>
                  <a:gd name="connsiteX39" fmla="*/ 428720 w 699515"/>
                  <a:gd name="connsiteY39" fmla="*/ 286988 h 651224"/>
                  <a:gd name="connsiteX40" fmla="*/ 649033 w 699515"/>
                  <a:gd name="connsiteY40" fmla="*/ 286988 h 651224"/>
                  <a:gd name="connsiteX41" fmla="*/ 657320 w 699515"/>
                  <a:gd name="connsiteY41" fmla="*/ 287369 h 651224"/>
                  <a:gd name="connsiteX42" fmla="*/ 699516 w 699515"/>
                  <a:gd name="connsiteY42" fmla="*/ 325660 h 651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699515" h="651224">
                    <a:moveTo>
                      <a:pt x="699516" y="325660"/>
                    </a:moveTo>
                    <a:cubicBezTo>
                      <a:pt x="699516" y="350996"/>
                      <a:pt x="679037" y="361950"/>
                      <a:pt x="657320" y="364045"/>
                    </a:cubicBezTo>
                    <a:cubicBezTo>
                      <a:pt x="654558" y="364331"/>
                      <a:pt x="651796" y="364427"/>
                      <a:pt x="649033" y="364427"/>
                    </a:cubicBezTo>
                    <a:lnTo>
                      <a:pt x="428720" y="364427"/>
                    </a:lnTo>
                    <a:lnTo>
                      <a:pt x="406432" y="401860"/>
                    </a:lnTo>
                    <a:lnTo>
                      <a:pt x="368332" y="465868"/>
                    </a:lnTo>
                    <a:lnTo>
                      <a:pt x="322802" y="542353"/>
                    </a:lnTo>
                    <a:lnTo>
                      <a:pt x="289179" y="598932"/>
                    </a:lnTo>
                    <a:lnTo>
                      <a:pt x="284702" y="606457"/>
                    </a:lnTo>
                    <a:lnTo>
                      <a:pt x="258032" y="651224"/>
                    </a:lnTo>
                    <a:lnTo>
                      <a:pt x="201740" y="651224"/>
                    </a:lnTo>
                    <a:lnTo>
                      <a:pt x="231172" y="566357"/>
                    </a:lnTo>
                    <a:lnTo>
                      <a:pt x="239077" y="543782"/>
                    </a:lnTo>
                    <a:lnTo>
                      <a:pt x="284702" y="412337"/>
                    </a:lnTo>
                    <a:lnTo>
                      <a:pt x="301371" y="364331"/>
                    </a:lnTo>
                    <a:lnTo>
                      <a:pt x="107061" y="364331"/>
                    </a:lnTo>
                    <a:lnTo>
                      <a:pt x="73152" y="430054"/>
                    </a:lnTo>
                    <a:lnTo>
                      <a:pt x="72009" y="432340"/>
                    </a:lnTo>
                    <a:lnTo>
                      <a:pt x="65437" y="445103"/>
                    </a:lnTo>
                    <a:lnTo>
                      <a:pt x="33909" y="445103"/>
                    </a:lnTo>
                    <a:lnTo>
                      <a:pt x="0" y="445389"/>
                    </a:lnTo>
                    <a:lnTo>
                      <a:pt x="31242" y="375857"/>
                    </a:lnTo>
                    <a:lnTo>
                      <a:pt x="33909" y="370046"/>
                    </a:lnTo>
                    <a:lnTo>
                      <a:pt x="53816" y="325850"/>
                    </a:lnTo>
                    <a:lnTo>
                      <a:pt x="33909" y="281464"/>
                    </a:lnTo>
                    <a:lnTo>
                      <a:pt x="0" y="205930"/>
                    </a:lnTo>
                    <a:lnTo>
                      <a:pt x="33909" y="205930"/>
                    </a:lnTo>
                    <a:lnTo>
                      <a:pt x="65437" y="206121"/>
                    </a:lnTo>
                    <a:lnTo>
                      <a:pt x="72009" y="218884"/>
                    </a:lnTo>
                    <a:lnTo>
                      <a:pt x="107061" y="286893"/>
                    </a:lnTo>
                    <a:lnTo>
                      <a:pt x="301371" y="286893"/>
                    </a:lnTo>
                    <a:lnTo>
                      <a:pt x="284702" y="238887"/>
                    </a:lnTo>
                    <a:lnTo>
                      <a:pt x="239268" y="108109"/>
                    </a:lnTo>
                    <a:lnTo>
                      <a:pt x="201740" y="0"/>
                    </a:lnTo>
                    <a:lnTo>
                      <a:pt x="257937" y="0"/>
                    </a:lnTo>
                    <a:lnTo>
                      <a:pt x="284702" y="44958"/>
                    </a:lnTo>
                    <a:lnTo>
                      <a:pt x="322802" y="108966"/>
                    </a:lnTo>
                    <a:lnTo>
                      <a:pt x="368332" y="185547"/>
                    </a:lnTo>
                    <a:lnTo>
                      <a:pt x="406432" y="249555"/>
                    </a:lnTo>
                    <a:lnTo>
                      <a:pt x="428720" y="286988"/>
                    </a:lnTo>
                    <a:lnTo>
                      <a:pt x="649033" y="286988"/>
                    </a:lnTo>
                    <a:cubicBezTo>
                      <a:pt x="651796" y="286988"/>
                      <a:pt x="654558" y="286988"/>
                      <a:pt x="657320" y="287369"/>
                    </a:cubicBezTo>
                    <a:cubicBezTo>
                      <a:pt x="679037" y="289465"/>
                      <a:pt x="699516" y="300419"/>
                      <a:pt x="699516" y="3256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51C26786-5D2A-36FF-1F77-EEE59EDC39BC}"/>
                  </a:ext>
                </a:extLst>
              </p:cNvPr>
              <p:cNvSpPr/>
              <p:nvPr/>
            </p:nvSpPr>
            <p:spPr bwMode="gray">
              <a:xfrm>
                <a:off x="4008786" y="2589561"/>
                <a:ext cx="623411" cy="651224"/>
              </a:xfrm>
              <a:custGeom>
                <a:avLst/>
                <a:gdLst>
                  <a:gd name="connsiteX0" fmla="*/ 623411 w 623411"/>
                  <a:gd name="connsiteY0" fmla="*/ 287369 h 651224"/>
                  <a:gd name="connsiteX1" fmla="*/ 623411 w 623411"/>
                  <a:gd name="connsiteY1" fmla="*/ 364045 h 651224"/>
                  <a:gd name="connsiteX2" fmla="*/ 615125 w 623411"/>
                  <a:gd name="connsiteY2" fmla="*/ 364427 h 651224"/>
                  <a:gd name="connsiteX3" fmla="*/ 585311 w 623411"/>
                  <a:gd name="connsiteY3" fmla="*/ 364427 h 651224"/>
                  <a:gd name="connsiteX4" fmla="*/ 585311 w 623411"/>
                  <a:gd name="connsiteY4" fmla="*/ 286988 h 651224"/>
                  <a:gd name="connsiteX5" fmla="*/ 615125 w 623411"/>
                  <a:gd name="connsiteY5" fmla="*/ 286988 h 651224"/>
                  <a:gd name="connsiteX6" fmla="*/ 623411 w 623411"/>
                  <a:gd name="connsiteY6" fmla="*/ 287369 h 651224"/>
                  <a:gd name="connsiteX7" fmla="*/ 501682 w 623411"/>
                  <a:gd name="connsiteY7" fmla="*/ 286988 h 651224"/>
                  <a:gd name="connsiteX8" fmla="*/ 539782 w 623411"/>
                  <a:gd name="connsiteY8" fmla="*/ 286988 h 651224"/>
                  <a:gd name="connsiteX9" fmla="*/ 539782 w 623411"/>
                  <a:gd name="connsiteY9" fmla="*/ 364427 h 651224"/>
                  <a:gd name="connsiteX10" fmla="*/ 501682 w 623411"/>
                  <a:gd name="connsiteY10" fmla="*/ 364427 h 651224"/>
                  <a:gd name="connsiteX11" fmla="*/ 418052 w 623411"/>
                  <a:gd name="connsiteY11" fmla="*/ 286988 h 651224"/>
                  <a:gd name="connsiteX12" fmla="*/ 456152 w 623411"/>
                  <a:gd name="connsiteY12" fmla="*/ 286988 h 651224"/>
                  <a:gd name="connsiteX13" fmla="*/ 456152 w 623411"/>
                  <a:gd name="connsiteY13" fmla="*/ 364427 h 651224"/>
                  <a:gd name="connsiteX14" fmla="*/ 418052 w 623411"/>
                  <a:gd name="connsiteY14" fmla="*/ 364427 h 651224"/>
                  <a:gd name="connsiteX15" fmla="*/ 372523 w 623411"/>
                  <a:gd name="connsiteY15" fmla="*/ 249555 h 651224"/>
                  <a:gd name="connsiteX16" fmla="*/ 372523 w 623411"/>
                  <a:gd name="connsiteY16" fmla="*/ 401860 h 651224"/>
                  <a:gd name="connsiteX17" fmla="*/ 334423 w 623411"/>
                  <a:gd name="connsiteY17" fmla="*/ 465868 h 651224"/>
                  <a:gd name="connsiteX18" fmla="*/ 334423 w 623411"/>
                  <a:gd name="connsiteY18" fmla="*/ 185547 h 651224"/>
                  <a:gd name="connsiteX19" fmla="*/ 372523 w 623411"/>
                  <a:gd name="connsiteY19" fmla="*/ 249555 h 651224"/>
                  <a:gd name="connsiteX20" fmla="*/ 372523 w 623411"/>
                  <a:gd name="connsiteY20" fmla="*/ 476345 h 651224"/>
                  <a:gd name="connsiteX21" fmla="*/ 372523 w 623411"/>
                  <a:gd name="connsiteY21" fmla="*/ 477203 h 651224"/>
                  <a:gd name="connsiteX22" fmla="*/ 371951 w 623411"/>
                  <a:gd name="connsiteY22" fmla="*/ 477203 h 651224"/>
                  <a:gd name="connsiteX23" fmla="*/ 372523 w 623411"/>
                  <a:gd name="connsiteY23" fmla="*/ 476345 h 651224"/>
                  <a:gd name="connsiteX24" fmla="*/ 288893 w 623411"/>
                  <a:gd name="connsiteY24" fmla="*/ 108966 h 651224"/>
                  <a:gd name="connsiteX25" fmla="*/ 288893 w 623411"/>
                  <a:gd name="connsiteY25" fmla="*/ 542353 h 651224"/>
                  <a:gd name="connsiteX26" fmla="*/ 255270 w 623411"/>
                  <a:gd name="connsiteY26" fmla="*/ 598932 h 651224"/>
                  <a:gd name="connsiteX27" fmla="*/ 250793 w 623411"/>
                  <a:gd name="connsiteY27" fmla="*/ 606457 h 651224"/>
                  <a:gd name="connsiteX28" fmla="*/ 250793 w 623411"/>
                  <a:gd name="connsiteY28" fmla="*/ 412337 h 651224"/>
                  <a:gd name="connsiteX29" fmla="*/ 267462 w 623411"/>
                  <a:gd name="connsiteY29" fmla="*/ 364331 h 651224"/>
                  <a:gd name="connsiteX30" fmla="*/ 250793 w 623411"/>
                  <a:gd name="connsiteY30" fmla="*/ 364331 h 651224"/>
                  <a:gd name="connsiteX31" fmla="*/ 250793 w 623411"/>
                  <a:gd name="connsiteY31" fmla="*/ 286893 h 651224"/>
                  <a:gd name="connsiteX32" fmla="*/ 267462 w 623411"/>
                  <a:gd name="connsiteY32" fmla="*/ 286893 h 651224"/>
                  <a:gd name="connsiteX33" fmla="*/ 250793 w 623411"/>
                  <a:gd name="connsiteY33" fmla="*/ 238887 h 651224"/>
                  <a:gd name="connsiteX34" fmla="*/ 250793 w 623411"/>
                  <a:gd name="connsiteY34" fmla="*/ 44958 h 651224"/>
                  <a:gd name="connsiteX35" fmla="*/ 288893 w 623411"/>
                  <a:gd name="connsiteY35" fmla="*/ 108966 h 651224"/>
                  <a:gd name="connsiteX36" fmla="*/ 167354 w 623411"/>
                  <a:gd name="connsiteY36" fmla="*/ 114681 h 651224"/>
                  <a:gd name="connsiteX37" fmla="*/ 167259 w 623411"/>
                  <a:gd name="connsiteY37" fmla="*/ 114681 h 651224"/>
                  <a:gd name="connsiteX38" fmla="*/ 167259 w 623411"/>
                  <a:gd name="connsiteY38" fmla="*/ 114395 h 651224"/>
                  <a:gd name="connsiteX39" fmla="*/ 167354 w 623411"/>
                  <a:gd name="connsiteY39" fmla="*/ 114681 h 651224"/>
                  <a:gd name="connsiteX40" fmla="*/ 205359 w 623411"/>
                  <a:gd name="connsiteY40" fmla="*/ 0 h 651224"/>
                  <a:gd name="connsiteX41" fmla="*/ 205359 w 623411"/>
                  <a:gd name="connsiteY41" fmla="*/ 108109 h 651224"/>
                  <a:gd name="connsiteX42" fmla="*/ 167831 w 623411"/>
                  <a:gd name="connsiteY42" fmla="*/ 0 h 651224"/>
                  <a:gd name="connsiteX43" fmla="*/ 205359 w 623411"/>
                  <a:gd name="connsiteY43" fmla="*/ 0 h 651224"/>
                  <a:gd name="connsiteX44" fmla="*/ 167259 w 623411"/>
                  <a:gd name="connsiteY44" fmla="*/ 286893 h 651224"/>
                  <a:gd name="connsiteX45" fmla="*/ 205359 w 623411"/>
                  <a:gd name="connsiteY45" fmla="*/ 286893 h 651224"/>
                  <a:gd name="connsiteX46" fmla="*/ 205359 w 623411"/>
                  <a:gd name="connsiteY46" fmla="*/ 364331 h 651224"/>
                  <a:gd name="connsiteX47" fmla="*/ 167259 w 623411"/>
                  <a:gd name="connsiteY47" fmla="*/ 364331 h 651224"/>
                  <a:gd name="connsiteX48" fmla="*/ 205359 w 623411"/>
                  <a:gd name="connsiteY48" fmla="*/ 543782 h 651224"/>
                  <a:gd name="connsiteX49" fmla="*/ 205359 w 623411"/>
                  <a:gd name="connsiteY49" fmla="*/ 651224 h 651224"/>
                  <a:gd name="connsiteX50" fmla="*/ 167831 w 623411"/>
                  <a:gd name="connsiteY50" fmla="*/ 651224 h 651224"/>
                  <a:gd name="connsiteX51" fmla="*/ 197263 w 623411"/>
                  <a:gd name="connsiteY51" fmla="*/ 566357 h 651224"/>
                  <a:gd name="connsiteX52" fmla="*/ 205169 w 623411"/>
                  <a:gd name="connsiteY52" fmla="*/ 543782 h 651224"/>
                  <a:gd name="connsiteX53" fmla="*/ 205359 w 623411"/>
                  <a:gd name="connsiteY53" fmla="*/ 543782 h 651224"/>
                  <a:gd name="connsiteX54" fmla="*/ 83630 w 623411"/>
                  <a:gd name="connsiteY54" fmla="*/ 286893 h 651224"/>
                  <a:gd name="connsiteX55" fmla="*/ 121730 w 623411"/>
                  <a:gd name="connsiteY55" fmla="*/ 286893 h 651224"/>
                  <a:gd name="connsiteX56" fmla="*/ 121730 w 623411"/>
                  <a:gd name="connsiteY56" fmla="*/ 364331 h 651224"/>
                  <a:gd name="connsiteX57" fmla="*/ 83630 w 623411"/>
                  <a:gd name="connsiteY57" fmla="*/ 364331 h 651224"/>
                  <a:gd name="connsiteX58" fmla="*/ 38100 w 623411"/>
                  <a:gd name="connsiteY58" fmla="*/ 218884 h 651224"/>
                  <a:gd name="connsiteX59" fmla="*/ 38100 w 623411"/>
                  <a:gd name="connsiteY59" fmla="*/ 432340 h 651224"/>
                  <a:gd name="connsiteX60" fmla="*/ 31528 w 623411"/>
                  <a:gd name="connsiteY60" fmla="*/ 445103 h 651224"/>
                  <a:gd name="connsiteX61" fmla="*/ 0 w 623411"/>
                  <a:gd name="connsiteY61" fmla="*/ 445198 h 651224"/>
                  <a:gd name="connsiteX62" fmla="*/ 0 w 623411"/>
                  <a:gd name="connsiteY62" fmla="*/ 370046 h 651224"/>
                  <a:gd name="connsiteX63" fmla="*/ 19907 w 623411"/>
                  <a:gd name="connsiteY63" fmla="*/ 325850 h 651224"/>
                  <a:gd name="connsiteX64" fmla="*/ 0 w 623411"/>
                  <a:gd name="connsiteY64" fmla="*/ 281464 h 651224"/>
                  <a:gd name="connsiteX65" fmla="*/ 0 w 623411"/>
                  <a:gd name="connsiteY65" fmla="*/ 206026 h 651224"/>
                  <a:gd name="connsiteX66" fmla="*/ 31528 w 623411"/>
                  <a:gd name="connsiteY66" fmla="*/ 206121 h 651224"/>
                  <a:gd name="connsiteX67" fmla="*/ 38100 w 623411"/>
                  <a:gd name="connsiteY67" fmla="*/ 218884 h 651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23411" h="651224">
                    <a:moveTo>
                      <a:pt x="623411" y="287369"/>
                    </a:moveTo>
                    <a:lnTo>
                      <a:pt x="623411" y="364045"/>
                    </a:lnTo>
                    <a:cubicBezTo>
                      <a:pt x="620649" y="364331"/>
                      <a:pt x="617887" y="364427"/>
                      <a:pt x="615125" y="364427"/>
                    </a:cubicBezTo>
                    <a:lnTo>
                      <a:pt x="585311" y="364427"/>
                    </a:lnTo>
                    <a:lnTo>
                      <a:pt x="585311" y="286988"/>
                    </a:lnTo>
                    <a:lnTo>
                      <a:pt x="615125" y="286988"/>
                    </a:lnTo>
                    <a:cubicBezTo>
                      <a:pt x="617887" y="286988"/>
                      <a:pt x="620649" y="286988"/>
                      <a:pt x="623411" y="287369"/>
                    </a:cubicBezTo>
                    <a:close/>
                    <a:moveTo>
                      <a:pt x="501682" y="286988"/>
                    </a:moveTo>
                    <a:lnTo>
                      <a:pt x="539782" y="286988"/>
                    </a:lnTo>
                    <a:lnTo>
                      <a:pt x="539782" y="364427"/>
                    </a:lnTo>
                    <a:lnTo>
                      <a:pt x="501682" y="364427"/>
                    </a:lnTo>
                    <a:close/>
                    <a:moveTo>
                      <a:pt x="418052" y="286988"/>
                    </a:moveTo>
                    <a:lnTo>
                      <a:pt x="456152" y="286988"/>
                    </a:lnTo>
                    <a:lnTo>
                      <a:pt x="456152" y="364427"/>
                    </a:lnTo>
                    <a:lnTo>
                      <a:pt x="418052" y="364427"/>
                    </a:lnTo>
                    <a:close/>
                    <a:moveTo>
                      <a:pt x="372523" y="249555"/>
                    </a:moveTo>
                    <a:lnTo>
                      <a:pt x="372523" y="401860"/>
                    </a:lnTo>
                    <a:lnTo>
                      <a:pt x="334423" y="465868"/>
                    </a:lnTo>
                    <a:lnTo>
                      <a:pt x="334423" y="185547"/>
                    </a:lnTo>
                    <a:lnTo>
                      <a:pt x="372523" y="249555"/>
                    </a:lnTo>
                    <a:close/>
                    <a:moveTo>
                      <a:pt x="372523" y="476345"/>
                    </a:moveTo>
                    <a:lnTo>
                      <a:pt x="372523" y="477203"/>
                    </a:lnTo>
                    <a:lnTo>
                      <a:pt x="371951" y="477203"/>
                    </a:lnTo>
                    <a:lnTo>
                      <a:pt x="372523" y="476345"/>
                    </a:lnTo>
                    <a:close/>
                    <a:moveTo>
                      <a:pt x="288893" y="108966"/>
                    </a:moveTo>
                    <a:lnTo>
                      <a:pt x="288893" y="542353"/>
                    </a:lnTo>
                    <a:lnTo>
                      <a:pt x="255270" y="598932"/>
                    </a:lnTo>
                    <a:lnTo>
                      <a:pt x="250793" y="606457"/>
                    </a:lnTo>
                    <a:lnTo>
                      <a:pt x="250793" y="412337"/>
                    </a:lnTo>
                    <a:lnTo>
                      <a:pt x="267462" y="364331"/>
                    </a:lnTo>
                    <a:lnTo>
                      <a:pt x="250793" y="364331"/>
                    </a:lnTo>
                    <a:lnTo>
                      <a:pt x="250793" y="286893"/>
                    </a:lnTo>
                    <a:lnTo>
                      <a:pt x="267462" y="286893"/>
                    </a:lnTo>
                    <a:lnTo>
                      <a:pt x="250793" y="238887"/>
                    </a:lnTo>
                    <a:lnTo>
                      <a:pt x="250793" y="44958"/>
                    </a:lnTo>
                    <a:lnTo>
                      <a:pt x="288893" y="108966"/>
                    </a:lnTo>
                    <a:close/>
                    <a:moveTo>
                      <a:pt x="167354" y="114681"/>
                    </a:moveTo>
                    <a:lnTo>
                      <a:pt x="167259" y="114681"/>
                    </a:lnTo>
                    <a:lnTo>
                      <a:pt x="167259" y="114395"/>
                    </a:lnTo>
                    <a:lnTo>
                      <a:pt x="167354" y="114681"/>
                    </a:lnTo>
                    <a:close/>
                    <a:moveTo>
                      <a:pt x="205359" y="0"/>
                    </a:moveTo>
                    <a:lnTo>
                      <a:pt x="205359" y="108109"/>
                    </a:lnTo>
                    <a:lnTo>
                      <a:pt x="167831" y="0"/>
                    </a:lnTo>
                    <a:lnTo>
                      <a:pt x="205359" y="0"/>
                    </a:lnTo>
                    <a:close/>
                    <a:moveTo>
                      <a:pt x="167259" y="286893"/>
                    </a:moveTo>
                    <a:lnTo>
                      <a:pt x="205359" y="286893"/>
                    </a:lnTo>
                    <a:lnTo>
                      <a:pt x="205359" y="364331"/>
                    </a:lnTo>
                    <a:lnTo>
                      <a:pt x="167259" y="364331"/>
                    </a:lnTo>
                    <a:close/>
                    <a:moveTo>
                      <a:pt x="205359" y="543782"/>
                    </a:moveTo>
                    <a:lnTo>
                      <a:pt x="205359" y="651224"/>
                    </a:lnTo>
                    <a:lnTo>
                      <a:pt x="167831" y="651224"/>
                    </a:lnTo>
                    <a:lnTo>
                      <a:pt x="197263" y="566357"/>
                    </a:lnTo>
                    <a:lnTo>
                      <a:pt x="205169" y="543782"/>
                    </a:lnTo>
                    <a:lnTo>
                      <a:pt x="205359" y="543782"/>
                    </a:lnTo>
                    <a:close/>
                    <a:moveTo>
                      <a:pt x="83630" y="286893"/>
                    </a:moveTo>
                    <a:lnTo>
                      <a:pt x="121730" y="286893"/>
                    </a:lnTo>
                    <a:lnTo>
                      <a:pt x="121730" y="364331"/>
                    </a:lnTo>
                    <a:lnTo>
                      <a:pt x="83630" y="364331"/>
                    </a:lnTo>
                    <a:close/>
                    <a:moveTo>
                      <a:pt x="38100" y="218884"/>
                    </a:moveTo>
                    <a:lnTo>
                      <a:pt x="38100" y="432340"/>
                    </a:lnTo>
                    <a:lnTo>
                      <a:pt x="31528" y="445103"/>
                    </a:lnTo>
                    <a:lnTo>
                      <a:pt x="0" y="445198"/>
                    </a:lnTo>
                    <a:lnTo>
                      <a:pt x="0" y="370046"/>
                    </a:lnTo>
                    <a:lnTo>
                      <a:pt x="19907" y="325850"/>
                    </a:lnTo>
                    <a:lnTo>
                      <a:pt x="0" y="281464"/>
                    </a:lnTo>
                    <a:lnTo>
                      <a:pt x="0" y="206026"/>
                    </a:lnTo>
                    <a:lnTo>
                      <a:pt x="31528" y="206121"/>
                    </a:lnTo>
                    <a:lnTo>
                      <a:pt x="38100" y="218884"/>
                    </a:lnTo>
                    <a:close/>
                  </a:path>
                </a:pathLst>
              </a:custGeom>
              <a:solidFill>
                <a:srgbClr val="0079B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" name="Freihandform: Form 135">
                <a:extLst>
                  <a:ext uri="{FF2B5EF4-FFF2-40B4-BE49-F238E27FC236}">
                    <a16:creationId xmlns:a16="http://schemas.microsoft.com/office/drawing/2014/main" id="{7D3D2D87-647A-3EDA-817B-B4C67B22615B}"/>
                  </a:ext>
                </a:extLst>
              </p:cNvPr>
              <p:cNvSpPr/>
              <p:nvPr/>
            </p:nvSpPr>
            <p:spPr bwMode="gray">
              <a:xfrm>
                <a:off x="3915822" y="2551461"/>
                <a:ext cx="796670" cy="727424"/>
              </a:xfrm>
              <a:custGeom>
                <a:avLst/>
                <a:gdLst>
                  <a:gd name="connsiteX0" fmla="*/ 708088 w 796670"/>
                  <a:gd name="connsiteY0" fmla="*/ 286988 h 727424"/>
                  <a:gd name="connsiteX1" fmla="*/ 509397 w 796670"/>
                  <a:gd name="connsiteY1" fmla="*/ 286988 h 727424"/>
                  <a:gd name="connsiteX2" fmla="*/ 338709 w 796670"/>
                  <a:gd name="connsiteY2" fmla="*/ 0 h 727424"/>
                  <a:gd name="connsiteX3" fmla="*/ 207264 w 796670"/>
                  <a:gd name="connsiteY3" fmla="*/ 0 h 727424"/>
                  <a:gd name="connsiteX4" fmla="*/ 260223 w 796670"/>
                  <a:gd name="connsiteY4" fmla="*/ 152495 h 727424"/>
                  <a:gd name="connsiteX5" fmla="*/ 260223 w 796670"/>
                  <a:gd name="connsiteY5" fmla="*/ 152781 h 727424"/>
                  <a:gd name="connsiteX6" fmla="*/ 306896 w 796670"/>
                  <a:gd name="connsiteY6" fmla="*/ 286893 h 727424"/>
                  <a:gd name="connsiteX7" fmla="*/ 189357 w 796670"/>
                  <a:gd name="connsiteY7" fmla="*/ 286893 h 727424"/>
                  <a:gd name="connsiteX8" fmla="*/ 147733 w 796670"/>
                  <a:gd name="connsiteY8" fmla="*/ 206216 h 727424"/>
                  <a:gd name="connsiteX9" fmla="*/ 0 w 796670"/>
                  <a:gd name="connsiteY9" fmla="*/ 205740 h 727424"/>
                  <a:gd name="connsiteX10" fmla="*/ 71152 w 796670"/>
                  <a:gd name="connsiteY10" fmla="*/ 363950 h 727424"/>
                  <a:gd name="connsiteX11" fmla="*/ 65722 w 796670"/>
                  <a:gd name="connsiteY11" fmla="*/ 376047 h 727424"/>
                  <a:gd name="connsiteX12" fmla="*/ 0 w 796670"/>
                  <a:gd name="connsiteY12" fmla="*/ 521779 h 727424"/>
                  <a:gd name="connsiteX13" fmla="*/ 147733 w 796670"/>
                  <a:gd name="connsiteY13" fmla="*/ 521208 h 727424"/>
                  <a:gd name="connsiteX14" fmla="*/ 159544 w 796670"/>
                  <a:gd name="connsiteY14" fmla="*/ 498253 h 727424"/>
                  <a:gd name="connsiteX15" fmla="*/ 189357 w 796670"/>
                  <a:gd name="connsiteY15" fmla="*/ 440531 h 727424"/>
                  <a:gd name="connsiteX16" fmla="*/ 306896 w 796670"/>
                  <a:gd name="connsiteY16" fmla="*/ 440531 h 727424"/>
                  <a:gd name="connsiteX17" fmla="*/ 257556 w 796670"/>
                  <a:gd name="connsiteY17" fmla="*/ 582644 h 727424"/>
                  <a:gd name="connsiteX18" fmla="*/ 207264 w 796670"/>
                  <a:gd name="connsiteY18" fmla="*/ 727424 h 727424"/>
                  <a:gd name="connsiteX19" fmla="*/ 338709 w 796670"/>
                  <a:gd name="connsiteY19" fmla="*/ 727424 h 727424"/>
                  <a:gd name="connsiteX20" fmla="*/ 382905 w 796670"/>
                  <a:gd name="connsiteY20" fmla="*/ 653129 h 727424"/>
                  <a:gd name="connsiteX21" fmla="*/ 464915 w 796670"/>
                  <a:gd name="connsiteY21" fmla="*/ 515303 h 727424"/>
                  <a:gd name="connsiteX22" fmla="*/ 465487 w 796670"/>
                  <a:gd name="connsiteY22" fmla="*/ 514445 h 727424"/>
                  <a:gd name="connsiteX23" fmla="*/ 509397 w 796670"/>
                  <a:gd name="connsiteY23" fmla="*/ 440627 h 727424"/>
                  <a:gd name="connsiteX24" fmla="*/ 708088 w 796670"/>
                  <a:gd name="connsiteY24" fmla="*/ 440627 h 727424"/>
                  <a:gd name="connsiteX25" fmla="*/ 796671 w 796670"/>
                  <a:gd name="connsiteY25" fmla="*/ 363760 h 727424"/>
                  <a:gd name="connsiteX26" fmla="*/ 708088 w 796670"/>
                  <a:gd name="connsiteY26" fmla="*/ 286988 h 727424"/>
                  <a:gd name="connsiteX27" fmla="*/ 716375 w 796670"/>
                  <a:gd name="connsiteY27" fmla="*/ 402145 h 727424"/>
                  <a:gd name="connsiteX28" fmla="*/ 708088 w 796670"/>
                  <a:gd name="connsiteY28" fmla="*/ 402527 h 727424"/>
                  <a:gd name="connsiteX29" fmla="*/ 487775 w 796670"/>
                  <a:gd name="connsiteY29" fmla="*/ 402527 h 727424"/>
                  <a:gd name="connsiteX30" fmla="*/ 465487 w 796670"/>
                  <a:gd name="connsiteY30" fmla="*/ 439960 h 727424"/>
                  <a:gd name="connsiteX31" fmla="*/ 427387 w 796670"/>
                  <a:gd name="connsiteY31" fmla="*/ 503968 h 727424"/>
                  <a:gd name="connsiteX32" fmla="*/ 381857 w 796670"/>
                  <a:gd name="connsiteY32" fmla="*/ 580453 h 727424"/>
                  <a:gd name="connsiteX33" fmla="*/ 348234 w 796670"/>
                  <a:gd name="connsiteY33" fmla="*/ 637032 h 727424"/>
                  <a:gd name="connsiteX34" fmla="*/ 343757 w 796670"/>
                  <a:gd name="connsiteY34" fmla="*/ 644557 h 727424"/>
                  <a:gd name="connsiteX35" fmla="*/ 317087 w 796670"/>
                  <a:gd name="connsiteY35" fmla="*/ 689324 h 727424"/>
                  <a:gd name="connsiteX36" fmla="*/ 260795 w 796670"/>
                  <a:gd name="connsiteY36" fmla="*/ 689324 h 727424"/>
                  <a:gd name="connsiteX37" fmla="*/ 290227 w 796670"/>
                  <a:gd name="connsiteY37" fmla="*/ 604457 h 727424"/>
                  <a:gd name="connsiteX38" fmla="*/ 298133 w 796670"/>
                  <a:gd name="connsiteY38" fmla="*/ 581882 h 727424"/>
                  <a:gd name="connsiteX39" fmla="*/ 343757 w 796670"/>
                  <a:gd name="connsiteY39" fmla="*/ 450437 h 727424"/>
                  <a:gd name="connsiteX40" fmla="*/ 360426 w 796670"/>
                  <a:gd name="connsiteY40" fmla="*/ 402431 h 727424"/>
                  <a:gd name="connsiteX41" fmla="*/ 166116 w 796670"/>
                  <a:gd name="connsiteY41" fmla="*/ 402431 h 727424"/>
                  <a:gd name="connsiteX42" fmla="*/ 132207 w 796670"/>
                  <a:gd name="connsiteY42" fmla="*/ 468154 h 727424"/>
                  <a:gd name="connsiteX43" fmla="*/ 131064 w 796670"/>
                  <a:gd name="connsiteY43" fmla="*/ 470440 h 727424"/>
                  <a:gd name="connsiteX44" fmla="*/ 124492 w 796670"/>
                  <a:gd name="connsiteY44" fmla="*/ 483203 h 727424"/>
                  <a:gd name="connsiteX45" fmla="*/ 92964 w 796670"/>
                  <a:gd name="connsiteY45" fmla="*/ 483203 h 727424"/>
                  <a:gd name="connsiteX46" fmla="*/ 59055 w 796670"/>
                  <a:gd name="connsiteY46" fmla="*/ 483489 h 727424"/>
                  <a:gd name="connsiteX47" fmla="*/ 90297 w 796670"/>
                  <a:gd name="connsiteY47" fmla="*/ 413957 h 727424"/>
                  <a:gd name="connsiteX48" fmla="*/ 92964 w 796670"/>
                  <a:gd name="connsiteY48" fmla="*/ 408146 h 727424"/>
                  <a:gd name="connsiteX49" fmla="*/ 112871 w 796670"/>
                  <a:gd name="connsiteY49" fmla="*/ 363950 h 727424"/>
                  <a:gd name="connsiteX50" fmla="*/ 92964 w 796670"/>
                  <a:gd name="connsiteY50" fmla="*/ 319564 h 727424"/>
                  <a:gd name="connsiteX51" fmla="*/ 59055 w 796670"/>
                  <a:gd name="connsiteY51" fmla="*/ 244030 h 727424"/>
                  <a:gd name="connsiteX52" fmla="*/ 92964 w 796670"/>
                  <a:gd name="connsiteY52" fmla="*/ 244030 h 727424"/>
                  <a:gd name="connsiteX53" fmla="*/ 124492 w 796670"/>
                  <a:gd name="connsiteY53" fmla="*/ 244221 h 727424"/>
                  <a:gd name="connsiteX54" fmla="*/ 131064 w 796670"/>
                  <a:gd name="connsiteY54" fmla="*/ 256984 h 727424"/>
                  <a:gd name="connsiteX55" fmla="*/ 166116 w 796670"/>
                  <a:gd name="connsiteY55" fmla="*/ 324993 h 727424"/>
                  <a:gd name="connsiteX56" fmla="*/ 360426 w 796670"/>
                  <a:gd name="connsiteY56" fmla="*/ 324993 h 727424"/>
                  <a:gd name="connsiteX57" fmla="*/ 343757 w 796670"/>
                  <a:gd name="connsiteY57" fmla="*/ 276987 h 727424"/>
                  <a:gd name="connsiteX58" fmla="*/ 298323 w 796670"/>
                  <a:gd name="connsiteY58" fmla="*/ 146209 h 727424"/>
                  <a:gd name="connsiteX59" fmla="*/ 260795 w 796670"/>
                  <a:gd name="connsiteY59" fmla="*/ 38100 h 727424"/>
                  <a:gd name="connsiteX60" fmla="*/ 316992 w 796670"/>
                  <a:gd name="connsiteY60" fmla="*/ 38100 h 727424"/>
                  <a:gd name="connsiteX61" fmla="*/ 343757 w 796670"/>
                  <a:gd name="connsiteY61" fmla="*/ 83058 h 727424"/>
                  <a:gd name="connsiteX62" fmla="*/ 381857 w 796670"/>
                  <a:gd name="connsiteY62" fmla="*/ 147066 h 727424"/>
                  <a:gd name="connsiteX63" fmla="*/ 427387 w 796670"/>
                  <a:gd name="connsiteY63" fmla="*/ 223647 h 727424"/>
                  <a:gd name="connsiteX64" fmla="*/ 465487 w 796670"/>
                  <a:gd name="connsiteY64" fmla="*/ 287655 h 727424"/>
                  <a:gd name="connsiteX65" fmla="*/ 487775 w 796670"/>
                  <a:gd name="connsiteY65" fmla="*/ 325088 h 727424"/>
                  <a:gd name="connsiteX66" fmla="*/ 708088 w 796670"/>
                  <a:gd name="connsiteY66" fmla="*/ 325088 h 727424"/>
                  <a:gd name="connsiteX67" fmla="*/ 716375 w 796670"/>
                  <a:gd name="connsiteY67" fmla="*/ 325469 h 727424"/>
                  <a:gd name="connsiteX68" fmla="*/ 758571 w 796670"/>
                  <a:gd name="connsiteY68" fmla="*/ 363760 h 727424"/>
                  <a:gd name="connsiteX69" fmla="*/ 716375 w 796670"/>
                  <a:gd name="connsiteY69" fmla="*/ 402145 h 727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796670" h="727424">
                    <a:moveTo>
                      <a:pt x="708088" y="286988"/>
                    </a:moveTo>
                    <a:lnTo>
                      <a:pt x="509397" y="286988"/>
                    </a:lnTo>
                    <a:lnTo>
                      <a:pt x="338709" y="0"/>
                    </a:lnTo>
                    <a:lnTo>
                      <a:pt x="207264" y="0"/>
                    </a:lnTo>
                    <a:lnTo>
                      <a:pt x="260223" y="152495"/>
                    </a:lnTo>
                    <a:lnTo>
                      <a:pt x="260223" y="152781"/>
                    </a:lnTo>
                    <a:lnTo>
                      <a:pt x="306896" y="286893"/>
                    </a:lnTo>
                    <a:lnTo>
                      <a:pt x="189357" y="286893"/>
                    </a:lnTo>
                    <a:lnTo>
                      <a:pt x="147733" y="206216"/>
                    </a:lnTo>
                    <a:lnTo>
                      <a:pt x="0" y="205740"/>
                    </a:lnTo>
                    <a:lnTo>
                      <a:pt x="71152" y="363950"/>
                    </a:lnTo>
                    <a:lnTo>
                      <a:pt x="65722" y="376047"/>
                    </a:lnTo>
                    <a:lnTo>
                      <a:pt x="0" y="521779"/>
                    </a:lnTo>
                    <a:lnTo>
                      <a:pt x="147733" y="521208"/>
                    </a:lnTo>
                    <a:lnTo>
                      <a:pt x="159544" y="498253"/>
                    </a:lnTo>
                    <a:lnTo>
                      <a:pt x="189357" y="440531"/>
                    </a:lnTo>
                    <a:lnTo>
                      <a:pt x="306896" y="440531"/>
                    </a:lnTo>
                    <a:lnTo>
                      <a:pt x="257556" y="582644"/>
                    </a:lnTo>
                    <a:lnTo>
                      <a:pt x="207264" y="727424"/>
                    </a:lnTo>
                    <a:lnTo>
                      <a:pt x="338709" y="727424"/>
                    </a:lnTo>
                    <a:lnTo>
                      <a:pt x="382905" y="653129"/>
                    </a:lnTo>
                    <a:lnTo>
                      <a:pt x="464915" y="515303"/>
                    </a:lnTo>
                    <a:lnTo>
                      <a:pt x="465487" y="514445"/>
                    </a:lnTo>
                    <a:lnTo>
                      <a:pt x="509397" y="440627"/>
                    </a:lnTo>
                    <a:lnTo>
                      <a:pt x="708088" y="440627"/>
                    </a:lnTo>
                    <a:cubicBezTo>
                      <a:pt x="760286" y="440627"/>
                      <a:pt x="796671" y="409003"/>
                      <a:pt x="796671" y="363760"/>
                    </a:cubicBezTo>
                    <a:cubicBezTo>
                      <a:pt x="796671" y="318516"/>
                      <a:pt x="760286" y="286988"/>
                      <a:pt x="708088" y="286988"/>
                    </a:cubicBezTo>
                    <a:close/>
                    <a:moveTo>
                      <a:pt x="716375" y="402145"/>
                    </a:moveTo>
                    <a:cubicBezTo>
                      <a:pt x="713613" y="402431"/>
                      <a:pt x="710851" y="402527"/>
                      <a:pt x="708088" y="402527"/>
                    </a:cubicBezTo>
                    <a:lnTo>
                      <a:pt x="487775" y="402527"/>
                    </a:lnTo>
                    <a:lnTo>
                      <a:pt x="465487" y="439960"/>
                    </a:lnTo>
                    <a:lnTo>
                      <a:pt x="427387" y="503968"/>
                    </a:lnTo>
                    <a:lnTo>
                      <a:pt x="381857" y="580453"/>
                    </a:lnTo>
                    <a:lnTo>
                      <a:pt x="348234" y="637032"/>
                    </a:lnTo>
                    <a:lnTo>
                      <a:pt x="343757" y="644557"/>
                    </a:lnTo>
                    <a:lnTo>
                      <a:pt x="317087" y="689324"/>
                    </a:lnTo>
                    <a:lnTo>
                      <a:pt x="260795" y="689324"/>
                    </a:lnTo>
                    <a:lnTo>
                      <a:pt x="290227" y="604457"/>
                    </a:lnTo>
                    <a:lnTo>
                      <a:pt x="298133" y="581882"/>
                    </a:lnTo>
                    <a:lnTo>
                      <a:pt x="343757" y="450437"/>
                    </a:lnTo>
                    <a:lnTo>
                      <a:pt x="360426" y="402431"/>
                    </a:lnTo>
                    <a:lnTo>
                      <a:pt x="166116" y="402431"/>
                    </a:lnTo>
                    <a:lnTo>
                      <a:pt x="132207" y="468154"/>
                    </a:lnTo>
                    <a:lnTo>
                      <a:pt x="131064" y="470440"/>
                    </a:lnTo>
                    <a:lnTo>
                      <a:pt x="124492" y="483203"/>
                    </a:lnTo>
                    <a:lnTo>
                      <a:pt x="92964" y="483203"/>
                    </a:lnTo>
                    <a:lnTo>
                      <a:pt x="59055" y="483489"/>
                    </a:lnTo>
                    <a:lnTo>
                      <a:pt x="90297" y="413957"/>
                    </a:lnTo>
                    <a:lnTo>
                      <a:pt x="92964" y="408146"/>
                    </a:lnTo>
                    <a:lnTo>
                      <a:pt x="112871" y="363950"/>
                    </a:lnTo>
                    <a:lnTo>
                      <a:pt x="92964" y="319564"/>
                    </a:lnTo>
                    <a:lnTo>
                      <a:pt x="59055" y="244030"/>
                    </a:lnTo>
                    <a:lnTo>
                      <a:pt x="92964" y="244030"/>
                    </a:lnTo>
                    <a:lnTo>
                      <a:pt x="124492" y="244221"/>
                    </a:lnTo>
                    <a:lnTo>
                      <a:pt x="131064" y="256984"/>
                    </a:lnTo>
                    <a:lnTo>
                      <a:pt x="166116" y="324993"/>
                    </a:lnTo>
                    <a:lnTo>
                      <a:pt x="360426" y="324993"/>
                    </a:lnTo>
                    <a:lnTo>
                      <a:pt x="343757" y="276987"/>
                    </a:lnTo>
                    <a:lnTo>
                      <a:pt x="298323" y="146209"/>
                    </a:lnTo>
                    <a:lnTo>
                      <a:pt x="260795" y="38100"/>
                    </a:lnTo>
                    <a:lnTo>
                      <a:pt x="316992" y="38100"/>
                    </a:lnTo>
                    <a:lnTo>
                      <a:pt x="343757" y="83058"/>
                    </a:lnTo>
                    <a:lnTo>
                      <a:pt x="381857" y="147066"/>
                    </a:lnTo>
                    <a:lnTo>
                      <a:pt x="427387" y="223647"/>
                    </a:lnTo>
                    <a:lnTo>
                      <a:pt x="465487" y="287655"/>
                    </a:lnTo>
                    <a:lnTo>
                      <a:pt x="487775" y="325088"/>
                    </a:lnTo>
                    <a:lnTo>
                      <a:pt x="708088" y="325088"/>
                    </a:lnTo>
                    <a:cubicBezTo>
                      <a:pt x="710851" y="325088"/>
                      <a:pt x="713613" y="325088"/>
                      <a:pt x="716375" y="325469"/>
                    </a:cubicBezTo>
                    <a:cubicBezTo>
                      <a:pt x="738092" y="327565"/>
                      <a:pt x="758571" y="338519"/>
                      <a:pt x="758571" y="363760"/>
                    </a:cubicBezTo>
                    <a:cubicBezTo>
                      <a:pt x="758571" y="389001"/>
                      <a:pt x="738092" y="400050"/>
                      <a:pt x="716375" y="402145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42" name="Gruppieren 141">
            <a:extLst>
              <a:ext uri="{FF2B5EF4-FFF2-40B4-BE49-F238E27FC236}">
                <a16:creationId xmlns:a16="http://schemas.microsoft.com/office/drawing/2014/main" id="{860E8797-170E-B27E-2F1B-A88B4E6EDC4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03238" y="2911018"/>
            <a:ext cx="522288" cy="522288"/>
            <a:chOff x="503238" y="2804727"/>
            <a:chExt cx="522288" cy="522288"/>
          </a:xfrm>
        </p:grpSpPr>
        <p:sp>
          <p:nvSpPr>
            <p:cNvPr id="92" name="Ellipse 91">
              <a:extLst>
                <a:ext uri="{FF2B5EF4-FFF2-40B4-BE49-F238E27FC236}">
                  <a16:creationId xmlns:a16="http://schemas.microsoft.com/office/drawing/2014/main" id="{69978794-A2CD-EE29-41F0-EEB8FB42C9EF}"/>
                </a:ext>
              </a:extLst>
            </p:cNvPr>
            <p:cNvSpPr/>
            <p:nvPr/>
          </p:nvSpPr>
          <p:spPr bwMode="gray">
            <a:xfrm>
              <a:off x="503238" y="2804727"/>
              <a:ext cx="522288" cy="5222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pic>
          <p:nvPicPr>
            <p:cNvPr id="138" name="Grafik 137">
              <a:extLst>
                <a:ext uri="{FF2B5EF4-FFF2-40B4-BE49-F238E27FC236}">
                  <a16:creationId xmlns:a16="http://schemas.microsoft.com/office/drawing/2014/main" id="{2B64CA0A-D435-5F45-76ED-E7C6E6E7D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 bwMode="gray">
            <a:xfrm>
              <a:off x="548382" y="2834631"/>
              <a:ext cx="432000" cy="432000"/>
            </a:xfrm>
            <a:prstGeom prst="rect">
              <a:avLst/>
            </a:prstGeom>
          </p:spPr>
        </p:pic>
      </p:grpSp>
      <p:grpSp>
        <p:nvGrpSpPr>
          <p:cNvPr id="141" name="Gruppieren 140">
            <a:extLst>
              <a:ext uri="{FF2B5EF4-FFF2-40B4-BE49-F238E27FC236}">
                <a16:creationId xmlns:a16="http://schemas.microsoft.com/office/drawing/2014/main" id="{E7980293-6FC1-FF17-B00F-86F6D0DD44E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03239" y="3685518"/>
            <a:ext cx="522288" cy="522288"/>
            <a:chOff x="503239" y="3579227"/>
            <a:chExt cx="522288" cy="522288"/>
          </a:xfrm>
        </p:grpSpPr>
        <p:sp>
          <p:nvSpPr>
            <p:cNvPr id="80" name="Ellipse 79">
              <a:extLst>
                <a:ext uri="{FF2B5EF4-FFF2-40B4-BE49-F238E27FC236}">
                  <a16:creationId xmlns:a16="http://schemas.microsoft.com/office/drawing/2014/main" id="{E2E109F7-5640-D0D6-FAF0-819EB79897C9}"/>
                </a:ext>
              </a:extLst>
            </p:cNvPr>
            <p:cNvSpPr/>
            <p:nvPr/>
          </p:nvSpPr>
          <p:spPr bwMode="gray">
            <a:xfrm>
              <a:off x="503239" y="3579227"/>
              <a:ext cx="522288" cy="5222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 sz="1100">
                <a:solidFill>
                  <a:schemeClr val="tx1"/>
                </a:solidFill>
              </a:endParaRPr>
            </a:p>
          </p:txBody>
        </p:sp>
        <p:pic>
          <p:nvPicPr>
            <p:cNvPr id="140" name="Grafik 139">
              <a:extLst>
                <a:ext uri="{FF2B5EF4-FFF2-40B4-BE49-F238E27FC236}">
                  <a16:creationId xmlns:a16="http://schemas.microsoft.com/office/drawing/2014/main" id="{E920FFEE-F776-072C-9BBD-34A180BCD8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548383" y="3624371"/>
              <a:ext cx="432000" cy="432000"/>
            </a:xfrm>
            <a:prstGeom prst="rect">
              <a:avLst/>
            </a:prstGeom>
          </p:spPr>
        </p:pic>
      </p:grpSp>
      <p:sp>
        <p:nvSpPr>
          <p:cNvPr id="2" name="Ellipse 2">
            <a:extLst>
              <a:ext uri="{FF2B5EF4-FFF2-40B4-BE49-F238E27FC236}">
                <a16:creationId xmlns:a16="http://schemas.microsoft.com/office/drawing/2014/main" id="{228DD614-E495-75B8-5C40-F84B1150164C}"/>
              </a:ext>
            </a:extLst>
          </p:cNvPr>
          <p:cNvSpPr>
            <a:spLocks noChangeAspect="1"/>
          </p:cNvSpPr>
          <p:nvPr/>
        </p:nvSpPr>
        <p:spPr bwMode="gray">
          <a:xfrm>
            <a:off x="3674722" y="2067261"/>
            <a:ext cx="1366045" cy="1366045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" tIns="54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200" b="1">
                <a:solidFill>
                  <a:schemeClr val="bg1"/>
                </a:solidFill>
              </a:rPr>
              <a:t>Further 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bg1"/>
                </a:solidFill>
              </a:rPr>
              <a:t>information </a:t>
            </a:r>
            <a:br>
              <a:rPr lang="en-US" sz="1200" b="1">
                <a:solidFill>
                  <a:schemeClr val="bg1"/>
                </a:solidFill>
              </a:rPr>
            </a:br>
            <a:r>
              <a:rPr lang="en-US" sz="1200" b="1">
                <a:solidFill>
                  <a:schemeClr val="tx1"/>
                </a:solidFill>
              </a:rPr>
              <a:t>on the extranet</a:t>
            </a:r>
          </a:p>
        </p:txBody>
      </p:sp>
    </p:spTree>
    <p:extLst>
      <p:ext uri="{BB962C8B-B14F-4D97-AF65-F5344CB8AC3E}">
        <p14:creationId xmlns:p14="http://schemas.microsoft.com/office/powerpoint/2010/main" val="124715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25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42" presetClass="path" presetSubtype="0" decel="10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01719 -0.0003 L 3.61111E-6 -4.44444E-6 " pathEditMode="relative" rAng="0" ptsTypes="AA">
                                          <p:cBhvr>
                                            <p:cTn id="9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1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1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" dur="200" fill="hold"/>
                                            <p:tgtEl>
                                              <p:spTgt spid="1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200" fill="hold"/>
                                            <p:tgtEl>
                                              <p:spTgt spid="1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6" presetClass="emph" presetSubtype="0" fill="hold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16" dur="1000" fill="hold"/>
                                            <p:tgtEl>
                                              <p:spTgt spid="124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7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8" dur="250" fill="hold"/>
                                            <p:tgtEl>
                                              <p:spTgt spid="124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1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2" presetID="23" presetClass="entr" presetSubtype="16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200" fill="hold"/>
                                            <p:tgtEl>
                                              <p:spTgt spid="14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200" fill="hold"/>
                                            <p:tgtEl>
                                              <p:spTgt spid="14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6" presetID="6" presetClass="emph" presetSubtype="0" fill="hold" nodeType="withEffect" p14:presetBounceEnd="99000">
                                      <p:stCondLst>
                                        <p:cond delay="5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27" dur="1000" fill="hold"/>
                                            <p:tgtEl>
                                              <p:spTgt spid="14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8" presetID="6" presetClass="emph" presetSubtype="0" accel="50000" decel="5000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29" dur="250" fill="hold"/>
                                            <p:tgtEl>
                                              <p:spTgt spid="142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23" presetClass="entr" presetSubtype="16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5" dur="200" fill="hold"/>
                                            <p:tgtEl>
                                              <p:spTgt spid="14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200" fill="hold"/>
                                            <p:tgtEl>
                                              <p:spTgt spid="14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6" presetClass="emph" presetSubtype="0" fill="hold" nodeType="withEffect" p14:presetBounceEnd="99000">
                                      <p:stCondLst>
                                        <p:cond delay="100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38" dur="1000" fill="hold"/>
                                            <p:tgtEl>
                                              <p:spTgt spid="141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9" presetID="6" presetClass="emph" presetSubtype="0" accel="50000" decel="5000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Scale>
                                          <p:cBhvr>
                                            <p:cTn id="40" dur="250" fill="hold"/>
                                            <p:tgtEl>
                                              <p:spTgt spid="141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1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3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4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5" presetID="2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7" dur="2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2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6" presetClass="emph" presetSubtype="0" fill="hold" grpId="1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50" dur="1000" fill="hold"/>
                                            <p:tgtEl>
                                              <p:spTgt spid="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1" presetID="6" presetClass="emp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52" dur="250" fill="hold"/>
                                            <p:tgtEl>
                                              <p:spTgt spid="2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0" grpId="0"/>
          <p:bldP spid="40" grpId="1"/>
          <p:bldP spid="36" grpId="0"/>
          <p:bldP spid="37" grpId="0"/>
          <p:bldP spid="38" grpId="0"/>
          <p:bldP spid="2" grpId="0" animBg="1"/>
          <p:bldP spid="2" grpId="1" animBg="1"/>
          <p:bldP spid="2" grpId="2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25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42" presetClass="path" presetSubtype="0" decel="10000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-0.01719 -0.0003 L 3.61111E-6 -4.44444E-6 " pathEditMode="relative" rAng="0" ptsTypes="AA">
                                          <p:cBhvr>
                                            <p:cTn id="9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851" y="0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1" presetID="23" presetClass="entr" presetSubtype="16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3" dur="200" fill="hold"/>
                                            <p:tgtEl>
                                              <p:spTgt spid="1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200" fill="hold"/>
                                            <p:tgtEl>
                                              <p:spTgt spid="1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6" dur="1000" fill="hold"/>
                                            <p:tgtEl>
                                              <p:spTgt spid="124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7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8" dur="250" fill="hold"/>
                                            <p:tgtEl>
                                              <p:spTgt spid="124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1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2" presetID="23" presetClass="entr" presetSubtype="16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200" fill="hold"/>
                                            <p:tgtEl>
                                              <p:spTgt spid="14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200" fill="hold"/>
                                            <p:tgtEl>
                                              <p:spTgt spid="14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6" presetID="6" presetClass="emph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27" dur="1000" fill="hold"/>
                                            <p:tgtEl>
                                              <p:spTgt spid="14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8" presetID="6" presetClass="emph" presetSubtype="0" accel="50000" decel="5000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29" dur="250" fill="hold"/>
                                            <p:tgtEl>
                                              <p:spTgt spid="142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23" presetClass="entr" presetSubtype="16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5" dur="200" fill="hold"/>
                                            <p:tgtEl>
                                              <p:spTgt spid="14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200" fill="hold"/>
                                            <p:tgtEl>
                                              <p:spTgt spid="14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6" presetClass="emph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Scale>
                                          <p:cBhvr>
                                            <p:cTn id="38" dur="1000" fill="hold"/>
                                            <p:tgtEl>
                                              <p:spTgt spid="141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9" presetID="6" presetClass="emph" presetSubtype="0" accel="50000" decel="5000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animScale>
                                          <p:cBhvr>
                                            <p:cTn id="40" dur="250" fill="hold"/>
                                            <p:tgtEl>
                                              <p:spTgt spid="141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1" presetID="10" presetClass="entr" presetSubtype="0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3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4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5" presetID="2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7" dur="2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8" dur="2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6" presetClass="emp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50" dur="1000" fill="hold"/>
                                            <p:tgtEl>
                                              <p:spTgt spid="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1" presetID="6" presetClass="emp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52" dur="250" fill="hold"/>
                                            <p:tgtEl>
                                              <p:spTgt spid="2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0" grpId="0"/>
          <p:bldP spid="40" grpId="1"/>
          <p:bldP spid="36" grpId="0"/>
          <p:bldP spid="37" grpId="0"/>
          <p:bldP spid="38" grpId="0"/>
          <p:bldP spid="2" grpId="0" animBg="1"/>
          <p:bldP spid="2" grpId="1" animBg="1"/>
          <p:bldP spid="2" grpId="2" animBg="1"/>
        </p:bldLst>
      </p:timing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C88B462-BE5A-8516-DEAB-223E77CFF8AD}"/>
              </a:ext>
            </a:extLst>
          </p:cNvPr>
          <p:cNvSpPr txBox="1"/>
          <p:nvPr/>
        </p:nvSpPr>
        <p:spPr>
          <a:xfrm>
            <a:off x="431563" y="205743"/>
            <a:ext cx="542142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3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ravel agent suppo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E7DD4F-9913-8342-D5D8-F9153A2E88F5}"/>
              </a:ext>
            </a:extLst>
          </p:cNvPr>
          <p:cNvSpPr txBox="1"/>
          <p:nvPr/>
        </p:nvSpPr>
        <p:spPr>
          <a:xfrm>
            <a:off x="409314" y="1106255"/>
            <a:ext cx="544367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latin typeface="+mj-lt"/>
              </a:rPr>
              <a:t>USA: +I (800) 524-6975 </a:t>
            </a:r>
          </a:p>
          <a:p>
            <a:r>
              <a:rPr lang="en-US" sz="1400">
                <a:latin typeface="+mj-lt"/>
              </a:rPr>
              <a:t>Canada: +I (630) 467-8100 </a:t>
            </a:r>
          </a:p>
          <a:p>
            <a:r>
              <a:rPr lang="en-US" sz="1400">
                <a:latin typeface="+mj-lt"/>
              </a:rPr>
              <a:t>Groups: +1 (480) 443-5247</a:t>
            </a:r>
          </a:p>
          <a:p>
            <a:r>
              <a:rPr lang="en-US" sz="1400">
                <a:latin typeface="+mj-lt"/>
              </a:rPr>
              <a:t>North America: gds-help@condor.com</a:t>
            </a:r>
          </a:p>
          <a:p>
            <a:r>
              <a:rPr lang="en-US" sz="1400">
                <a:latin typeface="+mj-lt"/>
              </a:rPr>
              <a:t>Extranet: www.agent.condor.com </a:t>
            </a:r>
          </a:p>
        </p:txBody>
      </p:sp>
      <p:pic>
        <p:nvPicPr>
          <p:cNvPr id="6" name="Picture 5" descr="A picture containing sky, outdoor, nature, clouds&#10;&#10;Description automatically generated">
            <a:extLst>
              <a:ext uri="{FF2B5EF4-FFF2-40B4-BE49-F238E27FC236}">
                <a16:creationId xmlns:a16="http://schemas.microsoft.com/office/drawing/2014/main" id="{0BD9AF64-32DD-FF9A-3F62-E213836F267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47147"/>
          <a:stretch/>
        </p:blipFill>
        <p:spPr>
          <a:xfrm>
            <a:off x="0" y="2591544"/>
            <a:ext cx="9144000" cy="2551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5208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">
            <a:extLst>
              <a:ext uri="{FF2B5EF4-FFF2-40B4-BE49-F238E27FC236}">
                <a16:creationId xmlns:a16="http://schemas.microsoft.com/office/drawing/2014/main" id="{723AB60B-C19D-ABE5-E26E-50B98295BDA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009" r="9627"/>
          <a:stretch/>
        </p:blipFill>
        <p:spPr bwMode="gray">
          <a:xfrm>
            <a:off x="114826" y="1017427"/>
            <a:ext cx="5629524" cy="3914198"/>
          </a:xfrm>
          <a:prstGeom prst="rect">
            <a:avLst/>
          </a:prstGeom>
        </p:spPr>
      </p:pic>
      <p:sp>
        <p:nvSpPr>
          <p:cNvPr id="4" name="Isosceles Triangle 3"/>
          <p:cNvSpPr/>
          <p:nvPr/>
        </p:nvSpPr>
        <p:spPr>
          <a:xfrm>
            <a:off x="3949726" y="-22917"/>
            <a:ext cx="3096960" cy="5376582"/>
          </a:xfrm>
          <a:custGeom>
            <a:avLst/>
            <a:gdLst>
              <a:gd name="connsiteX0" fmla="*/ 0 w 7388078"/>
              <a:gd name="connsiteY0" fmla="*/ 14106414 h 14106414"/>
              <a:gd name="connsiteX1" fmla="*/ 3694039 w 7388078"/>
              <a:gd name="connsiteY1" fmla="*/ 0 h 14106414"/>
              <a:gd name="connsiteX2" fmla="*/ 7388078 w 7388078"/>
              <a:gd name="connsiteY2" fmla="*/ 14106414 h 14106414"/>
              <a:gd name="connsiteX3" fmla="*/ 0 w 7388078"/>
              <a:gd name="connsiteY3" fmla="*/ 14106414 h 14106414"/>
              <a:gd name="connsiteX0" fmla="*/ 0 w 7388078"/>
              <a:gd name="connsiteY0" fmla="*/ 13685499 h 13685499"/>
              <a:gd name="connsiteX1" fmla="*/ 3606953 w 7388078"/>
              <a:gd name="connsiteY1" fmla="*/ 0 h 13685499"/>
              <a:gd name="connsiteX2" fmla="*/ 7388078 w 7388078"/>
              <a:gd name="connsiteY2" fmla="*/ 13685499 h 13685499"/>
              <a:gd name="connsiteX3" fmla="*/ 0 w 7388078"/>
              <a:gd name="connsiteY3" fmla="*/ 13685499 h 13685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88078" h="13685499">
                <a:moveTo>
                  <a:pt x="0" y="13685499"/>
                </a:moveTo>
                <a:lnTo>
                  <a:pt x="3606953" y="0"/>
                </a:lnTo>
                <a:lnTo>
                  <a:pt x="7388078" y="13685499"/>
                </a:lnTo>
                <a:lnTo>
                  <a:pt x="0" y="13685499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>
              <a:solidFill>
                <a:srgbClr val="000C28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686395" y="4025385"/>
            <a:ext cx="2914580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1200" b="1">
                <a:solidFill>
                  <a:srgbClr val="000C28"/>
                </a:solidFill>
                <a:latin typeface="Arial" panose="020B0604020202020204" pitchFamily="34" charset="0"/>
                <a:ea typeface="Montserrat Bold" charset="0"/>
                <a:cs typeface="Arial" panose="020B0604020202020204" pitchFamily="34" charset="0"/>
              </a:rPr>
              <a:t>Complete renewal of the Condor fleet</a:t>
            </a:r>
          </a:p>
        </p:txBody>
      </p:sp>
      <p:sp>
        <p:nvSpPr>
          <p:cNvPr id="31" name="Subtitle 2"/>
          <p:cNvSpPr txBox="1">
            <a:spLocks/>
          </p:cNvSpPr>
          <p:nvPr/>
        </p:nvSpPr>
        <p:spPr>
          <a:xfrm>
            <a:off x="4640898" y="4220636"/>
            <a:ext cx="3603540" cy="676171"/>
          </a:xfrm>
          <a:prstGeom prst="rect">
            <a:avLst/>
          </a:prstGeom>
        </p:spPr>
        <p:txBody>
          <a:bodyPr vert="horz" wrap="square" lIns="81559" tIns="40779" rIns="81559" bIns="40779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613"/>
              </a:lnSpc>
            </a:pPr>
            <a:r>
              <a:rPr lang="en-US" sz="1013">
                <a:solidFill>
                  <a:srgbClr val="000C28"/>
                </a:solidFill>
                <a:latin typeface="Arial" panose="020B0604020202020204" pitchFamily="34" charset="0"/>
                <a:ea typeface="Montserrat Light" charset="0"/>
                <a:cs typeface="Arial" panose="020B0604020202020204" pitchFamily="34" charset="0"/>
              </a:rPr>
              <a:t>From summer 2024, Condor will operate all long haul NA flights with the brand new A330-900 NEO. 310 seats total with 94 premium seats.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435857" y="1107896"/>
            <a:ext cx="2254848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1200" b="1">
                <a:solidFill>
                  <a:srgbClr val="000C28"/>
                </a:solidFill>
                <a:latin typeface="Arial" panose="020B0604020202020204" pitchFamily="34" charset="0"/>
                <a:ea typeface="Montserrat Bold" charset="0"/>
                <a:cs typeface="Arial" panose="020B0604020202020204" pitchFamily="34" charset="0"/>
              </a:rPr>
              <a:t>Our hub in Frankfurt  </a:t>
            </a:r>
            <a:r>
              <a:rPr lang="en-US" sz="1200">
                <a:solidFill>
                  <a:srgbClr val="000C28"/>
                </a:solidFill>
                <a:latin typeface="Arial" panose="020B0604020202020204" pitchFamily="34" charset="0"/>
                <a:ea typeface="Montserrat Bold" charset="0"/>
                <a:cs typeface="Arial" panose="020B0604020202020204" pitchFamily="34" charset="0"/>
              </a:rPr>
              <a:t>[</a:t>
            </a:r>
            <a:r>
              <a:rPr lang="en-US" sz="1200" b="1">
                <a:solidFill>
                  <a:srgbClr val="000C28"/>
                </a:solidFill>
                <a:latin typeface="Arial" panose="020B0604020202020204" pitchFamily="34" charset="0"/>
                <a:ea typeface="Montserrat Bold" charset="0"/>
                <a:cs typeface="Arial" panose="020B0604020202020204" pitchFamily="34" charset="0"/>
              </a:rPr>
              <a:t> FRA </a:t>
            </a:r>
            <a:r>
              <a:rPr lang="en-US" sz="1200">
                <a:solidFill>
                  <a:srgbClr val="000C28"/>
                </a:solidFill>
                <a:latin typeface="Arial" panose="020B0604020202020204" pitchFamily="34" charset="0"/>
                <a:ea typeface="Montserrat Bold" charset="0"/>
                <a:cs typeface="Arial" panose="020B0604020202020204" pitchFamily="34" charset="0"/>
              </a:rPr>
              <a:t>]</a:t>
            </a:r>
            <a:endParaRPr lang="en-US" sz="1200" b="1">
              <a:solidFill>
                <a:srgbClr val="000C28"/>
              </a:solidFill>
              <a:latin typeface="Arial" panose="020B0604020202020204" pitchFamily="34" charset="0"/>
              <a:ea typeface="Montserrat Bold" charset="0"/>
              <a:cs typeface="Arial" panose="020B0604020202020204" pitchFamily="34" charset="0"/>
            </a:endParaRPr>
          </a:p>
        </p:txBody>
      </p:sp>
      <p:sp>
        <p:nvSpPr>
          <p:cNvPr id="33" name="Subtitle 2"/>
          <p:cNvSpPr txBox="1">
            <a:spLocks/>
          </p:cNvSpPr>
          <p:nvPr/>
        </p:nvSpPr>
        <p:spPr>
          <a:xfrm>
            <a:off x="5388387" y="1300640"/>
            <a:ext cx="3603540" cy="470987"/>
          </a:xfrm>
          <a:prstGeom prst="rect">
            <a:avLst/>
          </a:prstGeom>
        </p:spPr>
        <p:txBody>
          <a:bodyPr vert="horz" wrap="square" lIns="81559" tIns="40779" rIns="81559" bIns="40779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613"/>
              </a:lnSpc>
            </a:pPr>
            <a:r>
              <a:rPr lang="en-US" sz="1013">
                <a:solidFill>
                  <a:srgbClr val="000C28"/>
                </a:solidFill>
                <a:latin typeface="Arial" panose="020B0604020202020204" pitchFamily="34" charset="0"/>
                <a:ea typeface="Montserrat Light" charset="0"/>
                <a:cs typeface="Arial" panose="020B0604020202020204" pitchFamily="34" charset="0"/>
              </a:rPr>
              <a:t>Most of the European capitals can be reached in less than 3 hours flight time from our chosen </a:t>
            </a:r>
            <a:r>
              <a:rPr lang="en-US" sz="1013" err="1">
                <a:solidFill>
                  <a:srgbClr val="000C28"/>
                </a:solidFill>
                <a:latin typeface="Arial" panose="020B0604020202020204" pitchFamily="34" charset="0"/>
                <a:ea typeface="Montserrat Light" charset="0"/>
                <a:cs typeface="Arial" panose="020B0604020202020204" pitchFamily="34" charset="0"/>
              </a:rPr>
              <a:t>european</a:t>
            </a:r>
            <a:r>
              <a:rPr lang="en-US" sz="1013">
                <a:solidFill>
                  <a:srgbClr val="000C28"/>
                </a:solidFill>
                <a:latin typeface="Arial" panose="020B0604020202020204" pitchFamily="34" charset="0"/>
                <a:ea typeface="Montserrat Light" charset="0"/>
                <a:cs typeface="Arial" panose="020B0604020202020204" pitchFamily="34" charset="0"/>
              </a:rPr>
              <a:t> hub.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141694" y="2119295"/>
            <a:ext cx="2391104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1200" b="1" dirty="0">
                <a:solidFill>
                  <a:srgbClr val="000C28"/>
                </a:solidFill>
                <a:latin typeface="Arial" panose="020B0604020202020204" pitchFamily="34" charset="0"/>
                <a:ea typeface="Montserrat Bold" charset="0"/>
                <a:cs typeface="Arial" panose="020B0604020202020204" pitchFamily="34" charset="0"/>
              </a:rPr>
              <a:t>18 Gateways in North America</a:t>
            </a:r>
          </a:p>
        </p:txBody>
      </p:sp>
      <p:sp>
        <p:nvSpPr>
          <p:cNvPr id="35" name="Subtitle 2"/>
          <p:cNvSpPr txBox="1">
            <a:spLocks/>
          </p:cNvSpPr>
          <p:nvPr/>
        </p:nvSpPr>
        <p:spPr>
          <a:xfrm>
            <a:off x="5102745" y="2308530"/>
            <a:ext cx="4040064" cy="470987"/>
          </a:xfrm>
          <a:prstGeom prst="rect">
            <a:avLst/>
          </a:prstGeom>
        </p:spPr>
        <p:txBody>
          <a:bodyPr vert="horz" wrap="square" lIns="81559" tIns="40779" rIns="81559" bIns="40779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613"/>
              </a:lnSpc>
            </a:pPr>
            <a:r>
              <a:rPr lang="en-US" sz="1013">
                <a:solidFill>
                  <a:srgbClr val="000C28"/>
                </a:solidFill>
                <a:latin typeface="Arial" panose="020B0604020202020204" pitchFamily="34" charset="0"/>
                <a:ea typeface="Montserrat Light" charset="0"/>
                <a:cs typeface="Arial" panose="020B0604020202020204" pitchFamily="34" charset="0"/>
              </a:rPr>
              <a:t>Condor flies non-stop to NA Gateways with seasonal and full year schedules from twice a week to daily.</a:t>
            </a:r>
          </a:p>
        </p:txBody>
      </p:sp>
      <p:sp>
        <p:nvSpPr>
          <p:cNvPr id="36" name="Oval 35"/>
          <p:cNvSpPr/>
          <p:nvPr/>
        </p:nvSpPr>
        <p:spPr>
          <a:xfrm>
            <a:off x="4379061" y="2110254"/>
            <a:ext cx="600677" cy="60067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>
              <a:latin typeface="Open Sans Regular" charset="0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3905714" y="4054726"/>
            <a:ext cx="600677" cy="60067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>
              <a:latin typeface="Open Sans Regular" charset="0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4673224" y="1134737"/>
            <a:ext cx="600677" cy="60067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>
              <a:latin typeface="Open Sans Regular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895039" y="3047757"/>
            <a:ext cx="3025893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sz="1200" b="1">
                <a:solidFill>
                  <a:srgbClr val="000C28"/>
                </a:solidFill>
                <a:latin typeface="Arial" panose="020B0604020202020204" pitchFamily="34" charset="0"/>
                <a:ea typeface="Montserrat Bold" charset="0"/>
                <a:cs typeface="Arial" panose="020B0604020202020204" pitchFamily="34" charset="0"/>
              </a:rPr>
              <a:t>Affordable comfort across the Atlantic </a:t>
            </a:r>
          </a:p>
        </p:txBody>
      </p:sp>
      <p:sp>
        <p:nvSpPr>
          <p:cNvPr id="49" name="Subtitle 2"/>
          <p:cNvSpPr txBox="1">
            <a:spLocks/>
          </p:cNvSpPr>
          <p:nvPr/>
        </p:nvSpPr>
        <p:spPr>
          <a:xfrm>
            <a:off x="4848227" y="3246517"/>
            <a:ext cx="3603540" cy="470987"/>
          </a:xfrm>
          <a:prstGeom prst="rect">
            <a:avLst/>
          </a:prstGeom>
        </p:spPr>
        <p:txBody>
          <a:bodyPr vert="horz" wrap="square" lIns="81559" tIns="40779" rIns="81559" bIns="40779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613"/>
              </a:lnSpc>
            </a:pPr>
            <a:r>
              <a:rPr lang="en-US" sz="1013">
                <a:solidFill>
                  <a:srgbClr val="000C28"/>
                </a:solidFill>
                <a:latin typeface="Arial" panose="020B0604020202020204" pitchFamily="34" charset="0"/>
                <a:ea typeface="Montserrat Light" charset="0"/>
                <a:cs typeface="Arial" panose="020B0604020202020204" pitchFamily="34" charset="0"/>
              </a:rPr>
              <a:t>Many corporate partners value our well priced Business and Premium Class to and from Europe.</a:t>
            </a:r>
          </a:p>
        </p:txBody>
      </p:sp>
      <p:sp>
        <p:nvSpPr>
          <p:cNvPr id="50" name="Oval 49"/>
          <p:cNvSpPr/>
          <p:nvPr/>
        </p:nvSpPr>
        <p:spPr>
          <a:xfrm>
            <a:off x="4126390" y="3083114"/>
            <a:ext cx="600677" cy="60067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>
              <a:latin typeface="Open Sans Regular" charset="0"/>
            </a:endParaRPr>
          </a:p>
        </p:txBody>
      </p:sp>
      <p:pic>
        <p:nvPicPr>
          <p:cNvPr id="1027" name="Picture 3" descr="C:\Users\T5005703\Downloads\icons8-teilen-2-25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17147">
            <a:off x="4746450" y="1239047"/>
            <a:ext cx="369255" cy="369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T5005703\Downloads\icons8-karte-verwenden-240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9784" y="3156177"/>
            <a:ext cx="500489" cy="500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T5005703\Downloads\icons8-mastercard-kreditkarte-48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0698" y="4237143"/>
            <a:ext cx="328886" cy="333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ounded Rectangle 1"/>
          <p:cNvSpPr/>
          <p:nvPr/>
        </p:nvSpPr>
        <p:spPr>
          <a:xfrm>
            <a:off x="3949726" y="4234799"/>
            <a:ext cx="312539" cy="166775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pic>
        <p:nvPicPr>
          <p:cNvPr id="1030" name="Picture 6" descr="C:\Users\T5005703\Downloads\icons8-visa-500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318" y="4176572"/>
            <a:ext cx="283360" cy="268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 descr="C:\Users\T5005703\Downloads\icons8-airport-100 (1)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562" y="2230468"/>
            <a:ext cx="357188" cy="357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4B863A44-3221-47A9-B47A-E5BE61B5FA95}"/>
              </a:ext>
            </a:extLst>
          </p:cNvPr>
          <p:cNvSpPr/>
          <p:nvPr/>
        </p:nvSpPr>
        <p:spPr>
          <a:xfrm>
            <a:off x="3091051" y="374330"/>
            <a:ext cx="2606704" cy="643097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24" name="TextBox 23"/>
          <p:cNvSpPr txBox="1"/>
          <p:nvPr/>
        </p:nvSpPr>
        <p:spPr>
          <a:xfrm>
            <a:off x="3316688" y="477605"/>
            <a:ext cx="2510624" cy="5796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3750"/>
              </a:lnSpc>
            </a:pPr>
            <a:r>
              <a:rPr lang="en-US" sz="3600" b="1">
                <a:solidFill>
                  <a:srgbClr val="000C28"/>
                </a:solidFill>
                <a:latin typeface="Montserrat Bold" charset="0"/>
                <a:ea typeface="Montserrat Bold" charset="0"/>
                <a:cs typeface="Montserrat Bold" charset="0"/>
              </a:rPr>
              <a:t>The Facts</a:t>
            </a:r>
          </a:p>
        </p:txBody>
      </p:sp>
    </p:spTree>
    <p:extLst>
      <p:ext uri="{BB962C8B-B14F-4D97-AF65-F5344CB8AC3E}">
        <p14:creationId xmlns:p14="http://schemas.microsoft.com/office/powerpoint/2010/main" val="95726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8 -0.00031 L -2.5E-6 4.93827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Freeform 40"/>
          <p:cNvSpPr/>
          <p:nvPr/>
        </p:nvSpPr>
        <p:spPr>
          <a:xfrm>
            <a:off x="6787519" y="1659469"/>
            <a:ext cx="428178" cy="600859"/>
          </a:xfrm>
          <a:custGeom>
            <a:avLst/>
            <a:gdLst>
              <a:gd name="connsiteX0" fmla="*/ 1080847 w 1141807"/>
              <a:gd name="connsiteY0" fmla="*/ 1332610 h 1602291"/>
              <a:gd name="connsiteX1" fmla="*/ 905587 w 1141807"/>
              <a:gd name="connsiteY1" fmla="*/ 1462150 h 1602291"/>
              <a:gd name="connsiteX2" fmla="*/ 638887 w 1141807"/>
              <a:gd name="connsiteY2" fmla="*/ 1401190 h 1602291"/>
              <a:gd name="connsiteX3" fmla="*/ 189307 w 1141807"/>
              <a:gd name="connsiteY3" fmla="*/ 1599310 h 1602291"/>
              <a:gd name="connsiteX4" fmla="*/ 120727 w 1141807"/>
              <a:gd name="connsiteY4" fmla="*/ 1515490 h 1602291"/>
              <a:gd name="connsiteX5" fmla="*/ 273127 w 1141807"/>
              <a:gd name="connsiteY5" fmla="*/ 1446910 h 1602291"/>
              <a:gd name="connsiteX6" fmla="*/ 410287 w 1141807"/>
              <a:gd name="connsiteY6" fmla="*/ 1370710 h 1602291"/>
              <a:gd name="connsiteX7" fmla="*/ 204547 w 1141807"/>
              <a:gd name="connsiteY7" fmla="*/ 1309750 h 1602291"/>
              <a:gd name="connsiteX8" fmla="*/ 280747 w 1141807"/>
              <a:gd name="connsiteY8" fmla="*/ 1195450 h 1602291"/>
              <a:gd name="connsiteX9" fmla="*/ 311227 w 1141807"/>
              <a:gd name="connsiteY9" fmla="*/ 1096390 h 1602291"/>
              <a:gd name="connsiteX10" fmla="*/ 364567 w 1141807"/>
              <a:gd name="connsiteY10" fmla="*/ 921130 h 1602291"/>
              <a:gd name="connsiteX11" fmla="*/ 478867 w 1141807"/>
              <a:gd name="connsiteY11" fmla="*/ 913510 h 1602291"/>
              <a:gd name="connsiteX12" fmla="*/ 417907 w 1141807"/>
              <a:gd name="connsiteY12" fmla="*/ 753490 h 1602291"/>
              <a:gd name="connsiteX13" fmla="*/ 257887 w 1141807"/>
              <a:gd name="connsiteY13" fmla="*/ 745870 h 1602291"/>
              <a:gd name="connsiteX14" fmla="*/ 189307 w 1141807"/>
              <a:gd name="connsiteY14" fmla="*/ 585850 h 1602291"/>
              <a:gd name="connsiteX15" fmla="*/ 29287 w 1141807"/>
              <a:gd name="connsiteY15" fmla="*/ 395350 h 1602291"/>
              <a:gd name="connsiteX16" fmla="*/ 14047 w 1141807"/>
              <a:gd name="connsiteY16" fmla="*/ 181990 h 1602291"/>
              <a:gd name="connsiteX17" fmla="*/ 181687 w 1141807"/>
              <a:gd name="connsiteY17" fmla="*/ 174370 h 1602291"/>
              <a:gd name="connsiteX18" fmla="*/ 189307 w 1141807"/>
              <a:gd name="connsiteY18" fmla="*/ 113410 h 1602291"/>
              <a:gd name="connsiteX19" fmla="*/ 433147 w 1141807"/>
              <a:gd name="connsiteY19" fmla="*/ 14350 h 1602291"/>
              <a:gd name="connsiteX20" fmla="*/ 600787 w 1141807"/>
              <a:gd name="connsiteY20" fmla="*/ 14350 h 1602291"/>
              <a:gd name="connsiteX21" fmla="*/ 410287 w 1141807"/>
              <a:gd name="connsiteY21" fmla="*/ 143890 h 1602291"/>
              <a:gd name="connsiteX22" fmla="*/ 699847 w 1141807"/>
              <a:gd name="connsiteY22" fmla="*/ 204850 h 1602291"/>
              <a:gd name="connsiteX23" fmla="*/ 562687 w 1141807"/>
              <a:gd name="connsiteY23" fmla="*/ 410590 h 1602291"/>
              <a:gd name="connsiteX24" fmla="*/ 692227 w 1141807"/>
              <a:gd name="connsiteY24" fmla="*/ 601090 h 1602291"/>
              <a:gd name="connsiteX25" fmla="*/ 875107 w 1141807"/>
              <a:gd name="connsiteY25" fmla="*/ 791590 h 1602291"/>
              <a:gd name="connsiteX26" fmla="*/ 783667 w 1141807"/>
              <a:gd name="connsiteY26" fmla="*/ 852550 h 1602291"/>
              <a:gd name="connsiteX27" fmla="*/ 943687 w 1141807"/>
              <a:gd name="connsiteY27" fmla="*/ 921130 h 1602291"/>
              <a:gd name="connsiteX28" fmla="*/ 981787 w 1141807"/>
              <a:gd name="connsiteY28" fmla="*/ 1058290 h 1602291"/>
              <a:gd name="connsiteX29" fmla="*/ 1111327 w 1141807"/>
              <a:gd name="connsiteY29" fmla="*/ 1073530 h 1602291"/>
              <a:gd name="connsiteX30" fmla="*/ 1141807 w 1141807"/>
              <a:gd name="connsiteY30" fmla="*/ 1233550 h 1602291"/>
              <a:gd name="connsiteX31" fmla="*/ 1080847 w 1141807"/>
              <a:gd name="connsiteY31" fmla="*/ 1332610 h 160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141807" h="1602291">
                <a:moveTo>
                  <a:pt x="1080847" y="1332610"/>
                </a:moveTo>
                <a:cubicBezTo>
                  <a:pt x="1041477" y="1370710"/>
                  <a:pt x="979247" y="1450720"/>
                  <a:pt x="905587" y="1462150"/>
                </a:cubicBezTo>
                <a:cubicBezTo>
                  <a:pt x="831927" y="1473580"/>
                  <a:pt x="758267" y="1378330"/>
                  <a:pt x="638887" y="1401190"/>
                </a:cubicBezTo>
                <a:cubicBezTo>
                  <a:pt x="519507" y="1424050"/>
                  <a:pt x="275667" y="1580260"/>
                  <a:pt x="189307" y="1599310"/>
                </a:cubicBezTo>
                <a:cubicBezTo>
                  <a:pt x="102947" y="1618360"/>
                  <a:pt x="106757" y="1540890"/>
                  <a:pt x="120727" y="1515490"/>
                </a:cubicBezTo>
                <a:cubicBezTo>
                  <a:pt x="134697" y="1490090"/>
                  <a:pt x="224867" y="1471040"/>
                  <a:pt x="273127" y="1446910"/>
                </a:cubicBezTo>
                <a:cubicBezTo>
                  <a:pt x="321387" y="1422780"/>
                  <a:pt x="421717" y="1393570"/>
                  <a:pt x="410287" y="1370710"/>
                </a:cubicBezTo>
                <a:cubicBezTo>
                  <a:pt x="398857" y="1347850"/>
                  <a:pt x="226137" y="1338960"/>
                  <a:pt x="204547" y="1309750"/>
                </a:cubicBezTo>
                <a:cubicBezTo>
                  <a:pt x="182957" y="1280540"/>
                  <a:pt x="262967" y="1231010"/>
                  <a:pt x="280747" y="1195450"/>
                </a:cubicBezTo>
                <a:cubicBezTo>
                  <a:pt x="298527" y="1159890"/>
                  <a:pt x="297257" y="1142110"/>
                  <a:pt x="311227" y="1096390"/>
                </a:cubicBezTo>
                <a:cubicBezTo>
                  <a:pt x="325197" y="1050670"/>
                  <a:pt x="336627" y="951610"/>
                  <a:pt x="364567" y="921130"/>
                </a:cubicBezTo>
                <a:cubicBezTo>
                  <a:pt x="392507" y="890650"/>
                  <a:pt x="469977" y="941450"/>
                  <a:pt x="478867" y="913510"/>
                </a:cubicBezTo>
                <a:cubicBezTo>
                  <a:pt x="487757" y="885570"/>
                  <a:pt x="454737" y="781430"/>
                  <a:pt x="417907" y="753490"/>
                </a:cubicBezTo>
                <a:cubicBezTo>
                  <a:pt x="381077" y="725550"/>
                  <a:pt x="295987" y="773810"/>
                  <a:pt x="257887" y="745870"/>
                </a:cubicBezTo>
                <a:cubicBezTo>
                  <a:pt x="219787" y="717930"/>
                  <a:pt x="227407" y="644270"/>
                  <a:pt x="189307" y="585850"/>
                </a:cubicBezTo>
                <a:cubicBezTo>
                  <a:pt x="151207" y="527430"/>
                  <a:pt x="58497" y="462660"/>
                  <a:pt x="29287" y="395350"/>
                </a:cubicBezTo>
                <a:cubicBezTo>
                  <a:pt x="77" y="328040"/>
                  <a:pt x="-11353" y="218820"/>
                  <a:pt x="14047" y="181990"/>
                </a:cubicBezTo>
                <a:cubicBezTo>
                  <a:pt x="39447" y="145160"/>
                  <a:pt x="152477" y="185800"/>
                  <a:pt x="181687" y="174370"/>
                </a:cubicBezTo>
                <a:cubicBezTo>
                  <a:pt x="210897" y="162940"/>
                  <a:pt x="147397" y="140080"/>
                  <a:pt x="189307" y="113410"/>
                </a:cubicBezTo>
                <a:cubicBezTo>
                  <a:pt x="231217" y="86740"/>
                  <a:pt x="364567" y="30860"/>
                  <a:pt x="433147" y="14350"/>
                </a:cubicBezTo>
                <a:cubicBezTo>
                  <a:pt x="501727" y="-2160"/>
                  <a:pt x="604597" y="-7240"/>
                  <a:pt x="600787" y="14350"/>
                </a:cubicBezTo>
                <a:cubicBezTo>
                  <a:pt x="596977" y="35940"/>
                  <a:pt x="393777" y="112140"/>
                  <a:pt x="410287" y="143890"/>
                </a:cubicBezTo>
                <a:cubicBezTo>
                  <a:pt x="426797" y="175640"/>
                  <a:pt x="674447" y="160400"/>
                  <a:pt x="699847" y="204850"/>
                </a:cubicBezTo>
                <a:cubicBezTo>
                  <a:pt x="725247" y="249300"/>
                  <a:pt x="563957" y="344550"/>
                  <a:pt x="562687" y="410590"/>
                </a:cubicBezTo>
                <a:cubicBezTo>
                  <a:pt x="561417" y="476630"/>
                  <a:pt x="640157" y="537590"/>
                  <a:pt x="692227" y="601090"/>
                </a:cubicBezTo>
                <a:cubicBezTo>
                  <a:pt x="744297" y="664590"/>
                  <a:pt x="859867" y="749680"/>
                  <a:pt x="875107" y="791590"/>
                </a:cubicBezTo>
                <a:cubicBezTo>
                  <a:pt x="890347" y="833500"/>
                  <a:pt x="772237" y="830960"/>
                  <a:pt x="783667" y="852550"/>
                </a:cubicBezTo>
                <a:cubicBezTo>
                  <a:pt x="795097" y="874140"/>
                  <a:pt x="910667" y="886840"/>
                  <a:pt x="943687" y="921130"/>
                </a:cubicBezTo>
                <a:cubicBezTo>
                  <a:pt x="976707" y="955420"/>
                  <a:pt x="953847" y="1032890"/>
                  <a:pt x="981787" y="1058290"/>
                </a:cubicBezTo>
                <a:cubicBezTo>
                  <a:pt x="1009727" y="1083690"/>
                  <a:pt x="1084657" y="1044320"/>
                  <a:pt x="1111327" y="1073530"/>
                </a:cubicBezTo>
                <a:cubicBezTo>
                  <a:pt x="1137997" y="1102740"/>
                  <a:pt x="1148157" y="1187830"/>
                  <a:pt x="1141807" y="1233550"/>
                </a:cubicBezTo>
                <a:cubicBezTo>
                  <a:pt x="1135457" y="1279270"/>
                  <a:pt x="1120217" y="1294510"/>
                  <a:pt x="1080847" y="1332610"/>
                </a:cubicBezTo>
                <a:close/>
              </a:path>
            </a:pathLst>
          </a:cu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4" name="Freeform 3"/>
          <p:cNvSpPr/>
          <p:nvPr/>
        </p:nvSpPr>
        <p:spPr>
          <a:xfrm>
            <a:off x="6686659" y="1684572"/>
            <a:ext cx="1484471" cy="1413921"/>
          </a:xfrm>
          <a:custGeom>
            <a:avLst/>
            <a:gdLst>
              <a:gd name="connsiteX0" fmla="*/ 3785666 w 3958588"/>
              <a:gd name="connsiteY0" fmla="*/ 3265918 h 3770457"/>
              <a:gd name="connsiteX1" fmla="*/ 3677716 w 3958588"/>
              <a:gd name="connsiteY1" fmla="*/ 2865868 h 3770457"/>
              <a:gd name="connsiteX2" fmla="*/ 3677716 w 3958588"/>
              <a:gd name="connsiteY2" fmla="*/ 2757918 h 3770457"/>
              <a:gd name="connsiteX3" fmla="*/ 3112566 w 3958588"/>
              <a:gd name="connsiteY3" fmla="*/ 2421368 h 3770457"/>
              <a:gd name="connsiteX4" fmla="*/ 2883966 w 3958588"/>
              <a:gd name="connsiteY4" fmla="*/ 2224518 h 3770457"/>
              <a:gd name="connsiteX5" fmla="*/ 2699816 w 3958588"/>
              <a:gd name="connsiteY5" fmla="*/ 2294368 h 3770457"/>
              <a:gd name="connsiteX6" fmla="*/ 2788716 w 3958588"/>
              <a:gd name="connsiteY6" fmla="*/ 2453118 h 3770457"/>
              <a:gd name="connsiteX7" fmla="*/ 2909366 w 3958588"/>
              <a:gd name="connsiteY7" fmla="*/ 2554718 h 3770457"/>
              <a:gd name="connsiteX8" fmla="*/ 2947466 w 3958588"/>
              <a:gd name="connsiteY8" fmla="*/ 2707118 h 3770457"/>
              <a:gd name="connsiteX9" fmla="*/ 3118916 w 3958588"/>
              <a:gd name="connsiteY9" fmla="*/ 2770618 h 3770457"/>
              <a:gd name="connsiteX10" fmla="*/ 3328466 w 3958588"/>
              <a:gd name="connsiteY10" fmla="*/ 2865868 h 3770457"/>
              <a:gd name="connsiteX11" fmla="*/ 3576116 w 3958588"/>
              <a:gd name="connsiteY11" fmla="*/ 3024618 h 3770457"/>
              <a:gd name="connsiteX12" fmla="*/ 3531666 w 3958588"/>
              <a:gd name="connsiteY12" fmla="*/ 3100818 h 3770457"/>
              <a:gd name="connsiteX13" fmla="*/ 3455466 w 3958588"/>
              <a:gd name="connsiteY13" fmla="*/ 3075418 h 3770457"/>
              <a:gd name="connsiteX14" fmla="*/ 3487216 w 3958588"/>
              <a:gd name="connsiteY14" fmla="*/ 3164318 h 3770457"/>
              <a:gd name="connsiteX15" fmla="*/ 3423716 w 3958588"/>
              <a:gd name="connsiteY15" fmla="*/ 3437368 h 3770457"/>
              <a:gd name="connsiteX16" fmla="*/ 3334816 w 3958588"/>
              <a:gd name="connsiteY16" fmla="*/ 3526268 h 3770457"/>
              <a:gd name="connsiteX17" fmla="*/ 3284016 w 3958588"/>
              <a:gd name="connsiteY17" fmla="*/ 3488168 h 3770457"/>
              <a:gd name="connsiteX18" fmla="*/ 3277666 w 3958588"/>
              <a:gd name="connsiteY18" fmla="*/ 3221468 h 3770457"/>
              <a:gd name="connsiteX19" fmla="*/ 3137966 w 3958588"/>
              <a:gd name="connsiteY19" fmla="*/ 3069068 h 3770457"/>
              <a:gd name="connsiteX20" fmla="*/ 2725216 w 3958588"/>
              <a:gd name="connsiteY20" fmla="*/ 2872218 h 3770457"/>
              <a:gd name="connsiteX21" fmla="*/ 2534716 w 3958588"/>
              <a:gd name="connsiteY21" fmla="*/ 2611868 h 3770457"/>
              <a:gd name="connsiteX22" fmla="*/ 2407716 w 3958588"/>
              <a:gd name="connsiteY22" fmla="*/ 2459468 h 3770457"/>
              <a:gd name="connsiteX23" fmla="*/ 2299766 w 3958588"/>
              <a:gd name="connsiteY23" fmla="*/ 2567418 h 3770457"/>
              <a:gd name="connsiteX24" fmla="*/ 2058466 w 3958588"/>
              <a:gd name="connsiteY24" fmla="*/ 2624568 h 3770457"/>
              <a:gd name="connsiteX25" fmla="*/ 1880666 w 3958588"/>
              <a:gd name="connsiteY25" fmla="*/ 2542018 h 3770457"/>
              <a:gd name="connsiteX26" fmla="*/ 1658416 w 3958588"/>
              <a:gd name="connsiteY26" fmla="*/ 2611868 h 3770457"/>
              <a:gd name="connsiteX27" fmla="*/ 1728266 w 3958588"/>
              <a:gd name="connsiteY27" fmla="*/ 2738868 h 3770457"/>
              <a:gd name="connsiteX28" fmla="*/ 1442516 w 3958588"/>
              <a:gd name="connsiteY28" fmla="*/ 2802368 h 3770457"/>
              <a:gd name="connsiteX29" fmla="*/ 1271066 w 3958588"/>
              <a:gd name="connsiteY29" fmla="*/ 3018268 h 3770457"/>
              <a:gd name="connsiteX30" fmla="*/ 1188516 w 3958588"/>
              <a:gd name="connsiteY30" fmla="*/ 3221468 h 3770457"/>
              <a:gd name="connsiteX31" fmla="*/ 1232966 w 3958588"/>
              <a:gd name="connsiteY31" fmla="*/ 3450068 h 3770457"/>
              <a:gd name="connsiteX32" fmla="*/ 1036116 w 3958588"/>
              <a:gd name="connsiteY32" fmla="*/ 3545318 h 3770457"/>
              <a:gd name="connsiteX33" fmla="*/ 674166 w 3958588"/>
              <a:gd name="connsiteY33" fmla="*/ 3577068 h 3770457"/>
              <a:gd name="connsiteX34" fmla="*/ 636066 w 3958588"/>
              <a:gd name="connsiteY34" fmla="*/ 3691368 h 3770457"/>
              <a:gd name="connsiteX35" fmla="*/ 509066 w 3958588"/>
              <a:gd name="connsiteY35" fmla="*/ 3729468 h 3770457"/>
              <a:gd name="connsiteX36" fmla="*/ 324916 w 3958588"/>
              <a:gd name="connsiteY36" fmla="*/ 3767568 h 3770457"/>
              <a:gd name="connsiteX37" fmla="*/ 267766 w 3958588"/>
              <a:gd name="connsiteY37" fmla="*/ 3646918 h 3770457"/>
              <a:gd name="connsiteX38" fmla="*/ 172516 w 3958588"/>
              <a:gd name="connsiteY38" fmla="*/ 3570718 h 3770457"/>
              <a:gd name="connsiteX39" fmla="*/ 7416 w 3958588"/>
              <a:gd name="connsiteY39" fmla="*/ 3564368 h 3770457"/>
              <a:gd name="connsiteX40" fmla="*/ 39166 w 3958588"/>
              <a:gd name="connsiteY40" fmla="*/ 3411968 h 3770457"/>
              <a:gd name="connsiteX41" fmla="*/ 134416 w 3958588"/>
              <a:gd name="connsiteY41" fmla="*/ 3304018 h 3770457"/>
              <a:gd name="connsiteX42" fmla="*/ 39166 w 3958588"/>
              <a:gd name="connsiteY42" fmla="*/ 3132568 h 3770457"/>
              <a:gd name="connsiteX43" fmla="*/ 70916 w 3958588"/>
              <a:gd name="connsiteY43" fmla="*/ 2916668 h 3770457"/>
              <a:gd name="connsiteX44" fmla="*/ 58216 w 3958588"/>
              <a:gd name="connsiteY44" fmla="*/ 2745218 h 3770457"/>
              <a:gd name="connsiteX45" fmla="*/ 121716 w 3958588"/>
              <a:gd name="connsiteY45" fmla="*/ 2669018 h 3770457"/>
              <a:gd name="connsiteX46" fmla="*/ 20116 w 3958588"/>
              <a:gd name="connsiteY46" fmla="*/ 2516618 h 3770457"/>
              <a:gd name="connsiteX47" fmla="*/ 255066 w 3958588"/>
              <a:gd name="connsiteY47" fmla="*/ 2395968 h 3770457"/>
              <a:gd name="connsiteX48" fmla="*/ 439216 w 3958588"/>
              <a:gd name="connsiteY48" fmla="*/ 2510268 h 3770457"/>
              <a:gd name="connsiteX49" fmla="*/ 699566 w 3958588"/>
              <a:gd name="connsiteY49" fmla="*/ 2503918 h 3770457"/>
              <a:gd name="connsiteX50" fmla="*/ 871016 w 3958588"/>
              <a:gd name="connsiteY50" fmla="*/ 2453118 h 3770457"/>
              <a:gd name="connsiteX51" fmla="*/ 1048816 w 3958588"/>
              <a:gd name="connsiteY51" fmla="*/ 2465818 h 3770457"/>
              <a:gd name="connsiteX52" fmla="*/ 1125016 w 3958588"/>
              <a:gd name="connsiteY52" fmla="*/ 2345168 h 3770457"/>
              <a:gd name="connsiteX53" fmla="*/ 998016 w 3958588"/>
              <a:gd name="connsiteY53" fmla="*/ 2218168 h 3770457"/>
              <a:gd name="connsiteX54" fmla="*/ 1023416 w 3958588"/>
              <a:gd name="connsiteY54" fmla="*/ 2034018 h 3770457"/>
              <a:gd name="connsiteX55" fmla="*/ 864666 w 3958588"/>
              <a:gd name="connsiteY55" fmla="*/ 1951468 h 3770457"/>
              <a:gd name="connsiteX56" fmla="*/ 540816 w 3958588"/>
              <a:gd name="connsiteY56" fmla="*/ 1894318 h 3770457"/>
              <a:gd name="connsiteX57" fmla="*/ 477316 w 3958588"/>
              <a:gd name="connsiteY57" fmla="*/ 1786368 h 3770457"/>
              <a:gd name="connsiteX58" fmla="*/ 655116 w 3958588"/>
              <a:gd name="connsiteY58" fmla="*/ 1741918 h 3770457"/>
              <a:gd name="connsiteX59" fmla="*/ 693216 w 3958588"/>
              <a:gd name="connsiteY59" fmla="*/ 1697468 h 3770457"/>
              <a:gd name="connsiteX60" fmla="*/ 909116 w 3958588"/>
              <a:gd name="connsiteY60" fmla="*/ 1716518 h 3770457"/>
              <a:gd name="connsiteX61" fmla="*/ 1093266 w 3958588"/>
              <a:gd name="connsiteY61" fmla="*/ 1710168 h 3770457"/>
              <a:gd name="connsiteX62" fmla="*/ 1093266 w 3958588"/>
              <a:gd name="connsiteY62" fmla="*/ 1627618 h 3770457"/>
              <a:gd name="connsiteX63" fmla="*/ 1093266 w 3958588"/>
              <a:gd name="connsiteY63" fmla="*/ 1538718 h 3770457"/>
              <a:gd name="connsiteX64" fmla="*/ 1366316 w 3958588"/>
              <a:gd name="connsiteY64" fmla="*/ 1532368 h 3770457"/>
              <a:gd name="connsiteX65" fmla="*/ 1398066 w 3958588"/>
              <a:gd name="connsiteY65" fmla="*/ 1399018 h 3770457"/>
              <a:gd name="connsiteX66" fmla="*/ 1588566 w 3958588"/>
              <a:gd name="connsiteY66" fmla="*/ 1348218 h 3770457"/>
              <a:gd name="connsiteX67" fmla="*/ 1588566 w 3958588"/>
              <a:gd name="connsiteY67" fmla="*/ 1278368 h 3770457"/>
              <a:gd name="connsiteX68" fmla="*/ 1728266 w 3958588"/>
              <a:gd name="connsiteY68" fmla="*/ 1240268 h 3770457"/>
              <a:gd name="connsiteX69" fmla="*/ 1779066 w 3958588"/>
              <a:gd name="connsiteY69" fmla="*/ 960868 h 3770457"/>
              <a:gd name="connsiteX70" fmla="*/ 1842566 w 3958588"/>
              <a:gd name="connsiteY70" fmla="*/ 846568 h 3770457"/>
              <a:gd name="connsiteX71" fmla="*/ 2052116 w 3958588"/>
              <a:gd name="connsiteY71" fmla="*/ 808468 h 3770457"/>
              <a:gd name="connsiteX72" fmla="*/ 2090216 w 3958588"/>
              <a:gd name="connsiteY72" fmla="*/ 884668 h 3770457"/>
              <a:gd name="connsiteX73" fmla="*/ 2356916 w 3958588"/>
              <a:gd name="connsiteY73" fmla="*/ 814818 h 3770457"/>
              <a:gd name="connsiteX74" fmla="*/ 2496616 w 3958588"/>
              <a:gd name="connsiteY74" fmla="*/ 764018 h 3770457"/>
              <a:gd name="connsiteX75" fmla="*/ 2325166 w 3958588"/>
              <a:gd name="connsiteY75" fmla="*/ 598918 h 3770457"/>
              <a:gd name="connsiteX76" fmla="*/ 2439466 w 3958588"/>
              <a:gd name="connsiteY76" fmla="*/ 484618 h 3770457"/>
              <a:gd name="connsiteX77" fmla="*/ 2401366 w 3958588"/>
              <a:gd name="connsiteY77" fmla="*/ 344918 h 3770457"/>
              <a:gd name="connsiteX78" fmla="*/ 2426766 w 3958588"/>
              <a:gd name="connsiteY78" fmla="*/ 268718 h 3770457"/>
              <a:gd name="connsiteX79" fmla="*/ 2541066 w 3958588"/>
              <a:gd name="connsiteY79" fmla="*/ 211568 h 3770457"/>
              <a:gd name="connsiteX80" fmla="*/ 2534716 w 3958588"/>
              <a:gd name="connsiteY80" fmla="*/ 59168 h 3770457"/>
              <a:gd name="connsiteX81" fmla="*/ 2572816 w 3958588"/>
              <a:gd name="connsiteY81" fmla="*/ 2018 h 3770457"/>
              <a:gd name="connsiteX82" fmla="*/ 2661716 w 3958588"/>
              <a:gd name="connsiteY82" fmla="*/ 122668 h 3770457"/>
              <a:gd name="connsiteX83" fmla="*/ 2737916 w 3958588"/>
              <a:gd name="connsiteY83" fmla="*/ 230618 h 3770457"/>
              <a:gd name="connsiteX84" fmla="*/ 2623616 w 3958588"/>
              <a:gd name="connsiteY84" fmla="*/ 370318 h 3770457"/>
              <a:gd name="connsiteX85" fmla="*/ 2649016 w 3958588"/>
              <a:gd name="connsiteY85" fmla="*/ 459218 h 3770457"/>
              <a:gd name="connsiteX86" fmla="*/ 2661716 w 3958588"/>
              <a:gd name="connsiteY86" fmla="*/ 541768 h 3770457"/>
              <a:gd name="connsiteX87" fmla="*/ 2566466 w 3958588"/>
              <a:gd name="connsiteY87" fmla="*/ 656068 h 3770457"/>
              <a:gd name="connsiteX88" fmla="*/ 2687116 w 3958588"/>
              <a:gd name="connsiteY88" fmla="*/ 694168 h 3770457"/>
              <a:gd name="connsiteX89" fmla="*/ 2763316 w 3958588"/>
              <a:gd name="connsiteY89" fmla="*/ 668768 h 3770457"/>
              <a:gd name="connsiteX90" fmla="*/ 2756966 w 3958588"/>
              <a:gd name="connsiteY90" fmla="*/ 808468 h 3770457"/>
              <a:gd name="connsiteX91" fmla="*/ 2947466 w 3958588"/>
              <a:gd name="connsiteY91" fmla="*/ 744968 h 3770457"/>
              <a:gd name="connsiteX92" fmla="*/ 2991916 w 3958588"/>
              <a:gd name="connsiteY92" fmla="*/ 732268 h 3770457"/>
              <a:gd name="connsiteX93" fmla="*/ 3093516 w 3958588"/>
              <a:gd name="connsiteY93" fmla="*/ 770368 h 3770457"/>
              <a:gd name="connsiteX94" fmla="*/ 3169716 w 3958588"/>
              <a:gd name="connsiteY94" fmla="*/ 764018 h 3770457"/>
              <a:gd name="connsiteX95" fmla="*/ 3226866 w 3958588"/>
              <a:gd name="connsiteY95" fmla="*/ 706868 h 3770457"/>
              <a:gd name="connsiteX96" fmla="*/ 3271316 w 3958588"/>
              <a:gd name="connsiteY96" fmla="*/ 637018 h 3770457"/>
              <a:gd name="connsiteX97" fmla="*/ 3423716 w 3958588"/>
              <a:gd name="connsiteY97" fmla="*/ 598918 h 3770457"/>
              <a:gd name="connsiteX98" fmla="*/ 3823766 w 3958588"/>
              <a:gd name="connsiteY98" fmla="*/ 624318 h 3770457"/>
              <a:gd name="connsiteX99" fmla="*/ 3874566 w 3958588"/>
              <a:gd name="connsiteY99" fmla="*/ 732268 h 3770457"/>
              <a:gd name="connsiteX100" fmla="*/ 3957116 w 3958588"/>
              <a:gd name="connsiteY100" fmla="*/ 2662668 h 3770457"/>
              <a:gd name="connsiteX101" fmla="*/ 3785666 w 3958588"/>
              <a:gd name="connsiteY101" fmla="*/ 3265918 h 3770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3958588" h="3770457">
                <a:moveTo>
                  <a:pt x="3785666" y="3265918"/>
                </a:moveTo>
                <a:cubicBezTo>
                  <a:pt x="3739100" y="3299785"/>
                  <a:pt x="3695708" y="2950535"/>
                  <a:pt x="3677716" y="2865868"/>
                </a:cubicBezTo>
                <a:cubicBezTo>
                  <a:pt x="3659724" y="2781201"/>
                  <a:pt x="3771908" y="2832001"/>
                  <a:pt x="3677716" y="2757918"/>
                </a:cubicBezTo>
                <a:cubicBezTo>
                  <a:pt x="3583524" y="2683835"/>
                  <a:pt x="3244858" y="2510268"/>
                  <a:pt x="3112566" y="2421368"/>
                </a:cubicBezTo>
                <a:cubicBezTo>
                  <a:pt x="2980274" y="2332468"/>
                  <a:pt x="2952758" y="2245685"/>
                  <a:pt x="2883966" y="2224518"/>
                </a:cubicBezTo>
                <a:cubicBezTo>
                  <a:pt x="2815174" y="2203351"/>
                  <a:pt x="2715691" y="2256268"/>
                  <a:pt x="2699816" y="2294368"/>
                </a:cubicBezTo>
                <a:cubicBezTo>
                  <a:pt x="2683941" y="2332468"/>
                  <a:pt x="2753791" y="2409726"/>
                  <a:pt x="2788716" y="2453118"/>
                </a:cubicBezTo>
                <a:cubicBezTo>
                  <a:pt x="2823641" y="2496510"/>
                  <a:pt x="2882908" y="2512385"/>
                  <a:pt x="2909366" y="2554718"/>
                </a:cubicBezTo>
                <a:cubicBezTo>
                  <a:pt x="2935824" y="2597051"/>
                  <a:pt x="2912541" y="2671135"/>
                  <a:pt x="2947466" y="2707118"/>
                </a:cubicBezTo>
                <a:cubicBezTo>
                  <a:pt x="2982391" y="2743101"/>
                  <a:pt x="3055416" y="2744160"/>
                  <a:pt x="3118916" y="2770618"/>
                </a:cubicBezTo>
                <a:cubicBezTo>
                  <a:pt x="3182416" y="2797076"/>
                  <a:pt x="3252266" y="2823535"/>
                  <a:pt x="3328466" y="2865868"/>
                </a:cubicBezTo>
                <a:cubicBezTo>
                  <a:pt x="3404666" y="2908201"/>
                  <a:pt x="3542249" y="2985460"/>
                  <a:pt x="3576116" y="3024618"/>
                </a:cubicBezTo>
                <a:cubicBezTo>
                  <a:pt x="3609983" y="3063776"/>
                  <a:pt x="3551774" y="3092351"/>
                  <a:pt x="3531666" y="3100818"/>
                </a:cubicBezTo>
                <a:cubicBezTo>
                  <a:pt x="3511558" y="3109285"/>
                  <a:pt x="3462874" y="3064835"/>
                  <a:pt x="3455466" y="3075418"/>
                </a:cubicBezTo>
                <a:cubicBezTo>
                  <a:pt x="3448058" y="3086001"/>
                  <a:pt x="3492508" y="3103993"/>
                  <a:pt x="3487216" y="3164318"/>
                </a:cubicBezTo>
                <a:cubicBezTo>
                  <a:pt x="3481924" y="3224643"/>
                  <a:pt x="3449116" y="3377043"/>
                  <a:pt x="3423716" y="3437368"/>
                </a:cubicBezTo>
                <a:cubicBezTo>
                  <a:pt x="3398316" y="3497693"/>
                  <a:pt x="3358099" y="3517801"/>
                  <a:pt x="3334816" y="3526268"/>
                </a:cubicBezTo>
                <a:cubicBezTo>
                  <a:pt x="3311533" y="3534735"/>
                  <a:pt x="3293541" y="3538968"/>
                  <a:pt x="3284016" y="3488168"/>
                </a:cubicBezTo>
                <a:cubicBezTo>
                  <a:pt x="3274491" y="3437368"/>
                  <a:pt x="3302008" y="3291318"/>
                  <a:pt x="3277666" y="3221468"/>
                </a:cubicBezTo>
                <a:cubicBezTo>
                  <a:pt x="3253324" y="3151618"/>
                  <a:pt x="3230041" y="3127276"/>
                  <a:pt x="3137966" y="3069068"/>
                </a:cubicBezTo>
                <a:cubicBezTo>
                  <a:pt x="3045891" y="3010860"/>
                  <a:pt x="2825758" y="2948418"/>
                  <a:pt x="2725216" y="2872218"/>
                </a:cubicBezTo>
                <a:cubicBezTo>
                  <a:pt x="2624674" y="2796018"/>
                  <a:pt x="2587633" y="2680660"/>
                  <a:pt x="2534716" y="2611868"/>
                </a:cubicBezTo>
                <a:cubicBezTo>
                  <a:pt x="2481799" y="2543076"/>
                  <a:pt x="2446874" y="2466876"/>
                  <a:pt x="2407716" y="2459468"/>
                </a:cubicBezTo>
                <a:cubicBezTo>
                  <a:pt x="2368558" y="2452060"/>
                  <a:pt x="2357974" y="2539901"/>
                  <a:pt x="2299766" y="2567418"/>
                </a:cubicBezTo>
                <a:cubicBezTo>
                  <a:pt x="2241558" y="2594935"/>
                  <a:pt x="2128316" y="2628801"/>
                  <a:pt x="2058466" y="2624568"/>
                </a:cubicBezTo>
                <a:cubicBezTo>
                  <a:pt x="1988616" y="2620335"/>
                  <a:pt x="1947341" y="2544135"/>
                  <a:pt x="1880666" y="2542018"/>
                </a:cubicBezTo>
                <a:cubicBezTo>
                  <a:pt x="1813991" y="2539901"/>
                  <a:pt x="1683816" y="2579060"/>
                  <a:pt x="1658416" y="2611868"/>
                </a:cubicBezTo>
                <a:cubicBezTo>
                  <a:pt x="1633016" y="2644676"/>
                  <a:pt x="1764249" y="2707118"/>
                  <a:pt x="1728266" y="2738868"/>
                </a:cubicBezTo>
                <a:cubicBezTo>
                  <a:pt x="1692283" y="2770618"/>
                  <a:pt x="1518716" y="2755801"/>
                  <a:pt x="1442516" y="2802368"/>
                </a:cubicBezTo>
                <a:cubicBezTo>
                  <a:pt x="1366316" y="2848935"/>
                  <a:pt x="1313399" y="2948418"/>
                  <a:pt x="1271066" y="3018268"/>
                </a:cubicBezTo>
                <a:cubicBezTo>
                  <a:pt x="1228733" y="3088118"/>
                  <a:pt x="1194866" y="3149501"/>
                  <a:pt x="1188516" y="3221468"/>
                </a:cubicBezTo>
                <a:cubicBezTo>
                  <a:pt x="1182166" y="3293435"/>
                  <a:pt x="1258366" y="3396093"/>
                  <a:pt x="1232966" y="3450068"/>
                </a:cubicBezTo>
                <a:cubicBezTo>
                  <a:pt x="1207566" y="3504043"/>
                  <a:pt x="1129249" y="3524151"/>
                  <a:pt x="1036116" y="3545318"/>
                </a:cubicBezTo>
                <a:cubicBezTo>
                  <a:pt x="942983" y="3566485"/>
                  <a:pt x="740841" y="3552726"/>
                  <a:pt x="674166" y="3577068"/>
                </a:cubicBezTo>
                <a:cubicBezTo>
                  <a:pt x="607491" y="3601410"/>
                  <a:pt x="663583" y="3665968"/>
                  <a:pt x="636066" y="3691368"/>
                </a:cubicBezTo>
                <a:cubicBezTo>
                  <a:pt x="608549" y="3716768"/>
                  <a:pt x="560924" y="3716768"/>
                  <a:pt x="509066" y="3729468"/>
                </a:cubicBezTo>
                <a:cubicBezTo>
                  <a:pt x="457208" y="3742168"/>
                  <a:pt x="365133" y="3781326"/>
                  <a:pt x="324916" y="3767568"/>
                </a:cubicBezTo>
                <a:cubicBezTo>
                  <a:pt x="284699" y="3753810"/>
                  <a:pt x="293166" y="3679726"/>
                  <a:pt x="267766" y="3646918"/>
                </a:cubicBezTo>
                <a:cubicBezTo>
                  <a:pt x="242366" y="3614110"/>
                  <a:pt x="215908" y="3584476"/>
                  <a:pt x="172516" y="3570718"/>
                </a:cubicBezTo>
                <a:cubicBezTo>
                  <a:pt x="129124" y="3556960"/>
                  <a:pt x="29641" y="3590826"/>
                  <a:pt x="7416" y="3564368"/>
                </a:cubicBezTo>
                <a:cubicBezTo>
                  <a:pt x="-14809" y="3537910"/>
                  <a:pt x="17999" y="3455360"/>
                  <a:pt x="39166" y="3411968"/>
                </a:cubicBezTo>
                <a:cubicBezTo>
                  <a:pt x="60333" y="3368576"/>
                  <a:pt x="134416" y="3350585"/>
                  <a:pt x="134416" y="3304018"/>
                </a:cubicBezTo>
                <a:cubicBezTo>
                  <a:pt x="134416" y="3257451"/>
                  <a:pt x="49749" y="3197126"/>
                  <a:pt x="39166" y="3132568"/>
                </a:cubicBezTo>
                <a:cubicBezTo>
                  <a:pt x="28583" y="3068010"/>
                  <a:pt x="67741" y="2981226"/>
                  <a:pt x="70916" y="2916668"/>
                </a:cubicBezTo>
                <a:cubicBezTo>
                  <a:pt x="74091" y="2852110"/>
                  <a:pt x="49749" y="2786493"/>
                  <a:pt x="58216" y="2745218"/>
                </a:cubicBezTo>
                <a:cubicBezTo>
                  <a:pt x="66683" y="2703943"/>
                  <a:pt x="128066" y="2707118"/>
                  <a:pt x="121716" y="2669018"/>
                </a:cubicBezTo>
                <a:cubicBezTo>
                  <a:pt x="115366" y="2630918"/>
                  <a:pt x="-2109" y="2562126"/>
                  <a:pt x="20116" y="2516618"/>
                </a:cubicBezTo>
                <a:cubicBezTo>
                  <a:pt x="42341" y="2471110"/>
                  <a:pt x="185216" y="2397026"/>
                  <a:pt x="255066" y="2395968"/>
                </a:cubicBezTo>
                <a:cubicBezTo>
                  <a:pt x="324916" y="2394910"/>
                  <a:pt x="365133" y="2492276"/>
                  <a:pt x="439216" y="2510268"/>
                </a:cubicBezTo>
                <a:cubicBezTo>
                  <a:pt x="513299" y="2528260"/>
                  <a:pt x="627599" y="2513443"/>
                  <a:pt x="699566" y="2503918"/>
                </a:cubicBezTo>
                <a:cubicBezTo>
                  <a:pt x="771533" y="2494393"/>
                  <a:pt x="812808" y="2459468"/>
                  <a:pt x="871016" y="2453118"/>
                </a:cubicBezTo>
                <a:cubicBezTo>
                  <a:pt x="929224" y="2446768"/>
                  <a:pt x="1006483" y="2483810"/>
                  <a:pt x="1048816" y="2465818"/>
                </a:cubicBezTo>
                <a:cubicBezTo>
                  <a:pt x="1091149" y="2447826"/>
                  <a:pt x="1133483" y="2386443"/>
                  <a:pt x="1125016" y="2345168"/>
                </a:cubicBezTo>
                <a:cubicBezTo>
                  <a:pt x="1116549" y="2303893"/>
                  <a:pt x="1014949" y="2270026"/>
                  <a:pt x="998016" y="2218168"/>
                </a:cubicBezTo>
                <a:cubicBezTo>
                  <a:pt x="981083" y="2166310"/>
                  <a:pt x="1045641" y="2078468"/>
                  <a:pt x="1023416" y="2034018"/>
                </a:cubicBezTo>
                <a:cubicBezTo>
                  <a:pt x="1001191" y="1989568"/>
                  <a:pt x="945099" y="1974751"/>
                  <a:pt x="864666" y="1951468"/>
                </a:cubicBezTo>
                <a:cubicBezTo>
                  <a:pt x="784233" y="1928185"/>
                  <a:pt x="605374" y="1921835"/>
                  <a:pt x="540816" y="1894318"/>
                </a:cubicBezTo>
                <a:cubicBezTo>
                  <a:pt x="476258" y="1866801"/>
                  <a:pt x="458266" y="1811768"/>
                  <a:pt x="477316" y="1786368"/>
                </a:cubicBezTo>
                <a:cubicBezTo>
                  <a:pt x="496366" y="1760968"/>
                  <a:pt x="619133" y="1756735"/>
                  <a:pt x="655116" y="1741918"/>
                </a:cubicBezTo>
                <a:cubicBezTo>
                  <a:pt x="691099" y="1727101"/>
                  <a:pt x="650883" y="1701701"/>
                  <a:pt x="693216" y="1697468"/>
                </a:cubicBezTo>
                <a:cubicBezTo>
                  <a:pt x="735549" y="1693235"/>
                  <a:pt x="842441" y="1714401"/>
                  <a:pt x="909116" y="1716518"/>
                </a:cubicBezTo>
                <a:cubicBezTo>
                  <a:pt x="975791" y="1718635"/>
                  <a:pt x="1062574" y="1724985"/>
                  <a:pt x="1093266" y="1710168"/>
                </a:cubicBezTo>
                <a:cubicBezTo>
                  <a:pt x="1123958" y="1695351"/>
                  <a:pt x="1093266" y="1627618"/>
                  <a:pt x="1093266" y="1627618"/>
                </a:cubicBezTo>
                <a:cubicBezTo>
                  <a:pt x="1093266" y="1599043"/>
                  <a:pt x="1047758" y="1554593"/>
                  <a:pt x="1093266" y="1538718"/>
                </a:cubicBezTo>
                <a:cubicBezTo>
                  <a:pt x="1138774" y="1522843"/>
                  <a:pt x="1315516" y="1555651"/>
                  <a:pt x="1366316" y="1532368"/>
                </a:cubicBezTo>
                <a:cubicBezTo>
                  <a:pt x="1417116" y="1509085"/>
                  <a:pt x="1361024" y="1429710"/>
                  <a:pt x="1398066" y="1399018"/>
                </a:cubicBezTo>
                <a:cubicBezTo>
                  <a:pt x="1435108" y="1368326"/>
                  <a:pt x="1556816" y="1368326"/>
                  <a:pt x="1588566" y="1348218"/>
                </a:cubicBezTo>
                <a:cubicBezTo>
                  <a:pt x="1620316" y="1328110"/>
                  <a:pt x="1565283" y="1296360"/>
                  <a:pt x="1588566" y="1278368"/>
                </a:cubicBezTo>
                <a:cubicBezTo>
                  <a:pt x="1611849" y="1260376"/>
                  <a:pt x="1696516" y="1293185"/>
                  <a:pt x="1728266" y="1240268"/>
                </a:cubicBezTo>
                <a:cubicBezTo>
                  <a:pt x="1760016" y="1187351"/>
                  <a:pt x="1760016" y="1026485"/>
                  <a:pt x="1779066" y="960868"/>
                </a:cubicBezTo>
                <a:cubicBezTo>
                  <a:pt x="1798116" y="895251"/>
                  <a:pt x="1797058" y="871968"/>
                  <a:pt x="1842566" y="846568"/>
                </a:cubicBezTo>
                <a:cubicBezTo>
                  <a:pt x="1888074" y="821168"/>
                  <a:pt x="2010841" y="802118"/>
                  <a:pt x="2052116" y="808468"/>
                </a:cubicBezTo>
                <a:cubicBezTo>
                  <a:pt x="2093391" y="814818"/>
                  <a:pt x="2039416" y="883610"/>
                  <a:pt x="2090216" y="884668"/>
                </a:cubicBezTo>
                <a:cubicBezTo>
                  <a:pt x="2141016" y="885726"/>
                  <a:pt x="2289183" y="834926"/>
                  <a:pt x="2356916" y="814818"/>
                </a:cubicBezTo>
                <a:cubicBezTo>
                  <a:pt x="2424649" y="794710"/>
                  <a:pt x="2501908" y="800001"/>
                  <a:pt x="2496616" y="764018"/>
                </a:cubicBezTo>
                <a:cubicBezTo>
                  <a:pt x="2491324" y="728035"/>
                  <a:pt x="2334691" y="645485"/>
                  <a:pt x="2325166" y="598918"/>
                </a:cubicBezTo>
                <a:cubicBezTo>
                  <a:pt x="2315641" y="552351"/>
                  <a:pt x="2426766" y="526951"/>
                  <a:pt x="2439466" y="484618"/>
                </a:cubicBezTo>
                <a:cubicBezTo>
                  <a:pt x="2452166" y="442285"/>
                  <a:pt x="2403483" y="380901"/>
                  <a:pt x="2401366" y="344918"/>
                </a:cubicBezTo>
                <a:cubicBezTo>
                  <a:pt x="2399249" y="308935"/>
                  <a:pt x="2403483" y="290943"/>
                  <a:pt x="2426766" y="268718"/>
                </a:cubicBezTo>
                <a:cubicBezTo>
                  <a:pt x="2450049" y="246493"/>
                  <a:pt x="2523074" y="246493"/>
                  <a:pt x="2541066" y="211568"/>
                </a:cubicBezTo>
                <a:cubicBezTo>
                  <a:pt x="2559058" y="176643"/>
                  <a:pt x="2529424" y="94093"/>
                  <a:pt x="2534716" y="59168"/>
                </a:cubicBezTo>
                <a:cubicBezTo>
                  <a:pt x="2540008" y="24243"/>
                  <a:pt x="2551649" y="-8565"/>
                  <a:pt x="2572816" y="2018"/>
                </a:cubicBezTo>
                <a:cubicBezTo>
                  <a:pt x="2593983" y="12601"/>
                  <a:pt x="2634199" y="84568"/>
                  <a:pt x="2661716" y="122668"/>
                </a:cubicBezTo>
                <a:cubicBezTo>
                  <a:pt x="2689233" y="160768"/>
                  <a:pt x="2744266" y="189343"/>
                  <a:pt x="2737916" y="230618"/>
                </a:cubicBezTo>
                <a:cubicBezTo>
                  <a:pt x="2731566" y="271893"/>
                  <a:pt x="2638433" y="332218"/>
                  <a:pt x="2623616" y="370318"/>
                </a:cubicBezTo>
                <a:cubicBezTo>
                  <a:pt x="2608799" y="408418"/>
                  <a:pt x="2642666" y="430643"/>
                  <a:pt x="2649016" y="459218"/>
                </a:cubicBezTo>
                <a:cubicBezTo>
                  <a:pt x="2655366" y="487793"/>
                  <a:pt x="2675474" y="508960"/>
                  <a:pt x="2661716" y="541768"/>
                </a:cubicBezTo>
                <a:cubicBezTo>
                  <a:pt x="2647958" y="574576"/>
                  <a:pt x="2562233" y="630668"/>
                  <a:pt x="2566466" y="656068"/>
                </a:cubicBezTo>
                <a:cubicBezTo>
                  <a:pt x="2570699" y="681468"/>
                  <a:pt x="2654308" y="692051"/>
                  <a:pt x="2687116" y="694168"/>
                </a:cubicBezTo>
                <a:cubicBezTo>
                  <a:pt x="2719924" y="696285"/>
                  <a:pt x="2751674" y="649718"/>
                  <a:pt x="2763316" y="668768"/>
                </a:cubicBezTo>
                <a:cubicBezTo>
                  <a:pt x="2774958" y="687818"/>
                  <a:pt x="2726274" y="795768"/>
                  <a:pt x="2756966" y="808468"/>
                </a:cubicBezTo>
                <a:cubicBezTo>
                  <a:pt x="2787658" y="821168"/>
                  <a:pt x="2908308" y="757668"/>
                  <a:pt x="2947466" y="744968"/>
                </a:cubicBezTo>
                <a:cubicBezTo>
                  <a:pt x="2986624" y="732268"/>
                  <a:pt x="2967574" y="728035"/>
                  <a:pt x="2991916" y="732268"/>
                </a:cubicBezTo>
                <a:cubicBezTo>
                  <a:pt x="3016258" y="736501"/>
                  <a:pt x="3063883" y="765076"/>
                  <a:pt x="3093516" y="770368"/>
                </a:cubicBezTo>
                <a:cubicBezTo>
                  <a:pt x="3123149" y="775660"/>
                  <a:pt x="3147491" y="774601"/>
                  <a:pt x="3169716" y="764018"/>
                </a:cubicBezTo>
                <a:cubicBezTo>
                  <a:pt x="3191941" y="753435"/>
                  <a:pt x="3209933" y="728035"/>
                  <a:pt x="3226866" y="706868"/>
                </a:cubicBezTo>
                <a:cubicBezTo>
                  <a:pt x="3243799" y="685701"/>
                  <a:pt x="3238508" y="655010"/>
                  <a:pt x="3271316" y="637018"/>
                </a:cubicBezTo>
                <a:cubicBezTo>
                  <a:pt x="3304124" y="619026"/>
                  <a:pt x="3331641" y="601035"/>
                  <a:pt x="3423716" y="598918"/>
                </a:cubicBezTo>
                <a:cubicBezTo>
                  <a:pt x="3515791" y="596801"/>
                  <a:pt x="3748624" y="602093"/>
                  <a:pt x="3823766" y="624318"/>
                </a:cubicBezTo>
                <a:cubicBezTo>
                  <a:pt x="3898908" y="646543"/>
                  <a:pt x="3852341" y="392543"/>
                  <a:pt x="3874566" y="732268"/>
                </a:cubicBezTo>
                <a:cubicBezTo>
                  <a:pt x="3896791" y="1071993"/>
                  <a:pt x="3969816" y="2239335"/>
                  <a:pt x="3957116" y="2662668"/>
                </a:cubicBezTo>
                <a:cubicBezTo>
                  <a:pt x="3944416" y="3086001"/>
                  <a:pt x="3832232" y="3232051"/>
                  <a:pt x="3785666" y="3265918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3" name="Freeform 2"/>
          <p:cNvSpPr/>
          <p:nvPr/>
        </p:nvSpPr>
        <p:spPr>
          <a:xfrm>
            <a:off x="636867" y="1509575"/>
            <a:ext cx="4295900" cy="2876550"/>
          </a:xfrm>
          <a:custGeom>
            <a:avLst/>
            <a:gdLst>
              <a:gd name="connsiteX0" fmla="*/ 1847242 w 11455732"/>
              <a:gd name="connsiteY0" fmla="*/ 0 h 7670799"/>
              <a:gd name="connsiteX1" fmla="*/ 3734099 w 11455732"/>
              <a:gd name="connsiteY1" fmla="*/ 362857 h 7670799"/>
              <a:gd name="connsiteX2" fmla="*/ 4517870 w 11455732"/>
              <a:gd name="connsiteY2" fmla="*/ 188685 h 7670799"/>
              <a:gd name="connsiteX3" fmla="*/ 5214556 w 11455732"/>
              <a:gd name="connsiteY3" fmla="*/ 275771 h 7670799"/>
              <a:gd name="connsiteX4" fmla="*/ 5853184 w 11455732"/>
              <a:gd name="connsiteY4" fmla="*/ 464457 h 7670799"/>
              <a:gd name="connsiteX5" fmla="*/ 6912727 w 11455732"/>
              <a:gd name="connsiteY5" fmla="*/ 508000 h 7670799"/>
              <a:gd name="connsiteX6" fmla="*/ 7507813 w 11455732"/>
              <a:gd name="connsiteY6" fmla="*/ 333828 h 7670799"/>
              <a:gd name="connsiteX7" fmla="*/ 8306099 w 11455732"/>
              <a:gd name="connsiteY7" fmla="*/ 391885 h 7670799"/>
              <a:gd name="connsiteX8" fmla="*/ 8422213 w 11455732"/>
              <a:gd name="connsiteY8" fmla="*/ 1074057 h 7670799"/>
              <a:gd name="connsiteX9" fmla="*/ 7798099 w 11455732"/>
              <a:gd name="connsiteY9" fmla="*/ 1553028 h 7670799"/>
              <a:gd name="connsiteX10" fmla="*/ 7943242 w 11455732"/>
              <a:gd name="connsiteY10" fmla="*/ 1988457 h 7670799"/>
              <a:gd name="connsiteX11" fmla="*/ 8509299 w 11455732"/>
              <a:gd name="connsiteY11" fmla="*/ 2235200 h 7670799"/>
              <a:gd name="connsiteX12" fmla="*/ 8973756 w 11455732"/>
              <a:gd name="connsiteY12" fmla="*/ 2525485 h 7670799"/>
              <a:gd name="connsiteX13" fmla="*/ 9089870 w 11455732"/>
              <a:gd name="connsiteY13" fmla="*/ 2830285 h 7670799"/>
              <a:gd name="connsiteX14" fmla="*/ 9249527 w 11455732"/>
              <a:gd name="connsiteY14" fmla="*/ 2598057 h 7670799"/>
              <a:gd name="connsiteX15" fmla="*/ 9162442 w 11455732"/>
              <a:gd name="connsiteY15" fmla="*/ 2409371 h 7670799"/>
              <a:gd name="connsiteX16" fmla="*/ 9380156 w 11455732"/>
              <a:gd name="connsiteY16" fmla="*/ 1973943 h 7670799"/>
              <a:gd name="connsiteX17" fmla="*/ 9249527 w 11455732"/>
              <a:gd name="connsiteY17" fmla="*/ 1785257 h 7670799"/>
              <a:gd name="connsiteX18" fmla="*/ 9380156 w 11455732"/>
              <a:gd name="connsiteY18" fmla="*/ 1407885 h 7670799"/>
              <a:gd name="connsiteX19" fmla="*/ 10091356 w 11455732"/>
              <a:gd name="connsiteY19" fmla="*/ 1582057 h 7670799"/>
              <a:gd name="connsiteX20" fmla="*/ 10207470 w 11455732"/>
              <a:gd name="connsiteY20" fmla="*/ 1886857 h 7670799"/>
              <a:gd name="connsiteX21" fmla="*/ 10526784 w 11455732"/>
              <a:gd name="connsiteY21" fmla="*/ 1712685 h 7670799"/>
              <a:gd name="connsiteX22" fmla="*/ 10700956 w 11455732"/>
              <a:gd name="connsiteY22" fmla="*/ 1770743 h 7670799"/>
              <a:gd name="connsiteX23" fmla="*/ 10802556 w 11455732"/>
              <a:gd name="connsiteY23" fmla="*/ 2075543 h 7670799"/>
              <a:gd name="connsiteX24" fmla="*/ 11455699 w 11455732"/>
              <a:gd name="connsiteY24" fmla="*/ 2728685 h 7670799"/>
              <a:gd name="connsiteX25" fmla="*/ 10831584 w 11455732"/>
              <a:gd name="connsiteY25" fmla="*/ 3033485 h 7670799"/>
              <a:gd name="connsiteX26" fmla="*/ 10802556 w 11455732"/>
              <a:gd name="connsiteY26" fmla="*/ 3120571 h 7670799"/>
              <a:gd name="connsiteX27" fmla="*/ 10497756 w 11455732"/>
              <a:gd name="connsiteY27" fmla="*/ 3207657 h 7670799"/>
              <a:gd name="connsiteX28" fmla="*/ 10671927 w 11455732"/>
              <a:gd name="connsiteY28" fmla="*/ 3454400 h 7670799"/>
              <a:gd name="connsiteX29" fmla="*/ 11121870 w 11455732"/>
              <a:gd name="connsiteY29" fmla="*/ 3483428 h 7670799"/>
              <a:gd name="connsiteX30" fmla="*/ 10425184 w 11455732"/>
              <a:gd name="connsiteY30" fmla="*/ 3846285 h 7670799"/>
              <a:gd name="connsiteX31" fmla="*/ 10192956 w 11455732"/>
              <a:gd name="connsiteY31" fmla="*/ 3817257 h 7670799"/>
              <a:gd name="connsiteX32" fmla="*/ 9946213 w 11455732"/>
              <a:gd name="connsiteY32" fmla="*/ 3889828 h 7670799"/>
              <a:gd name="connsiteX33" fmla="*/ 10149413 w 11455732"/>
              <a:gd name="connsiteY33" fmla="*/ 4049485 h 7670799"/>
              <a:gd name="connsiteX34" fmla="*/ 9830099 w 11455732"/>
              <a:gd name="connsiteY34" fmla="*/ 4122057 h 7670799"/>
              <a:gd name="connsiteX35" fmla="*/ 9830099 w 11455732"/>
              <a:gd name="connsiteY35" fmla="*/ 4310743 h 7670799"/>
              <a:gd name="connsiteX36" fmla="*/ 9481756 w 11455732"/>
              <a:gd name="connsiteY36" fmla="*/ 4368800 h 7670799"/>
              <a:gd name="connsiteX37" fmla="*/ 9452727 w 11455732"/>
              <a:gd name="connsiteY37" fmla="*/ 4717143 h 7670799"/>
              <a:gd name="connsiteX38" fmla="*/ 9017299 w 11455732"/>
              <a:gd name="connsiteY38" fmla="*/ 5181600 h 7670799"/>
              <a:gd name="connsiteX39" fmla="*/ 9104384 w 11455732"/>
              <a:gd name="connsiteY39" fmla="*/ 5834743 h 7670799"/>
              <a:gd name="connsiteX40" fmla="*/ 8610899 w 11455732"/>
              <a:gd name="connsiteY40" fmla="*/ 5428343 h 7670799"/>
              <a:gd name="connsiteX41" fmla="*/ 8160956 w 11455732"/>
              <a:gd name="connsiteY41" fmla="*/ 5283200 h 7670799"/>
              <a:gd name="connsiteX42" fmla="*/ 8102899 w 11455732"/>
              <a:gd name="connsiteY42" fmla="*/ 5442857 h 7670799"/>
              <a:gd name="connsiteX43" fmla="*/ 7681984 w 11455732"/>
              <a:gd name="connsiteY43" fmla="*/ 5413828 h 7670799"/>
              <a:gd name="connsiteX44" fmla="*/ 7522327 w 11455732"/>
              <a:gd name="connsiteY44" fmla="*/ 5631543 h 7670799"/>
              <a:gd name="connsiteX45" fmla="*/ 7536842 w 11455732"/>
              <a:gd name="connsiteY45" fmla="*/ 6052457 h 7670799"/>
              <a:gd name="connsiteX46" fmla="*/ 7725527 w 11455732"/>
              <a:gd name="connsiteY46" fmla="*/ 6429828 h 7670799"/>
              <a:gd name="connsiteX47" fmla="*/ 8393184 w 11455732"/>
              <a:gd name="connsiteY47" fmla="*/ 6052457 h 7670799"/>
              <a:gd name="connsiteX48" fmla="*/ 8552842 w 11455732"/>
              <a:gd name="connsiteY48" fmla="*/ 6270171 h 7670799"/>
              <a:gd name="connsiteX49" fmla="*/ 8393184 w 11455732"/>
              <a:gd name="connsiteY49" fmla="*/ 6618514 h 7670799"/>
              <a:gd name="connsiteX50" fmla="*/ 8741527 w 11455732"/>
              <a:gd name="connsiteY50" fmla="*/ 6720114 h 7670799"/>
              <a:gd name="connsiteX51" fmla="*/ 8901184 w 11455732"/>
              <a:gd name="connsiteY51" fmla="*/ 7053943 h 7670799"/>
              <a:gd name="connsiteX52" fmla="*/ 8930213 w 11455732"/>
              <a:gd name="connsiteY52" fmla="*/ 7518400 h 7670799"/>
              <a:gd name="connsiteX53" fmla="*/ 9655927 w 11455732"/>
              <a:gd name="connsiteY53" fmla="*/ 7649028 h 7670799"/>
              <a:gd name="connsiteX54" fmla="*/ 8509299 w 11455732"/>
              <a:gd name="connsiteY54" fmla="*/ 7605485 h 7670799"/>
              <a:gd name="connsiteX55" fmla="*/ 8088384 w 11455732"/>
              <a:gd name="connsiteY55" fmla="*/ 7039428 h 7670799"/>
              <a:gd name="connsiteX56" fmla="*/ 7449756 w 11455732"/>
              <a:gd name="connsiteY56" fmla="*/ 6778171 h 7670799"/>
              <a:gd name="connsiteX57" fmla="*/ 6738556 w 11455732"/>
              <a:gd name="connsiteY57" fmla="*/ 6502400 h 7670799"/>
              <a:gd name="connsiteX58" fmla="*/ 6665984 w 11455732"/>
              <a:gd name="connsiteY58" fmla="*/ 6139543 h 7670799"/>
              <a:gd name="connsiteX59" fmla="*/ 6448270 w 11455732"/>
              <a:gd name="connsiteY59" fmla="*/ 5892800 h 7670799"/>
              <a:gd name="connsiteX60" fmla="*/ 5896727 w 11455732"/>
              <a:gd name="connsiteY60" fmla="*/ 5152571 h 7670799"/>
              <a:gd name="connsiteX61" fmla="*/ 6187013 w 11455732"/>
              <a:gd name="connsiteY61" fmla="*/ 5805714 h 7670799"/>
              <a:gd name="connsiteX62" fmla="*/ 6041870 w 11455732"/>
              <a:gd name="connsiteY62" fmla="*/ 5834743 h 7670799"/>
              <a:gd name="connsiteX63" fmla="*/ 5649984 w 11455732"/>
              <a:gd name="connsiteY63" fmla="*/ 5080000 h 7670799"/>
              <a:gd name="connsiteX64" fmla="*/ 4808156 w 11455732"/>
              <a:gd name="connsiteY64" fmla="*/ 4296228 h 7670799"/>
              <a:gd name="connsiteX65" fmla="*/ 4953299 w 11455732"/>
              <a:gd name="connsiteY65" fmla="*/ 3570514 h 7670799"/>
              <a:gd name="connsiteX66" fmla="*/ 4808156 w 11455732"/>
              <a:gd name="connsiteY66" fmla="*/ 3541485 h 7670799"/>
              <a:gd name="connsiteX67" fmla="*/ 4953299 w 11455732"/>
              <a:gd name="connsiteY67" fmla="*/ 3309257 h 7670799"/>
              <a:gd name="connsiteX68" fmla="*/ 4895242 w 11455732"/>
              <a:gd name="connsiteY68" fmla="*/ 3135085 h 7670799"/>
              <a:gd name="connsiteX69" fmla="*/ 4996842 w 11455732"/>
              <a:gd name="connsiteY69" fmla="*/ 3120571 h 7670799"/>
              <a:gd name="connsiteX70" fmla="*/ 4735584 w 11455732"/>
              <a:gd name="connsiteY70" fmla="*/ 2946400 h 7670799"/>
              <a:gd name="connsiteX71" fmla="*/ 4677527 w 11455732"/>
              <a:gd name="connsiteY71" fmla="*/ 3091543 h 7670799"/>
              <a:gd name="connsiteX72" fmla="*/ 4024384 w 11455732"/>
              <a:gd name="connsiteY72" fmla="*/ 2002971 h 7670799"/>
              <a:gd name="connsiteX73" fmla="*/ 3850213 w 11455732"/>
              <a:gd name="connsiteY73" fmla="*/ 1988457 h 7670799"/>
              <a:gd name="connsiteX74" fmla="*/ 4140499 w 11455732"/>
              <a:gd name="connsiteY74" fmla="*/ 2351314 h 7670799"/>
              <a:gd name="connsiteX75" fmla="*/ 3951813 w 11455732"/>
              <a:gd name="connsiteY75" fmla="*/ 2336800 h 7670799"/>
              <a:gd name="connsiteX76" fmla="*/ 3458327 w 11455732"/>
              <a:gd name="connsiteY76" fmla="*/ 1915885 h 7670799"/>
              <a:gd name="connsiteX77" fmla="*/ 2921299 w 11455732"/>
              <a:gd name="connsiteY77" fmla="*/ 1567543 h 7670799"/>
              <a:gd name="connsiteX78" fmla="*/ 2572956 w 11455732"/>
              <a:gd name="connsiteY78" fmla="*/ 1596571 h 7670799"/>
              <a:gd name="connsiteX79" fmla="*/ 2529413 w 11455732"/>
              <a:gd name="connsiteY79" fmla="*/ 1451428 h 7670799"/>
              <a:gd name="connsiteX80" fmla="*/ 2166556 w 11455732"/>
              <a:gd name="connsiteY80" fmla="*/ 1567543 h 7670799"/>
              <a:gd name="connsiteX81" fmla="*/ 2035927 w 11455732"/>
              <a:gd name="connsiteY81" fmla="*/ 1944914 h 7670799"/>
              <a:gd name="connsiteX82" fmla="*/ 961870 w 11455732"/>
              <a:gd name="connsiteY82" fmla="*/ 2699657 h 7670799"/>
              <a:gd name="connsiteX83" fmla="*/ 134556 w 11455732"/>
              <a:gd name="connsiteY83" fmla="*/ 2801257 h 7670799"/>
              <a:gd name="connsiteX84" fmla="*/ 76499 w 11455732"/>
              <a:gd name="connsiteY84" fmla="*/ 2656114 h 7670799"/>
              <a:gd name="connsiteX85" fmla="*/ 889299 w 11455732"/>
              <a:gd name="connsiteY85" fmla="*/ 2380343 h 7670799"/>
              <a:gd name="connsiteX86" fmla="*/ 1339242 w 11455732"/>
              <a:gd name="connsiteY86" fmla="*/ 2002971 h 7670799"/>
              <a:gd name="connsiteX87" fmla="*/ 1237642 w 11455732"/>
              <a:gd name="connsiteY87" fmla="*/ 1814285 h 7670799"/>
              <a:gd name="connsiteX88" fmla="*/ 1005413 w 11455732"/>
              <a:gd name="connsiteY88" fmla="*/ 1567543 h 7670799"/>
              <a:gd name="connsiteX89" fmla="*/ 1237642 w 11455732"/>
              <a:gd name="connsiteY89" fmla="*/ 1161143 h 7670799"/>
              <a:gd name="connsiteX90" fmla="*/ 976384 w 11455732"/>
              <a:gd name="connsiteY90" fmla="*/ 1001485 h 7670799"/>
              <a:gd name="connsiteX91" fmla="*/ 802213 w 11455732"/>
              <a:gd name="connsiteY91" fmla="*/ 1001485 h 7670799"/>
              <a:gd name="connsiteX92" fmla="*/ 1121527 w 11455732"/>
              <a:gd name="connsiteY92" fmla="*/ 682171 h 7670799"/>
              <a:gd name="connsiteX93" fmla="*/ 976384 w 11455732"/>
              <a:gd name="connsiteY93" fmla="*/ 362857 h 7670799"/>
              <a:gd name="connsiteX94" fmla="*/ 1847242 w 11455732"/>
              <a:gd name="connsiteY94" fmla="*/ 0 h 7670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11455732" h="7670799">
                <a:moveTo>
                  <a:pt x="1847242" y="0"/>
                </a:moveTo>
                <a:cubicBezTo>
                  <a:pt x="2306861" y="0"/>
                  <a:pt x="3288994" y="331410"/>
                  <a:pt x="3734099" y="362857"/>
                </a:cubicBezTo>
                <a:cubicBezTo>
                  <a:pt x="4179204" y="394305"/>
                  <a:pt x="4271127" y="203199"/>
                  <a:pt x="4517870" y="188685"/>
                </a:cubicBezTo>
                <a:cubicBezTo>
                  <a:pt x="4764613" y="174171"/>
                  <a:pt x="4992004" y="229809"/>
                  <a:pt x="5214556" y="275771"/>
                </a:cubicBezTo>
                <a:cubicBezTo>
                  <a:pt x="5437108" y="321733"/>
                  <a:pt x="5570156" y="425752"/>
                  <a:pt x="5853184" y="464457"/>
                </a:cubicBezTo>
                <a:cubicBezTo>
                  <a:pt x="6136213" y="503162"/>
                  <a:pt x="6636956" y="529772"/>
                  <a:pt x="6912727" y="508000"/>
                </a:cubicBezTo>
                <a:cubicBezTo>
                  <a:pt x="7188499" y="486229"/>
                  <a:pt x="7275584" y="353180"/>
                  <a:pt x="7507813" y="333828"/>
                </a:cubicBezTo>
                <a:cubicBezTo>
                  <a:pt x="7740042" y="314476"/>
                  <a:pt x="8153699" y="268514"/>
                  <a:pt x="8306099" y="391885"/>
                </a:cubicBezTo>
                <a:cubicBezTo>
                  <a:pt x="8458499" y="515257"/>
                  <a:pt x="8506880" y="880533"/>
                  <a:pt x="8422213" y="1074057"/>
                </a:cubicBezTo>
                <a:cubicBezTo>
                  <a:pt x="8337546" y="1267581"/>
                  <a:pt x="7877927" y="1400628"/>
                  <a:pt x="7798099" y="1553028"/>
                </a:cubicBezTo>
                <a:cubicBezTo>
                  <a:pt x="7718271" y="1705428"/>
                  <a:pt x="7824709" y="1874762"/>
                  <a:pt x="7943242" y="1988457"/>
                </a:cubicBezTo>
                <a:cubicBezTo>
                  <a:pt x="8061775" y="2102152"/>
                  <a:pt x="8337547" y="2145695"/>
                  <a:pt x="8509299" y="2235200"/>
                </a:cubicBezTo>
                <a:cubicBezTo>
                  <a:pt x="8681051" y="2324705"/>
                  <a:pt x="8876994" y="2426304"/>
                  <a:pt x="8973756" y="2525485"/>
                </a:cubicBezTo>
                <a:cubicBezTo>
                  <a:pt x="9070518" y="2624666"/>
                  <a:pt x="9043908" y="2818190"/>
                  <a:pt x="9089870" y="2830285"/>
                </a:cubicBezTo>
                <a:cubicBezTo>
                  <a:pt x="9135832" y="2842380"/>
                  <a:pt x="9237432" y="2668209"/>
                  <a:pt x="9249527" y="2598057"/>
                </a:cubicBezTo>
                <a:cubicBezTo>
                  <a:pt x="9261622" y="2527905"/>
                  <a:pt x="9140671" y="2513390"/>
                  <a:pt x="9162442" y="2409371"/>
                </a:cubicBezTo>
                <a:cubicBezTo>
                  <a:pt x="9184213" y="2305352"/>
                  <a:pt x="9365642" y="2077962"/>
                  <a:pt x="9380156" y="1973943"/>
                </a:cubicBezTo>
                <a:cubicBezTo>
                  <a:pt x="9394670" y="1869924"/>
                  <a:pt x="9249527" y="1879600"/>
                  <a:pt x="9249527" y="1785257"/>
                </a:cubicBezTo>
                <a:cubicBezTo>
                  <a:pt x="9249527" y="1690914"/>
                  <a:pt x="9239851" y="1441752"/>
                  <a:pt x="9380156" y="1407885"/>
                </a:cubicBezTo>
                <a:cubicBezTo>
                  <a:pt x="9520461" y="1374018"/>
                  <a:pt x="9953470" y="1502228"/>
                  <a:pt x="10091356" y="1582057"/>
                </a:cubicBezTo>
                <a:cubicBezTo>
                  <a:pt x="10229242" y="1661886"/>
                  <a:pt x="10134899" y="1865086"/>
                  <a:pt x="10207470" y="1886857"/>
                </a:cubicBezTo>
                <a:cubicBezTo>
                  <a:pt x="10280041" y="1908628"/>
                  <a:pt x="10444536" y="1732037"/>
                  <a:pt x="10526784" y="1712685"/>
                </a:cubicBezTo>
                <a:cubicBezTo>
                  <a:pt x="10609032" y="1693333"/>
                  <a:pt x="10654994" y="1710267"/>
                  <a:pt x="10700956" y="1770743"/>
                </a:cubicBezTo>
                <a:cubicBezTo>
                  <a:pt x="10746918" y="1831219"/>
                  <a:pt x="10676766" y="1915886"/>
                  <a:pt x="10802556" y="2075543"/>
                </a:cubicBezTo>
                <a:cubicBezTo>
                  <a:pt x="10928346" y="2235200"/>
                  <a:pt x="11450861" y="2569028"/>
                  <a:pt x="11455699" y="2728685"/>
                </a:cubicBezTo>
                <a:cubicBezTo>
                  <a:pt x="11460537" y="2888342"/>
                  <a:pt x="10940441" y="2968171"/>
                  <a:pt x="10831584" y="3033485"/>
                </a:cubicBezTo>
                <a:cubicBezTo>
                  <a:pt x="10722727" y="3098799"/>
                  <a:pt x="10858194" y="3091542"/>
                  <a:pt x="10802556" y="3120571"/>
                </a:cubicBezTo>
                <a:cubicBezTo>
                  <a:pt x="10746918" y="3149600"/>
                  <a:pt x="10519527" y="3152019"/>
                  <a:pt x="10497756" y="3207657"/>
                </a:cubicBezTo>
                <a:cubicBezTo>
                  <a:pt x="10475985" y="3263295"/>
                  <a:pt x="10567908" y="3408438"/>
                  <a:pt x="10671927" y="3454400"/>
                </a:cubicBezTo>
                <a:cubicBezTo>
                  <a:pt x="10775946" y="3500362"/>
                  <a:pt x="11162994" y="3418114"/>
                  <a:pt x="11121870" y="3483428"/>
                </a:cubicBezTo>
                <a:cubicBezTo>
                  <a:pt x="11080746" y="3548742"/>
                  <a:pt x="10580003" y="3790647"/>
                  <a:pt x="10425184" y="3846285"/>
                </a:cubicBezTo>
                <a:cubicBezTo>
                  <a:pt x="10270365" y="3901923"/>
                  <a:pt x="10272784" y="3810000"/>
                  <a:pt x="10192956" y="3817257"/>
                </a:cubicBezTo>
                <a:cubicBezTo>
                  <a:pt x="10113128" y="3824514"/>
                  <a:pt x="9953470" y="3851123"/>
                  <a:pt x="9946213" y="3889828"/>
                </a:cubicBezTo>
                <a:cubicBezTo>
                  <a:pt x="9938956" y="3928533"/>
                  <a:pt x="10168765" y="4010780"/>
                  <a:pt x="10149413" y="4049485"/>
                </a:cubicBezTo>
                <a:cubicBezTo>
                  <a:pt x="10130061" y="4088190"/>
                  <a:pt x="9883318" y="4078514"/>
                  <a:pt x="9830099" y="4122057"/>
                </a:cubicBezTo>
                <a:cubicBezTo>
                  <a:pt x="9776880" y="4165600"/>
                  <a:pt x="9888156" y="4269619"/>
                  <a:pt x="9830099" y="4310743"/>
                </a:cubicBezTo>
                <a:cubicBezTo>
                  <a:pt x="9772042" y="4351867"/>
                  <a:pt x="9544651" y="4301067"/>
                  <a:pt x="9481756" y="4368800"/>
                </a:cubicBezTo>
                <a:cubicBezTo>
                  <a:pt x="9418861" y="4436533"/>
                  <a:pt x="9530136" y="4581676"/>
                  <a:pt x="9452727" y="4717143"/>
                </a:cubicBezTo>
                <a:cubicBezTo>
                  <a:pt x="9375318" y="4852610"/>
                  <a:pt x="9075356" y="4995333"/>
                  <a:pt x="9017299" y="5181600"/>
                </a:cubicBezTo>
                <a:cubicBezTo>
                  <a:pt x="8959242" y="5367867"/>
                  <a:pt x="9172117" y="5793619"/>
                  <a:pt x="9104384" y="5834743"/>
                </a:cubicBezTo>
                <a:cubicBezTo>
                  <a:pt x="9036651" y="5875867"/>
                  <a:pt x="8768137" y="5520267"/>
                  <a:pt x="8610899" y="5428343"/>
                </a:cubicBezTo>
                <a:cubicBezTo>
                  <a:pt x="8453661" y="5336419"/>
                  <a:pt x="8245623" y="5280781"/>
                  <a:pt x="8160956" y="5283200"/>
                </a:cubicBezTo>
                <a:cubicBezTo>
                  <a:pt x="8076289" y="5285619"/>
                  <a:pt x="8182728" y="5421086"/>
                  <a:pt x="8102899" y="5442857"/>
                </a:cubicBezTo>
                <a:cubicBezTo>
                  <a:pt x="8023070" y="5464628"/>
                  <a:pt x="7778746" y="5382380"/>
                  <a:pt x="7681984" y="5413828"/>
                </a:cubicBezTo>
                <a:cubicBezTo>
                  <a:pt x="7585222" y="5445276"/>
                  <a:pt x="7546517" y="5525105"/>
                  <a:pt x="7522327" y="5631543"/>
                </a:cubicBezTo>
                <a:cubicBezTo>
                  <a:pt x="7498137" y="5737981"/>
                  <a:pt x="7502975" y="5919410"/>
                  <a:pt x="7536842" y="6052457"/>
                </a:cubicBezTo>
                <a:cubicBezTo>
                  <a:pt x="7570709" y="6185504"/>
                  <a:pt x="7582803" y="6429828"/>
                  <a:pt x="7725527" y="6429828"/>
                </a:cubicBezTo>
                <a:cubicBezTo>
                  <a:pt x="7868251" y="6429828"/>
                  <a:pt x="8255298" y="6079067"/>
                  <a:pt x="8393184" y="6052457"/>
                </a:cubicBezTo>
                <a:cubicBezTo>
                  <a:pt x="8531070" y="6025848"/>
                  <a:pt x="8552842" y="6175828"/>
                  <a:pt x="8552842" y="6270171"/>
                </a:cubicBezTo>
                <a:cubicBezTo>
                  <a:pt x="8552842" y="6364514"/>
                  <a:pt x="8361737" y="6543524"/>
                  <a:pt x="8393184" y="6618514"/>
                </a:cubicBezTo>
                <a:cubicBezTo>
                  <a:pt x="8424631" y="6693504"/>
                  <a:pt x="8656860" y="6647542"/>
                  <a:pt x="8741527" y="6720114"/>
                </a:cubicBezTo>
                <a:cubicBezTo>
                  <a:pt x="8826194" y="6792686"/>
                  <a:pt x="8869736" y="6920895"/>
                  <a:pt x="8901184" y="7053943"/>
                </a:cubicBezTo>
                <a:cubicBezTo>
                  <a:pt x="8932632" y="7186991"/>
                  <a:pt x="8804422" y="7419219"/>
                  <a:pt x="8930213" y="7518400"/>
                </a:cubicBezTo>
                <a:cubicBezTo>
                  <a:pt x="9056004" y="7617581"/>
                  <a:pt x="9726079" y="7634514"/>
                  <a:pt x="9655927" y="7649028"/>
                </a:cubicBezTo>
                <a:cubicBezTo>
                  <a:pt x="9585775" y="7663542"/>
                  <a:pt x="8770556" y="7707085"/>
                  <a:pt x="8509299" y="7605485"/>
                </a:cubicBezTo>
                <a:cubicBezTo>
                  <a:pt x="8248042" y="7503885"/>
                  <a:pt x="8264975" y="7177314"/>
                  <a:pt x="8088384" y="7039428"/>
                </a:cubicBezTo>
                <a:cubicBezTo>
                  <a:pt x="7911793" y="6901542"/>
                  <a:pt x="7674727" y="6867676"/>
                  <a:pt x="7449756" y="6778171"/>
                </a:cubicBezTo>
                <a:cubicBezTo>
                  <a:pt x="7224785" y="6688666"/>
                  <a:pt x="6869185" y="6608838"/>
                  <a:pt x="6738556" y="6502400"/>
                </a:cubicBezTo>
                <a:cubicBezTo>
                  <a:pt x="6607927" y="6395962"/>
                  <a:pt x="6714365" y="6241143"/>
                  <a:pt x="6665984" y="6139543"/>
                </a:cubicBezTo>
                <a:cubicBezTo>
                  <a:pt x="6617603" y="6037943"/>
                  <a:pt x="6576479" y="6057295"/>
                  <a:pt x="6448270" y="5892800"/>
                </a:cubicBezTo>
                <a:cubicBezTo>
                  <a:pt x="6320061" y="5728305"/>
                  <a:pt x="5940270" y="5167085"/>
                  <a:pt x="5896727" y="5152571"/>
                </a:cubicBezTo>
                <a:cubicBezTo>
                  <a:pt x="5853184" y="5138057"/>
                  <a:pt x="6162822" y="5692019"/>
                  <a:pt x="6187013" y="5805714"/>
                </a:cubicBezTo>
                <a:cubicBezTo>
                  <a:pt x="6211204" y="5919409"/>
                  <a:pt x="6131375" y="5955695"/>
                  <a:pt x="6041870" y="5834743"/>
                </a:cubicBezTo>
                <a:cubicBezTo>
                  <a:pt x="5952365" y="5713791"/>
                  <a:pt x="5855603" y="5336419"/>
                  <a:pt x="5649984" y="5080000"/>
                </a:cubicBezTo>
                <a:cubicBezTo>
                  <a:pt x="5444365" y="4823581"/>
                  <a:pt x="4924270" y="4547809"/>
                  <a:pt x="4808156" y="4296228"/>
                </a:cubicBezTo>
                <a:cubicBezTo>
                  <a:pt x="4692042" y="4044647"/>
                  <a:pt x="4953299" y="3696304"/>
                  <a:pt x="4953299" y="3570514"/>
                </a:cubicBezTo>
                <a:cubicBezTo>
                  <a:pt x="4953299" y="3444724"/>
                  <a:pt x="4808156" y="3585028"/>
                  <a:pt x="4808156" y="3541485"/>
                </a:cubicBezTo>
                <a:cubicBezTo>
                  <a:pt x="4808156" y="3497942"/>
                  <a:pt x="4938785" y="3376990"/>
                  <a:pt x="4953299" y="3309257"/>
                </a:cubicBezTo>
                <a:cubicBezTo>
                  <a:pt x="4967813" y="3241524"/>
                  <a:pt x="4887985" y="3166533"/>
                  <a:pt x="4895242" y="3135085"/>
                </a:cubicBezTo>
                <a:cubicBezTo>
                  <a:pt x="4902499" y="3103637"/>
                  <a:pt x="5023452" y="3152018"/>
                  <a:pt x="4996842" y="3120571"/>
                </a:cubicBezTo>
                <a:cubicBezTo>
                  <a:pt x="4970232" y="3089124"/>
                  <a:pt x="4788803" y="2951238"/>
                  <a:pt x="4735584" y="2946400"/>
                </a:cubicBezTo>
                <a:cubicBezTo>
                  <a:pt x="4682365" y="2941562"/>
                  <a:pt x="4796060" y="3248781"/>
                  <a:pt x="4677527" y="3091543"/>
                </a:cubicBezTo>
                <a:cubicBezTo>
                  <a:pt x="4558994" y="2934305"/>
                  <a:pt x="4162270" y="2186819"/>
                  <a:pt x="4024384" y="2002971"/>
                </a:cubicBezTo>
                <a:cubicBezTo>
                  <a:pt x="3886498" y="1819123"/>
                  <a:pt x="3830861" y="1930400"/>
                  <a:pt x="3850213" y="1988457"/>
                </a:cubicBezTo>
                <a:cubicBezTo>
                  <a:pt x="3869566" y="2046514"/>
                  <a:pt x="4123566" y="2293257"/>
                  <a:pt x="4140499" y="2351314"/>
                </a:cubicBezTo>
                <a:cubicBezTo>
                  <a:pt x="4157432" y="2409371"/>
                  <a:pt x="4065508" y="2409372"/>
                  <a:pt x="3951813" y="2336800"/>
                </a:cubicBezTo>
                <a:cubicBezTo>
                  <a:pt x="3838118" y="2264229"/>
                  <a:pt x="3630079" y="2044094"/>
                  <a:pt x="3458327" y="1915885"/>
                </a:cubicBezTo>
                <a:cubicBezTo>
                  <a:pt x="3286575" y="1787676"/>
                  <a:pt x="3068861" y="1620762"/>
                  <a:pt x="2921299" y="1567543"/>
                </a:cubicBezTo>
                <a:cubicBezTo>
                  <a:pt x="2773737" y="1514324"/>
                  <a:pt x="2638270" y="1615923"/>
                  <a:pt x="2572956" y="1596571"/>
                </a:cubicBezTo>
                <a:cubicBezTo>
                  <a:pt x="2507642" y="1577219"/>
                  <a:pt x="2597146" y="1456266"/>
                  <a:pt x="2529413" y="1451428"/>
                </a:cubicBezTo>
                <a:cubicBezTo>
                  <a:pt x="2461680" y="1446590"/>
                  <a:pt x="2248804" y="1485295"/>
                  <a:pt x="2166556" y="1567543"/>
                </a:cubicBezTo>
                <a:cubicBezTo>
                  <a:pt x="2084308" y="1649791"/>
                  <a:pt x="2236708" y="1756228"/>
                  <a:pt x="2035927" y="1944914"/>
                </a:cubicBezTo>
                <a:cubicBezTo>
                  <a:pt x="1835146" y="2133600"/>
                  <a:pt x="1278765" y="2556933"/>
                  <a:pt x="961870" y="2699657"/>
                </a:cubicBezTo>
                <a:cubicBezTo>
                  <a:pt x="644975" y="2842381"/>
                  <a:pt x="282118" y="2808514"/>
                  <a:pt x="134556" y="2801257"/>
                </a:cubicBezTo>
                <a:cubicBezTo>
                  <a:pt x="-13006" y="2794000"/>
                  <a:pt x="-49292" y="2726266"/>
                  <a:pt x="76499" y="2656114"/>
                </a:cubicBezTo>
                <a:cubicBezTo>
                  <a:pt x="202289" y="2585962"/>
                  <a:pt x="678842" y="2489200"/>
                  <a:pt x="889299" y="2380343"/>
                </a:cubicBezTo>
                <a:cubicBezTo>
                  <a:pt x="1099756" y="2271486"/>
                  <a:pt x="1281185" y="2097314"/>
                  <a:pt x="1339242" y="2002971"/>
                </a:cubicBezTo>
                <a:cubicBezTo>
                  <a:pt x="1397299" y="1908628"/>
                  <a:pt x="1293280" y="1886856"/>
                  <a:pt x="1237642" y="1814285"/>
                </a:cubicBezTo>
                <a:cubicBezTo>
                  <a:pt x="1182004" y="1741714"/>
                  <a:pt x="1005413" y="1676400"/>
                  <a:pt x="1005413" y="1567543"/>
                </a:cubicBezTo>
                <a:cubicBezTo>
                  <a:pt x="1005413" y="1458686"/>
                  <a:pt x="1242480" y="1255486"/>
                  <a:pt x="1237642" y="1161143"/>
                </a:cubicBezTo>
                <a:cubicBezTo>
                  <a:pt x="1232804" y="1066800"/>
                  <a:pt x="1048955" y="1028095"/>
                  <a:pt x="976384" y="1001485"/>
                </a:cubicBezTo>
                <a:cubicBezTo>
                  <a:pt x="903813" y="974875"/>
                  <a:pt x="778023" y="1054704"/>
                  <a:pt x="802213" y="1001485"/>
                </a:cubicBezTo>
                <a:cubicBezTo>
                  <a:pt x="826403" y="948266"/>
                  <a:pt x="1092498" y="788609"/>
                  <a:pt x="1121527" y="682171"/>
                </a:cubicBezTo>
                <a:cubicBezTo>
                  <a:pt x="1150556" y="575733"/>
                  <a:pt x="857851" y="478971"/>
                  <a:pt x="976384" y="362857"/>
                </a:cubicBezTo>
                <a:cubicBezTo>
                  <a:pt x="1094917" y="246743"/>
                  <a:pt x="1387623" y="0"/>
                  <a:pt x="1847242" y="0"/>
                </a:cubicBezTo>
                <a:close/>
              </a:path>
            </a:pathLst>
          </a:cu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28" name="Freeform 27"/>
          <p:cNvSpPr/>
          <p:nvPr/>
        </p:nvSpPr>
        <p:spPr>
          <a:xfrm>
            <a:off x="3742286" y="1257297"/>
            <a:ext cx="1045306" cy="746755"/>
          </a:xfrm>
          <a:custGeom>
            <a:avLst/>
            <a:gdLst>
              <a:gd name="connsiteX0" fmla="*/ 801287 w 2787483"/>
              <a:gd name="connsiteY0" fmla="*/ 133355 h 1991346"/>
              <a:gd name="connsiteX1" fmla="*/ 844150 w 2787483"/>
              <a:gd name="connsiteY1" fmla="*/ 285755 h 1991346"/>
              <a:gd name="connsiteX2" fmla="*/ 558400 w 2787483"/>
              <a:gd name="connsiteY2" fmla="*/ 352430 h 1991346"/>
              <a:gd name="connsiteX3" fmla="*/ 406000 w 2787483"/>
              <a:gd name="connsiteY3" fmla="*/ 290517 h 1991346"/>
              <a:gd name="connsiteX4" fmla="*/ 267887 w 2787483"/>
              <a:gd name="connsiteY4" fmla="*/ 142880 h 1991346"/>
              <a:gd name="connsiteX5" fmla="*/ 53575 w 2787483"/>
              <a:gd name="connsiteY5" fmla="*/ 233367 h 1991346"/>
              <a:gd name="connsiteX6" fmla="*/ 15475 w 2787483"/>
              <a:gd name="connsiteY6" fmla="*/ 428630 h 1991346"/>
              <a:gd name="connsiteX7" fmla="*/ 267887 w 2787483"/>
              <a:gd name="connsiteY7" fmla="*/ 857255 h 1991346"/>
              <a:gd name="connsiteX8" fmla="*/ 482200 w 2787483"/>
              <a:gd name="connsiteY8" fmla="*/ 742955 h 1991346"/>
              <a:gd name="connsiteX9" fmla="*/ 367900 w 2787483"/>
              <a:gd name="connsiteY9" fmla="*/ 1109667 h 1991346"/>
              <a:gd name="connsiteX10" fmla="*/ 477437 w 2787483"/>
              <a:gd name="connsiteY10" fmla="*/ 1362080 h 1991346"/>
              <a:gd name="connsiteX11" fmla="*/ 558400 w 2787483"/>
              <a:gd name="connsiteY11" fmla="*/ 1347792 h 1991346"/>
              <a:gd name="connsiteX12" fmla="*/ 610787 w 2787483"/>
              <a:gd name="connsiteY12" fmla="*/ 1462092 h 1991346"/>
              <a:gd name="connsiteX13" fmla="*/ 701275 w 2787483"/>
              <a:gd name="connsiteY13" fmla="*/ 1447805 h 1991346"/>
              <a:gd name="connsiteX14" fmla="*/ 753662 w 2787483"/>
              <a:gd name="connsiteY14" fmla="*/ 1462092 h 1991346"/>
              <a:gd name="connsiteX15" fmla="*/ 791762 w 2787483"/>
              <a:gd name="connsiteY15" fmla="*/ 1319217 h 1991346"/>
              <a:gd name="connsiteX16" fmla="*/ 882250 w 2787483"/>
              <a:gd name="connsiteY16" fmla="*/ 1343030 h 1991346"/>
              <a:gd name="connsiteX17" fmla="*/ 801287 w 2787483"/>
              <a:gd name="connsiteY17" fmla="*/ 1119192 h 1991346"/>
              <a:gd name="connsiteX18" fmla="*/ 725087 w 2787483"/>
              <a:gd name="connsiteY18" fmla="*/ 895355 h 1991346"/>
              <a:gd name="connsiteX19" fmla="*/ 1177525 w 2787483"/>
              <a:gd name="connsiteY19" fmla="*/ 776292 h 1991346"/>
              <a:gd name="connsiteX20" fmla="*/ 1348975 w 2787483"/>
              <a:gd name="connsiteY20" fmla="*/ 681042 h 1991346"/>
              <a:gd name="connsiteX21" fmla="*/ 1434700 w 2787483"/>
              <a:gd name="connsiteY21" fmla="*/ 909642 h 1991346"/>
              <a:gd name="connsiteX22" fmla="*/ 1506137 w 2787483"/>
              <a:gd name="connsiteY22" fmla="*/ 1004892 h 1991346"/>
              <a:gd name="connsiteX23" fmla="*/ 1253725 w 2787483"/>
              <a:gd name="connsiteY23" fmla="*/ 1095380 h 1991346"/>
              <a:gd name="connsiteX24" fmla="*/ 1291825 w 2787483"/>
              <a:gd name="connsiteY24" fmla="*/ 1157292 h 1991346"/>
              <a:gd name="connsiteX25" fmla="*/ 1639487 w 2787483"/>
              <a:gd name="connsiteY25" fmla="*/ 1200155 h 1991346"/>
              <a:gd name="connsiteX26" fmla="*/ 1653775 w 2787483"/>
              <a:gd name="connsiteY26" fmla="*/ 1338267 h 1991346"/>
              <a:gd name="connsiteX27" fmla="*/ 1410887 w 2787483"/>
              <a:gd name="connsiteY27" fmla="*/ 1481142 h 1991346"/>
              <a:gd name="connsiteX28" fmla="*/ 1182287 w 2787483"/>
              <a:gd name="connsiteY28" fmla="*/ 1552580 h 1991346"/>
              <a:gd name="connsiteX29" fmla="*/ 1234675 w 2787483"/>
              <a:gd name="connsiteY29" fmla="*/ 1638305 h 1991346"/>
              <a:gd name="connsiteX30" fmla="*/ 1525187 w 2787483"/>
              <a:gd name="connsiteY30" fmla="*/ 1752605 h 1991346"/>
              <a:gd name="connsiteX31" fmla="*/ 1815700 w 2787483"/>
              <a:gd name="connsiteY31" fmla="*/ 1785942 h 1991346"/>
              <a:gd name="connsiteX32" fmla="*/ 2101450 w 2787483"/>
              <a:gd name="connsiteY32" fmla="*/ 1990730 h 1991346"/>
              <a:gd name="connsiteX33" fmla="*/ 2449112 w 2787483"/>
              <a:gd name="connsiteY33" fmla="*/ 1838330 h 1991346"/>
              <a:gd name="connsiteX34" fmla="*/ 2287187 w 2787483"/>
              <a:gd name="connsiteY34" fmla="*/ 1538292 h 1991346"/>
              <a:gd name="connsiteX35" fmla="*/ 2130025 w 2787483"/>
              <a:gd name="connsiteY35" fmla="*/ 1447805 h 1991346"/>
              <a:gd name="connsiteX36" fmla="*/ 2201462 w 2787483"/>
              <a:gd name="connsiteY36" fmla="*/ 1366842 h 1991346"/>
              <a:gd name="connsiteX37" fmla="*/ 2672950 w 2787483"/>
              <a:gd name="connsiteY37" fmla="*/ 1485905 h 1991346"/>
              <a:gd name="connsiteX38" fmla="*/ 2677712 w 2787483"/>
              <a:gd name="connsiteY38" fmla="*/ 1333505 h 1991346"/>
              <a:gd name="connsiteX39" fmla="*/ 2772962 w 2787483"/>
              <a:gd name="connsiteY39" fmla="*/ 1257305 h 1991346"/>
              <a:gd name="connsiteX40" fmla="*/ 2325287 w 2787483"/>
              <a:gd name="connsiteY40" fmla="*/ 1114430 h 1991346"/>
              <a:gd name="connsiteX41" fmla="*/ 1953812 w 2787483"/>
              <a:gd name="connsiteY41" fmla="*/ 604842 h 1991346"/>
              <a:gd name="connsiteX42" fmla="*/ 1506137 w 2787483"/>
              <a:gd name="connsiteY42" fmla="*/ 338142 h 1991346"/>
              <a:gd name="connsiteX43" fmla="*/ 1391837 w 2787483"/>
              <a:gd name="connsiteY43" fmla="*/ 128592 h 1991346"/>
              <a:gd name="connsiteX44" fmla="*/ 1082275 w 2787483"/>
              <a:gd name="connsiteY44" fmla="*/ 5 h 1991346"/>
              <a:gd name="connsiteX45" fmla="*/ 801287 w 2787483"/>
              <a:gd name="connsiteY45" fmla="*/ 133355 h 1991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787483" h="1991346">
                <a:moveTo>
                  <a:pt x="801287" y="133355"/>
                </a:moveTo>
                <a:cubicBezTo>
                  <a:pt x="761600" y="180980"/>
                  <a:pt x="884631" y="249243"/>
                  <a:pt x="844150" y="285755"/>
                </a:cubicBezTo>
                <a:cubicBezTo>
                  <a:pt x="803669" y="322267"/>
                  <a:pt x="631425" y="351636"/>
                  <a:pt x="558400" y="352430"/>
                </a:cubicBezTo>
                <a:cubicBezTo>
                  <a:pt x="485375" y="353224"/>
                  <a:pt x="454419" y="325442"/>
                  <a:pt x="406000" y="290517"/>
                </a:cubicBezTo>
                <a:cubicBezTo>
                  <a:pt x="357581" y="255592"/>
                  <a:pt x="326624" y="152405"/>
                  <a:pt x="267887" y="142880"/>
                </a:cubicBezTo>
                <a:cubicBezTo>
                  <a:pt x="209149" y="133355"/>
                  <a:pt x="95644" y="185742"/>
                  <a:pt x="53575" y="233367"/>
                </a:cubicBezTo>
                <a:cubicBezTo>
                  <a:pt x="11506" y="280992"/>
                  <a:pt x="-20244" y="324649"/>
                  <a:pt x="15475" y="428630"/>
                </a:cubicBezTo>
                <a:cubicBezTo>
                  <a:pt x="51194" y="532611"/>
                  <a:pt x="190099" y="804868"/>
                  <a:pt x="267887" y="857255"/>
                </a:cubicBezTo>
                <a:cubicBezTo>
                  <a:pt x="345674" y="909643"/>
                  <a:pt x="465531" y="700886"/>
                  <a:pt x="482200" y="742955"/>
                </a:cubicBezTo>
                <a:cubicBezTo>
                  <a:pt x="498869" y="785024"/>
                  <a:pt x="368694" y="1006480"/>
                  <a:pt x="367900" y="1109667"/>
                </a:cubicBezTo>
                <a:cubicBezTo>
                  <a:pt x="367106" y="1212854"/>
                  <a:pt x="445687" y="1322393"/>
                  <a:pt x="477437" y="1362080"/>
                </a:cubicBezTo>
                <a:cubicBezTo>
                  <a:pt x="509187" y="1401768"/>
                  <a:pt x="536175" y="1331123"/>
                  <a:pt x="558400" y="1347792"/>
                </a:cubicBezTo>
                <a:cubicBezTo>
                  <a:pt x="580625" y="1364461"/>
                  <a:pt x="586974" y="1445423"/>
                  <a:pt x="610787" y="1462092"/>
                </a:cubicBezTo>
                <a:cubicBezTo>
                  <a:pt x="634599" y="1478761"/>
                  <a:pt x="677463" y="1447805"/>
                  <a:pt x="701275" y="1447805"/>
                </a:cubicBezTo>
                <a:cubicBezTo>
                  <a:pt x="725087" y="1447805"/>
                  <a:pt x="738581" y="1483523"/>
                  <a:pt x="753662" y="1462092"/>
                </a:cubicBezTo>
                <a:cubicBezTo>
                  <a:pt x="768743" y="1440661"/>
                  <a:pt x="770331" y="1339061"/>
                  <a:pt x="791762" y="1319217"/>
                </a:cubicBezTo>
                <a:cubicBezTo>
                  <a:pt x="813193" y="1299373"/>
                  <a:pt x="880663" y="1376367"/>
                  <a:pt x="882250" y="1343030"/>
                </a:cubicBezTo>
                <a:cubicBezTo>
                  <a:pt x="883837" y="1309693"/>
                  <a:pt x="827481" y="1193804"/>
                  <a:pt x="801287" y="1119192"/>
                </a:cubicBezTo>
                <a:cubicBezTo>
                  <a:pt x="775093" y="1044580"/>
                  <a:pt x="662381" y="952505"/>
                  <a:pt x="725087" y="895355"/>
                </a:cubicBezTo>
                <a:cubicBezTo>
                  <a:pt x="787793" y="838205"/>
                  <a:pt x="1073544" y="812011"/>
                  <a:pt x="1177525" y="776292"/>
                </a:cubicBezTo>
                <a:cubicBezTo>
                  <a:pt x="1281506" y="740573"/>
                  <a:pt x="1306113" y="658817"/>
                  <a:pt x="1348975" y="681042"/>
                </a:cubicBezTo>
                <a:cubicBezTo>
                  <a:pt x="1391837" y="703267"/>
                  <a:pt x="1408506" y="855667"/>
                  <a:pt x="1434700" y="909642"/>
                </a:cubicBezTo>
                <a:cubicBezTo>
                  <a:pt x="1460894" y="963617"/>
                  <a:pt x="1536299" y="973936"/>
                  <a:pt x="1506137" y="1004892"/>
                </a:cubicBezTo>
                <a:cubicBezTo>
                  <a:pt x="1475975" y="1035848"/>
                  <a:pt x="1289444" y="1069980"/>
                  <a:pt x="1253725" y="1095380"/>
                </a:cubicBezTo>
                <a:cubicBezTo>
                  <a:pt x="1218006" y="1120780"/>
                  <a:pt x="1227531" y="1139830"/>
                  <a:pt x="1291825" y="1157292"/>
                </a:cubicBezTo>
                <a:cubicBezTo>
                  <a:pt x="1356119" y="1174755"/>
                  <a:pt x="1579162" y="1169993"/>
                  <a:pt x="1639487" y="1200155"/>
                </a:cubicBezTo>
                <a:cubicBezTo>
                  <a:pt x="1699812" y="1230317"/>
                  <a:pt x="1691875" y="1291436"/>
                  <a:pt x="1653775" y="1338267"/>
                </a:cubicBezTo>
                <a:cubicBezTo>
                  <a:pt x="1615675" y="1385098"/>
                  <a:pt x="1489468" y="1445423"/>
                  <a:pt x="1410887" y="1481142"/>
                </a:cubicBezTo>
                <a:cubicBezTo>
                  <a:pt x="1332306" y="1516861"/>
                  <a:pt x="1211656" y="1526386"/>
                  <a:pt x="1182287" y="1552580"/>
                </a:cubicBezTo>
                <a:cubicBezTo>
                  <a:pt x="1152918" y="1578774"/>
                  <a:pt x="1177525" y="1604968"/>
                  <a:pt x="1234675" y="1638305"/>
                </a:cubicBezTo>
                <a:cubicBezTo>
                  <a:pt x="1291825" y="1671643"/>
                  <a:pt x="1428350" y="1727999"/>
                  <a:pt x="1525187" y="1752605"/>
                </a:cubicBezTo>
                <a:cubicBezTo>
                  <a:pt x="1622024" y="1777211"/>
                  <a:pt x="1719656" y="1746255"/>
                  <a:pt x="1815700" y="1785942"/>
                </a:cubicBezTo>
                <a:cubicBezTo>
                  <a:pt x="1911744" y="1825629"/>
                  <a:pt x="1995881" y="1981999"/>
                  <a:pt x="2101450" y="1990730"/>
                </a:cubicBezTo>
                <a:cubicBezTo>
                  <a:pt x="2207019" y="1999461"/>
                  <a:pt x="2418156" y="1913736"/>
                  <a:pt x="2449112" y="1838330"/>
                </a:cubicBezTo>
                <a:cubicBezTo>
                  <a:pt x="2480068" y="1762924"/>
                  <a:pt x="2340368" y="1603379"/>
                  <a:pt x="2287187" y="1538292"/>
                </a:cubicBezTo>
                <a:cubicBezTo>
                  <a:pt x="2234006" y="1473205"/>
                  <a:pt x="2144312" y="1476380"/>
                  <a:pt x="2130025" y="1447805"/>
                </a:cubicBezTo>
                <a:cubicBezTo>
                  <a:pt x="2115738" y="1419230"/>
                  <a:pt x="2110975" y="1360492"/>
                  <a:pt x="2201462" y="1366842"/>
                </a:cubicBezTo>
                <a:cubicBezTo>
                  <a:pt x="2291949" y="1373192"/>
                  <a:pt x="2593575" y="1491461"/>
                  <a:pt x="2672950" y="1485905"/>
                </a:cubicBezTo>
                <a:cubicBezTo>
                  <a:pt x="2752325" y="1480349"/>
                  <a:pt x="2661043" y="1371605"/>
                  <a:pt x="2677712" y="1333505"/>
                </a:cubicBezTo>
                <a:cubicBezTo>
                  <a:pt x="2694381" y="1295405"/>
                  <a:pt x="2831699" y="1293817"/>
                  <a:pt x="2772962" y="1257305"/>
                </a:cubicBezTo>
                <a:cubicBezTo>
                  <a:pt x="2714225" y="1220793"/>
                  <a:pt x="2461812" y="1223174"/>
                  <a:pt x="2325287" y="1114430"/>
                </a:cubicBezTo>
                <a:cubicBezTo>
                  <a:pt x="2188762" y="1005686"/>
                  <a:pt x="2090337" y="734223"/>
                  <a:pt x="1953812" y="604842"/>
                </a:cubicBezTo>
                <a:cubicBezTo>
                  <a:pt x="1817287" y="475461"/>
                  <a:pt x="1599799" y="417517"/>
                  <a:pt x="1506137" y="338142"/>
                </a:cubicBezTo>
                <a:cubicBezTo>
                  <a:pt x="1412475" y="258767"/>
                  <a:pt x="1462481" y="184948"/>
                  <a:pt x="1391837" y="128592"/>
                </a:cubicBezTo>
                <a:cubicBezTo>
                  <a:pt x="1321193" y="72236"/>
                  <a:pt x="1180700" y="799"/>
                  <a:pt x="1082275" y="5"/>
                </a:cubicBezTo>
                <a:cubicBezTo>
                  <a:pt x="983850" y="-789"/>
                  <a:pt x="840974" y="85730"/>
                  <a:pt x="801287" y="133355"/>
                </a:cubicBezTo>
                <a:close/>
              </a:path>
            </a:pathLst>
          </a:cu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45" name="Textfeld 44"/>
          <p:cNvSpPr txBox="1"/>
          <p:nvPr/>
        </p:nvSpPr>
        <p:spPr>
          <a:xfrm>
            <a:off x="2808043" y="3331691"/>
            <a:ext cx="65568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rgbClr val="000C28"/>
                </a:solidFill>
                <a:latin typeface="Montserrat Bold" charset="0"/>
                <a:ea typeface="Montserrat Bold" charset="0"/>
                <a:cs typeface="Montserrat Bold" charset="0"/>
              </a:rPr>
              <a:t>Phoenix</a:t>
            </a:r>
          </a:p>
        </p:txBody>
      </p:sp>
      <p:sp>
        <p:nvSpPr>
          <p:cNvPr id="47" name="Textfeld 46"/>
          <p:cNvSpPr txBox="1"/>
          <p:nvPr/>
        </p:nvSpPr>
        <p:spPr>
          <a:xfrm>
            <a:off x="2643333" y="2947817"/>
            <a:ext cx="108697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  <a:ea typeface="Montserrat Bold" charset="0"/>
                <a:cs typeface="Montserrat Bold" charset="0"/>
              </a:rPr>
              <a:t>Las Vegas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2926097" y="2375952"/>
            <a:ext cx="9553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  <a:ea typeface="Montserrat Bold" charset="0"/>
                <a:cs typeface="Montserrat Bold" charset="0"/>
              </a:rPr>
              <a:t>Minneapolis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2505610" y="2591913"/>
            <a:ext cx="6479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  <a:ea typeface="Montserrat Bold" charset="0"/>
                <a:cs typeface="Montserrat Bold" charset="0"/>
              </a:rPr>
              <a:t>Seattle</a:t>
            </a:r>
          </a:p>
        </p:txBody>
      </p:sp>
      <p:sp>
        <p:nvSpPr>
          <p:cNvPr id="56" name="Textfeld 55"/>
          <p:cNvSpPr txBox="1"/>
          <p:nvPr/>
        </p:nvSpPr>
        <p:spPr>
          <a:xfrm>
            <a:off x="1856523" y="2786588"/>
            <a:ext cx="7538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  <a:ea typeface="Montserrat Bold" charset="0"/>
                <a:cs typeface="Montserrat Bold" charset="0"/>
              </a:rPr>
              <a:t>Portland</a:t>
            </a:r>
          </a:p>
        </p:txBody>
      </p:sp>
      <p:sp>
        <p:nvSpPr>
          <p:cNvPr id="94" name="Textfeld 93"/>
          <p:cNvSpPr txBox="1"/>
          <p:nvPr/>
        </p:nvSpPr>
        <p:spPr>
          <a:xfrm>
            <a:off x="1268223" y="2076106"/>
            <a:ext cx="8700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  <a:ea typeface="Montserrat Bold" charset="0"/>
                <a:cs typeface="Montserrat Bold" charset="0"/>
              </a:rPr>
              <a:t>Anchorage</a:t>
            </a:r>
          </a:p>
        </p:txBody>
      </p:sp>
      <p:sp>
        <p:nvSpPr>
          <p:cNvPr id="114" name="Textfeld 113"/>
          <p:cNvSpPr txBox="1"/>
          <p:nvPr/>
        </p:nvSpPr>
        <p:spPr>
          <a:xfrm>
            <a:off x="3840745" y="3186495"/>
            <a:ext cx="8008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  <a:ea typeface="Montserrat Bold" charset="0"/>
                <a:cs typeface="Montserrat Bold" charset="0"/>
              </a:rPr>
              <a:t>Baltimore</a:t>
            </a:r>
          </a:p>
        </p:txBody>
      </p:sp>
      <p:sp>
        <p:nvSpPr>
          <p:cNvPr id="128" name="object 50"/>
          <p:cNvSpPr/>
          <p:nvPr/>
        </p:nvSpPr>
        <p:spPr>
          <a:xfrm>
            <a:off x="1641451" y="2004052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132" name="object 50"/>
          <p:cNvSpPr/>
          <p:nvPr/>
        </p:nvSpPr>
        <p:spPr>
          <a:xfrm>
            <a:off x="2532321" y="2841985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133" name="object 50"/>
          <p:cNvSpPr/>
          <p:nvPr/>
        </p:nvSpPr>
        <p:spPr>
          <a:xfrm>
            <a:off x="3385130" y="2541140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137" name="object 50"/>
          <p:cNvSpPr/>
          <p:nvPr/>
        </p:nvSpPr>
        <p:spPr>
          <a:xfrm>
            <a:off x="4140628" y="3085004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140" name="object 50"/>
          <p:cNvSpPr/>
          <p:nvPr/>
        </p:nvSpPr>
        <p:spPr>
          <a:xfrm>
            <a:off x="3042485" y="3247199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147" name="Textfeld 146"/>
          <p:cNvSpPr txBox="1"/>
          <p:nvPr/>
        </p:nvSpPr>
        <p:spPr>
          <a:xfrm>
            <a:off x="7072822" y="2368890"/>
            <a:ext cx="7209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  <a:ea typeface="Montserrat Bold" charset="0"/>
                <a:cs typeface="Montserrat Bold" charset="0"/>
              </a:rPr>
              <a:t>Frankfurt</a:t>
            </a:r>
          </a:p>
        </p:txBody>
      </p:sp>
      <p:sp>
        <p:nvSpPr>
          <p:cNvPr id="148" name="object 50"/>
          <p:cNvSpPr/>
          <p:nvPr/>
        </p:nvSpPr>
        <p:spPr>
          <a:xfrm>
            <a:off x="7434636" y="2229628"/>
            <a:ext cx="110352" cy="1103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5" name="Freeform 4"/>
          <p:cNvSpPr/>
          <p:nvPr/>
        </p:nvSpPr>
        <p:spPr>
          <a:xfrm>
            <a:off x="3945287" y="3712114"/>
            <a:ext cx="389796" cy="184408"/>
          </a:xfrm>
          <a:custGeom>
            <a:avLst/>
            <a:gdLst>
              <a:gd name="connsiteX0" fmla="*/ 552 w 1039457"/>
              <a:gd name="connsiteY0" fmla="*/ 121010 h 491755"/>
              <a:gd name="connsiteX1" fmla="*/ 178352 w 1039457"/>
              <a:gd name="connsiteY1" fmla="*/ 360 h 491755"/>
              <a:gd name="connsiteX2" fmla="*/ 699052 w 1039457"/>
              <a:gd name="connsiteY2" fmla="*/ 165460 h 491755"/>
              <a:gd name="connsiteX3" fmla="*/ 1016552 w 1039457"/>
              <a:gd name="connsiteY3" fmla="*/ 432160 h 491755"/>
              <a:gd name="connsiteX4" fmla="*/ 946702 w 1039457"/>
              <a:gd name="connsiteY4" fmla="*/ 476610 h 491755"/>
              <a:gd name="connsiteX5" fmla="*/ 406952 w 1039457"/>
              <a:gd name="connsiteY5" fmla="*/ 228960 h 491755"/>
              <a:gd name="connsiteX6" fmla="*/ 248202 w 1039457"/>
              <a:gd name="connsiteY6" fmla="*/ 76560 h 491755"/>
              <a:gd name="connsiteX7" fmla="*/ 127552 w 1039457"/>
              <a:gd name="connsiteY7" fmla="*/ 114660 h 491755"/>
              <a:gd name="connsiteX8" fmla="*/ 552 w 1039457"/>
              <a:gd name="connsiteY8" fmla="*/ 121010 h 491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9457" h="491755">
                <a:moveTo>
                  <a:pt x="552" y="121010"/>
                </a:moveTo>
                <a:cubicBezTo>
                  <a:pt x="9019" y="101960"/>
                  <a:pt x="61935" y="-7048"/>
                  <a:pt x="178352" y="360"/>
                </a:cubicBezTo>
                <a:cubicBezTo>
                  <a:pt x="294769" y="7768"/>
                  <a:pt x="559352" y="93493"/>
                  <a:pt x="699052" y="165460"/>
                </a:cubicBezTo>
                <a:cubicBezTo>
                  <a:pt x="838752" y="237427"/>
                  <a:pt x="975277" y="380302"/>
                  <a:pt x="1016552" y="432160"/>
                </a:cubicBezTo>
                <a:cubicBezTo>
                  <a:pt x="1057827" y="484018"/>
                  <a:pt x="1048302" y="510477"/>
                  <a:pt x="946702" y="476610"/>
                </a:cubicBezTo>
                <a:cubicBezTo>
                  <a:pt x="845102" y="442743"/>
                  <a:pt x="523369" y="295635"/>
                  <a:pt x="406952" y="228960"/>
                </a:cubicBezTo>
                <a:cubicBezTo>
                  <a:pt x="290535" y="162285"/>
                  <a:pt x="294769" y="95610"/>
                  <a:pt x="248202" y="76560"/>
                </a:cubicBezTo>
                <a:cubicBezTo>
                  <a:pt x="201635" y="57510"/>
                  <a:pt x="172002" y="105135"/>
                  <a:pt x="127552" y="114660"/>
                </a:cubicBezTo>
                <a:cubicBezTo>
                  <a:pt x="83102" y="124185"/>
                  <a:pt x="-7915" y="140060"/>
                  <a:pt x="552" y="121010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7" name="Freeform 6"/>
          <p:cNvSpPr/>
          <p:nvPr/>
        </p:nvSpPr>
        <p:spPr>
          <a:xfrm>
            <a:off x="4361149" y="3866872"/>
            <a:ext cx="190165" cy="64452"/>
          </a:xfrm>
          <a:custGeom>
            <a:avLst/>
            <a:gdLst>
              <a:gd name="connsiteX0" fmla="*/ 504484 w 507106"/>
              <a:gd name="connsiteY0" fmla="*/ 89323 h 171873"/>
              <a:gd name="connsiteX1" fmla="*/ 47284 w 507106"/>
              <a:gd name="connsiteY1" fmla="*/ 423 h 171873"/>
              <a:gd name="connsiteX2" fmla="*/ 34584 w 507106"/>
              <a:gd name="connsiteY2" fmla="*/ 127423 h 171873"/>
              <a:gd name="connsiteX3" fmla="*/ 225084 w 507106"/>
              <a:gd name="connsiteY3" fmla="*/ 171873 h 171873"/>
              <a:gd name="connsiteX4" fmla="*/ 504484 w 507106"/>
              <a:gd name="connsiteY4" fmla="*/ 89323 h 17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106" h="171873">
                <a:moveTo>
                  <a:pt x="504484" y="89323"/>
                </a:moveTo>
                <a:cubicBezTo>
                  <a:pt x="474851" y="60748"/>
                  <a:pt x="125601" y="-5927"/>
                  <a:pt x="47284" y="423"/>
                </a:cubicBezTo>
                <a:cubicBezTo>
                  <a:pt x="-31033" y="6773"/>
                  <a:pt x="4951" y="98848"/>
                  <a:pt x="34584" y="127423"/>
                </a:cubicBezTo>
                <a:cubicBezTo>
                  <a:pt x="64217" y="155998"/>
                  <a:pt x="145709" y="171873"/>
                  <a:pt x="225084" y="171873"/>
                </a:cubicBezTo>
                <a:cubicBezTo>
                  <a:pt x="304459" y="171873"/>
                  <a:pt x="534117" y="117898"/>
                  <a:pt x="504484" y="89323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8" name="Freeform 7"/>
          <p:cNvSpPr/>
          <p:nvPr/>
        </p:nvSpPr>
        <p:spPr>
          <a:xfrm>
            <a:off x="4567617" y="3897881"/>
            <a:ext cx="98167" cy="38419"/>
          </a:xfrm>
          <a:custGeom>
            <a:avLst/>
            <a:gdLst>
              <a:gd name="connsiteX0" fmla="*/ 252353 w 261778"/>
              <a:gd name="connsiteY0" fmla="*/ 57431 h 102451"/>
              <a:gd name="connsiteX1" fmla="*/ 49153 w 261778"/>
              <a:gd name="connsiteY1" fmla="*/ 281 h 102451"/>
              <a:gd name="connsiteX2" fmla="*/ 11053 w 261778"/>
              <a:gd name="connsiteY2" fmla="*/ 38381 h 102451"/>
              <a:gd name="connsiteX3" fmla="*/ 207903 w 261778"/>
              <a:gd name="connsiteY3" fmla="*/ 101881 h 102451"/>
              <a:gd name="connsiteX4" fmla="*/ 252353 w 261778"/>
              <a:gd name="connsiteY4" fmla="*/ 57431 h 102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778" h="102451">
                <a:moveTo>
                  <a:pt x="252353" y="57431"/>
                </a:moveTo>
                <a:cubicBezTo>
                  <a:pt x="225895" y="40498"/>
                  <a:pt x="89370" y="3456"/>
                  <a:pt x="49153" y="281"/>
                </a:cubicBezTo>
                <a:cubicBezTo>
                  <a:pt x="8936" y="-2894"/>
                  <a:pt x="-15405" y="21448"/>
                  <a:pt x="11053" y="38381"/>
                </a:cubicBezTo>
                <a:cubicBezTo>
                  <a:pt x="37511" y="55314"/>
                  <a:pt x="170861" y="96589"/>
                  <a:pt x="207903" y="101881"/>
                </a:cubicBezTo>
                <a:cubicBezTo>
                  <a:pt x="244945" y="107173"/>
                  <a:pt x="278811" y="74364"/>
                  <a:pt x="252353" y="57431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9" name="Freeform 8"/>
          <p:cNvSpPr/>
          <p:nvPr/>
        </p:nvSpPr>
        <p:spPr>
          <a:xfrm>
            <a:off x="2477157" y="1214295"/>
            <a:ext cx="904856" cy="398538"/>
          </a:xfrm>
          <a:custGeom>
            <a:avLst/>
            <a:gdLst>
              <a:gd name="connsiteX0" fmla="*/ 112549 w 2412950"/>
              <a:gd name="connsiteY0" fmla="*/ 14664 h 1062768"/>
              <a:gd name="connsiteX1" fmla="*/ 7774 w 2412950"/>
              <a:gd name="connsiteY1" fmla="*/ 167064 h 1062768"/>
              <a:gd name="connsiteX2" fmla="*/ 103024 w 2412950"/>
              <a:gd name="connsiteY2" fmla="*/ 224214 h 1062768"/>
              <a:gd name="connsiteX3" fmla="*/ 7774 w 2412950"/>
              <a:gd name="connsiteY3" fmla="*/ 538539 h 1062768"/>
              <a:gd name="connsiteX4" fmla="*/ 350674 w 2412950"/>
              <a:gd name="connsiteY4" fmla="*/ 671889 h 1062768"/>
              <a:gd name="connsiteX5" fmla="*/ 531649 w 2412950"/>
              <a:gd name="connsiteY5" fmla="*/ 567114 h 1062768"/>
              <a:gd name="connsiteX6" fmla="*/ 903124 w 2412950"/>
              <a:gd name="connsiteY6" fmla="*/ 614739 h 1062768"/>
              <a:gd name="connsiteX7" fmla="*/ 893599 w 2412950"/>
              <a:gd name="connsiteY7" fmla="*/ 776664 h 1062768"/>
              <a:gd name="connsiteX8" fmla="*/ 988849 w 2412950"/>
              <a:gd name="connsiteY8" fmla="*/ 900489 h 1062768"/>
              <a:gd name="connsiteX9" fmla="*/ 1265074 w 2412950"/>
              <a:gd name="connsiteY9" fmla="*/ 938589 h 1062768"/>
              <a:gd name="connsiteX10" fmla="*/ 1531774 w 2412950"/>
              <a:gd name="connsiteY10" fmla="*/ 1062414 h 1062768"/>
              <a:gd name="connsiteX11" fmla="*/ 1846099 w 2412950"/>
              <a:gd name="connsiteY11" fmla="*/ 976689 h 1062768"/>
              <a:gd name="connsiteX12" fmla="*/ 2188999 w 2412950"/>
              <a:gd name="connsiteY12" fmla="*/ 995739 h 1062768"/>
              <a:gd name="connsiteX13" fmla="*/ 2369974 w 2412950"/>
              <a:gd name="connsiteY13" fmla="*/ 795714 h 1062768"/>
              <a:gd name="connsiteX14" fmla="*/ 2369974 w 2412950"/>
              <a:gd name="connsiteY14" fmla="*/ 748089 h 1062768"/>
              <a:gd name="connsiteX15" fmla="*/ 1893724 w 2412950"/>
              <a:gd name="connsiteY15" fmla="*/ 490914 h 1062768"/>
              <a:gd name="connsiteX16" fmla="*/ 1817524 w 2412950"/>
              <a:gd name="connsiteY16" fmla="*/ 233739 h 1062768"/>
              <a:gd name="connsiteX17" fmla="*/ 1503199 w 2412950"/>
              <a:gd name="connsiteY17" fmla="*/ 262314 h 1062768"/>
              <a:gd name="connsiteX18" fmla="*/ 1217449 w 2412950"/>
              <a:gd name="connsiteY18" fmla="*/ 290889 h 1062768"/>
              <a:gd name="connsiteX19" fmla="*/ 788824 w 2412950"/>
              <a:gd name="connsiteY19" fmla="*/ 71814 h 1062768"/>
              <a:gd name="connsiteX20" fmla="*/ 426874 w 2412950"/>
              <a:gd name="connsiteY20" fmla="*/ 14664 h 1062768"/>
              <a:gd name="connsiteX21" fmla="*/ 112549 w 2412950"/>
              <a:gd name="connsiteY21" fmla="*/ 14664 h 106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412950" h="1062768">
                <a:moveTo>
                  <a:pt x="112549" y="14664"/>
                </a:moveTo>
                <a:cubicBezTo>
                  <a:pt x="42699" y="40064"/>
                  <a:pt x="9362" y="132139"/>
                  <a:pt x="7774" y="167064"/>
                </a:cubicBezTo>
                <a:cubicBezTo>
                  <a:pt x="6186" y="201989"/>
                  <a:pt x="103024" y="162302"/>
                  <a:pt x="103024" y="224214"/>
                </a:cubicBezTo>
                <a:cubicBezTo>
                  <a:pt x="103024" y="286126"/>
                  <a:pt x="-33501" y="463927"/>
                  <a:pt x="7774" y="538539"/>
                </a:cubicBezTo>
                <a:cubicBezTo>
                  <a:pt x="49049" y="613151"/>
                  <a:pt x="263362" y="667127"/>
                  <a:pt x="350674" y="671889"/>
                </a:cubicBezTo>
                <a:cubicBezTo>
                  <a:pt x="437986" y="676651"/>
                  <a:pt x="439574" y="576639"/>
                  <a:pt x="531649" y="567114"/>
                </a:cubicBezTo>
                <a:cubicBezTo>
                  <a:pt x="623724" y="557589"/>
                  <a:pt x="842799" y="579814"/>
                  <a:pt x="903124" y="614739"/>
                </a:cubicBezTo>
                <a:cubicBezTo>
                  <a:pt x="963449" y="649664"/>
                  <a:pt x="879312" y="729039"/>
                  <a:pt x="893599" y="776664"/>
                </a:cubicBezTo>
                <a:cubicBezTo>
                  <a:pt x="907886" y="824289"/>
                  <a:pt x="926937" y="873502"/>
                  <a:pt x="988849" y="900489"/>
                </a:cubicBezTo>
                <a:cubicBezTo>
                  <a:pt x="1050761" y="927476"/>
                  <a:pt x="1174587" y="911602"/>
                  <a:pt x="1265074" y="938589"/>
                </a:cubicBezTo>
                <a:cubicBezTo>
                  <a:pt x="1355562" y="965577"/>
                  <a:pt x="1434937" y="1056064"/>
                  <a:pt x="1531774" y="1062414"/>
                </a:cubicBezTo>
                <a:cubicBezTo>
                  <a:pt x="1628611" y="1068764"/>
                  <a:pt x="1736562" y="987802"/>
                  <a:pt x="1846099" y="976689"/>
                </a:cubicBezTo>
                <a:cubicBezTo>
                  <a:pt x="1955637" y="965577"/>
                  <a:pt x="2101687" y="1025901"/>
                  <a:pt x="2188999" y="995739"/>
                </a:cubicBezTo>
                <a:cubicBezTo>
                  <a:pt x="2276311" y="965577"/>
                  <a:pt x="2339812" y="836989"/>
                  <a:pt x="2369974" y="795714"/>
                </a:cubicBezTo>
                <a:cubicBezTo>
                  <a:pt x="2400136" y="754439"/>
                  <a:pt x="2449349" y="798889"/>
                  <a:pt x="2369974" y="748089"/>
                </a:cubicBezTo>
                <a:cubicBezTo>
                  <a:pt x="2290599" y="697289"/>
                  <a:pt x="1985799" y="576639"/>
                  <a:pt x="1893724" y="490914"/>
                </a:cubicBezTo>
                <a:cubicBezTo>
                  <a:pt x="1801649" y="405189"/>
                  <a:pt x="1882611" y="271839"/>
                  <a:pt x="1817524" y="233739"/>
                </a:cubicBezTo>
                <a:cubicBezTo>
                  <a:pt x="1752437" y="195639"/>
                  <a:pt x="1503199" y="262314"/>
                  <a:pt x="1503199" y="262314"/>
                </a:cubicBezTo>
                <a:cubicBezTo>
                  <a:pt x="1403187" y="271839"/>
                  <a:pt x="1336512" y="322639"/>
                  <a:pt x="1217449" y="290889"/>
                </a:cubicBezTo>
                <a:cubicBezTo>
                  <a:pt x="1098387" y="259139"/>
                  <a:pt x="920587" y="117852"/>
                  <a:pt x="788824" y="71814"/>
                </a:cubicBezTo>
                <a:cubicBezTo>
                  <a:pt x="657062" y="25777"/>
                  <a:pt x="537999" y="27364"/>
                  <a:pt x="426874" y="14664"/>
                </a:cubicBezTo>
                <a:cubicBezTo>
                  <a:pt x="315749" y="1964"/>
                  <a:pt x="182399" y="-10736"/>
                  <a:pt x="112549" y="14664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12" name="Freeform 11"/>
          <p:cNvSpPr/>
          <p:nvPr/>
        </p:nvSpPr>
        <p:spPr>
          <a:xfrm>
            <a:off x="3503201" y="1247295"/>
            <a:ext cx="213566" cy="310679"/>
          </a:xfrm>
          <a:custGeom>
            <a:avLst/>
            <a:gdLst>
              <a:gd name="connsiteX0" fmla="*/ 262507 w 569510"/>
              <a:gd name="connsiteY0" fmla="*/ 69540 h 828476"/>
              <a:gd name="connsiteX1" fmla="*/ 72007 w 569510"/>
              <a:gd name="connsiteY1" fmla="*/ 174315 h 828476"/>
              <a:gd name="connsiteX2" fmla="*/ 129157 w 569510"/>
              <a:gd name="connsiteY2" fmla="*/ 450540 h 828476"/>
              <a:gd name="connsiteX3" fmla="*/ 5332 w 569510"/>
              <a:gd name="connsiteY3" fmla="*/ 564840 h 828476"/>
              <a:gd name="connsiteX4" fmla="*/ 338707 w 569510"/>
              <a:gd name="connsiteY4" fmla="*/ 822015 h 828476"/>
              <a:gd name="connsiteX5" fmla="*/ 386332 w 569510"/>
              <a:gd name="connsiteY5" fmla="*/ 736290 h 828476"/>
              <a:gd name="connsiteX6" fmla="*/ 433957 w 569510"/>
              <a:gd name="connsiteY6" fmla="*/ 574365 h 828476"/>
              <a:gd name="connsiteX7" fmla="*/ 338707 w 569510"/>
              <a:gd name="connsiteY7" fmla="*/ 317190 h 828476"/>
              <a:gd name="connsiteX8" fmla="*/ 567307 w 569510"/>
              <a:gd name="connsiteY8" fmla="*/ 193365 h 828476"/>
              <a:gd name="connsiteX9" fmla="*/ 443482 w 569510"/>
              <a:gd name="connsiteY9" fmla="*/ 2865 h 828476"/>
              <a:gd name="connsiteX10" fmla="*/ 262507 w 569510"/>
              <a:gd name="connsiteY10" fmla="*/ 69540 h 828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9510" h="828476">
                <a:moveTo>
                  <a:pt x="262507" y="69540"/>
                </a:moveTo>
                <a:cubicBezTo>
                  <a:pt x="200595" y="98115"/>
                  <a:pt x="94232" y="110815"/>
                  <a:pt x="72007" y="174315"/>
                </a:cubicBezTo>
                <a:cubicBezTo>
                  <a:pt x="49782" y="237815"/>
                  <a:pt x="140270" y="385452"/>
                  <a:pt x="129157" y="450540"/>
                </a:cubicBezTo>
                <a:cubicBezTo>
                  <a:pt x="118044" y="515628"/>
                  <a:pt x="-29593" y="502928"/>
                  <a:pt x="5332" y="564840"/>
                </a:cubicBezTo>
                <a:cubicBezTo>
                  <a:pt x="40257" y="626753"/>
                  <a:pt x="275207" y="793440"/>
                  <a:pt x="338707" y="822015"/>
                </a:cubicBezTo>
                <a:cubicBezTo>
                  <a:pt x="402207" y="850590"/>
                  <a:pt x="370457" y="777565"/>
                  <a:pt x="386332" y="736290"/>
                </a:cubicBezTo>
                <a:cubicBezTo>
                  <a:pt x="402207" y="695015"/>
                  <a:pt x="441894" y="644215"/>
                  <a:pt x="433957" y="574365"/>
                </a:cubicBezTo>
                <a:cubicBezTo>
                  <a:pt x="426020" y="504515"/>
                  <a:pt x="316482" y="380690"/>
                  <a:pt x="338707" y="317190"/>
                </a:cubicBezTo>
                <a:cubicBezTo>
                  <a:pt x="360932" y="253690"/>
                  <a:pt x="549845" y="245752"/>
                  <a:pt x="567307" y="193365"/>
                </a:cubicBezTo>
                <a:cubicBezTo>
                  <a:pt x="584769" y="140978"/>
                  <a:pt x="494282" y="18740"/>
                  <a:pt x="443482" y="2865"/>
                </a:cubicBezTo>
                <a:cubicBezTo>
                  <a:pt x="392682" y="-13010"/>
                  <a:pt x="324419" y="40965"/>
                  <a:pt x="262507" y="69540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16" name="Freeform 15"/>
          <p:cNvSpPr/>
          <p:nvPr/>
        </p:nvSpPr>
        <p:spPr>
          <a:xfrm>
            <a:off x="2847958" y="905410"/>
            <a:ext cx="214840" cy="105283"/>
          </a:xfrm>
          <a:custGeom>
            <a:avLst/>
            <a:gdLst>
              <a:gd name="connsiteX0" fmla="*/ 533444 w 572906"/>
              <a:gd name="connsiteY0" fmla="*/ 157 h 280754"/>
              <a:gd name="connsiteX1" fmla="*/ 466769 w 572906"/>
              <a:gd name="connsiteY1" fmla="*/ 38257 h 280754"/>
              <a:gd name="connsiteX2" fmla="*/ 44 w 572906"/>
              <a:gd name="connsiteY2" fmla="*/ 181132 h 280754"/>
              <a:gd name="connsiteX3" fmla="*/ 495344 w 572906"/>
              <a:gd name="connsiteY3" fmla="*/ 276382 h 280754"/>
              <a:gd name="connsiteX4" fmla="*/ 571544 w 572906"/>
              <a:gd name="connsiteY4" fmla="*/ 38257 h 280754"/>
              <a:gd name="connsiteX5" fmla="*/ 533444 w 572906"/>
              <a:gd name="connsiteY5" fmla="*/ 157 h 280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2906" h="280754">
                <a:moveTo>
                  <a:pt x="533444" y="157"/>
                </a:moveTo>
                <a:cubicBezTo>
                  <a:pt x="515982" y="157"/>
                  <a:pt x="555669" y="8095"/>
                  <a:pt x="466769" y="38257"/>
                </a:cubicBezTo>
                <a:cubicBezTo>
                  <a:pt x="377869" y="68419"/>
                  <a:pt x="-4719" y="141445"/>
                  <a:pt x="44" y="181132"/>
                </a:cubicBezTo>
                <a:cubicBezTo>
                  <a:pt x="4806" y="220820"/>
                  <a:pt x="400094" y="300195"/>
                  <a:pt x="495344" y="276382"/>
                </a:cubicBezTo>
                <a:cubicBezTo>
                  <a:pt x="590594" y="252570"/>
                  <a:pt x="563607" y="81119"/>
                  <a:pt x="571544" y="38257"/>
                </a:cubicBezTo>
                <a:cubicBezTo>
                  <a:pt x="579481" y="-4605"/>
                  <a:pt x="550906" y="157"/>
                  <a:pt x="533444" y="157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19" name="Freeform 18"/>
          <p:cNvSpPr/>
          <p:nvPr/>
        </p:nvSpPr>
        <p:spPr>
          <a:xfrm>
            <a:off x="3205598" y="874106"/>
            <a:ext cx="237824" cy="131402"/>
          </a:xfrm>
          <a:custGeom>
            <a:avLst/>
            <a:gdLst>
              <a:gd name="connsiteX0" fmla="*/ 65515 w 634198"/>
              <a:gd name="connsiteY0" fmla="*/ 7434 h 350404"/>
              <a:gd name="connsiteX1" fmla="*/ 608440 w 634198"/>
              <a:gd name="connsiteY1" fmla="*/ 274134 h 350404"/>
              <a:gd name="connsiteX2" fmla="*/ 513190 w 634198"/>
              <a:gd name="connsiteY2" fmla="*/ 350334 h 350404"/>
              <a:gd name="connsiteX3" fmla="*/ 217915 w 634198"/>
              <a:gd name="connsiteY3" fmla="*/ 283659 h 350404"/>
              <a:gd name="connsiteX4" fmla="*/ 27415 w 634198"/>
              <a:gd name="connsiteY4" fmla="*/ 93159 h 350404"/>
              <a:gd name="connsiteX5" fmla="*/ 65515 w 634198"/>
              <a:gd name="connsiteY5" fmla="*/ 7434 h 350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4198" h="350404">
                <a:moveTo>
                  <a:pt x="65515" y="7434"/>
                </a:moveTo>
                <a:cubicBezTo>
                  <a:pt x="162353" y="37597"/>
                  <a:pt x="533828" y="216984"/>
                  <a:pt x="608440" y="274134"/>
                </a:cubicBezTo>
                <a:cubicBezTo>
                  <a:pt x="683053" y="331284"/>
                  <a:pt x="578277" y="348747"/>
                  <a:pt x="513190" y="350334"/>
                </a:cubicBezTo>
                <a:cubicBezTo>
                  <a:pt x="448103" y="351921"/>
                  <a:pt x="298877" y="326521"/>
                  <a:pt x="217915" y="283659"/>
                </a:cubicBezTo>
                <a:cubicBezTo>
                  <a:pt x="136953" y="240797"/>
                  <a:pt x="54402" y="140784"/>
                  <a:pt x="27415" y="93159"/>
                </a:cubicBezTo>
                <a:cubicBezTo>
                  <a:pt x="428" y="45534"/>
                  <a:pt x="-31323" y="-22729"/>
                  <a:pt x="65515" y="7434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20" name="Freeform 19"/>
          <p:cNvSpPr/>
          <p:nvPr/>
        </p:nvSpPr>
        <p:spPr>
          <a:xfrm>
            <a:off x="3490448" y="711209"/>
            <a:ext cx="378847" cy="259660"/>
          </a:xfrm>
          <a:custGeom>
            <a:avLst/>
            <a:gdLst>
              <a:gd name="connsiteX0" fmla="*/ 229839 w 1010259"/>
              <a:gd name="connsiteY0" fmla="*/ 3678 h 692426"/>
              <a:gd name="connsiteX1" fmla="*/ 1239 w 1010259"/>
              <a:gd name="connsiteY1" fmla="*/ 251328 h 692426"/>
              <a:gd name="connsiteX2" fmla="*/ 153639 w 1010259"/>
              <a:gd name="connsiteY2" fmla="*/ 422778 h 692426"/>
              <a:gd name="connsiteX3" fmla="*/ 467964 w 1010259"/>
              <a:gd name="connsiteY3" fmla="*/ 641853 h 692426"/>
              <a:gd name="connsiteX4" fmla="*/ 687039 w 1010259"/>
              <a:gd name="connsiteY4" fmla="*/ 679953 h 692426"/>
              <a:gd name="connsiteX5" fmla="*/ 934689 w 1010259"/>
              <a:gd name="connsiteY5" fmla="*/ 470403 h 692426"/>
              <a:gd name="connsiteX6" fmla="*/ 991839 w 1010259"/>
              <a:gd name="connsiteY6" fmla="*/ 365628 h 692426"/>
              <a:gd name="connsiteX7" fmla="*/ 648939 w 1010259"/>
              <a:gd name="connsiteY7" fmla="*/ 203703 h 692426"/>
              <a:gd name="connsiteX8" fmla="*/ 353664 w 1010259"/>
              <a:gd name="connsiteY8" fmla="*/ 108453 h 692426"/>
              <a:gd name="connsiteX9" fmla="*/ 229839 w 1010259"/>
              <a:gd name="connsiteY9" fmla="*/ 3678 h 692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10259" h="692426">
                <a:moveTo>
                  <a:pt x="229839" y="3678"/>
                </a:moveTo>
                <a:cubicBezTo>
                  <a:pt x="171102" y="27490"/>
                  <a:pt x="13939" y="181478"/>
                  <a:pt x="1239" y="251328"/>
                </a:cubicBezTo>
                <a:cubicBezTo>
                  <a:pt x="-11461" y="321178"/>
                  <a:pt x="75852" y="357691"/>
                  <a:pt x="153639" y="422778"/>
                </a:cubicBezTo>
                <a:cubicBezTo>
                  <a:pt x="231426" y="487865"/>
                  <a:pt x="379064" y="598991"/>
                  <a:pt x="467964" y="641853"/>
                </a:cubicBezTo>
                <a:cubicBezTo>
                  <a:pt x="556864" y="684716"/>
                  <a:pt x="609252" y="708528"/>
                  <a:pt x="687039" y="679953"/>
                </a:cubicBezTo>
                <a:cubicBezTo>
                  <a:pt x="764826" y="651378"/>
                  <a:pt x="883889" y="522791"/>
                  <a:pt x="934689" y="470403"/>
                </a:cubicBezTo>
                <a:cubicBezTo>
                  <a:pt x="985489" y="418016"/>
                  <a:pt x="1039464" y="410078"/>
                  <a:pt x="991839" y="365628"/>
                </a:cubicBezTo>
                <a:cubicBezTo>
                  <a:pt x="944214" y="321178"/>
                  <a:pt x="755301" y="246565"/>
                  <a:pt x="648939" y="203703"/>
                </a:cubicBezTo>
                <a:cubicBezTo>
                  <a:pt x="542577" y="160841"/>
                  <a:pt x="420339" y="138615"/>
                  <a:pt x="353664" y="108453"/>
                </a:cubicBezTo>
                <a:cubicBezTo>
                  <a:pt x="286989" y="78291"/>
                  <a:pt x="288576" y="-20134"/>
                  <a:pt x="229839" y="3678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25" name="Freeform 24"/>
          <p:cNvSpPr/>
          <p:nvPr/>
        </p:nvSpPr>
        <p:spPr>
          <a:xfrm>
            <a:off x="3469240" y="893404"/>
            <a:ext cx="115343" cy="122824"/>
          </a:xfrm>
          <a:custGeom>
            <a:avLst/>
            <a:gdLst>
              <a:gd name="connsiteX0" fmla="*/ 29218 w 307582"/>
              <a:gd name="connsiteY0" fmla="*/ 3600 h 327531"/>
              <a:gd name="connsiteX1" fmla="*/ 105418 w 307582"/>
              <a:gd name="connsiteY1" fmla="*/ 22650 h 327531"/>
              <a:gd name="connsiteX2" fmla="*/ 305443 w 307582"/>
              <a:gd name="connsiteY2" fmla="*/ 175050 h 327531"/>
              <a:gd name="connsiteX3" fmla="*/ 200668 w 307582"/>
              <a:gd name="connsiteY3" fmla="*/ 327450 h 327531"/>
              <a:gd name="connsiteX4" fmla="*/ 38743 w 307582"/>
              <a:gd name="connsiteY4" fmla="*/ 194100 h 327531"/>
              <a:gd name="connsiteX5" fmla="*/ 643 w 307582"/>
              <a:gd name="connsiteY5" fmla="*/ 51225 h 327531"/>
              <a:gd name="connsiteX6" fmla="*/ 29218 w 307582"/>
              <a:gd name="connsiteY6" fmla="*/ 3600 h 32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582" h="327531">
                <a:moveTo>
                  <a:pt x="29218" y="3600"/>
                </a:moveTo>
                <a:cubicBezTo>
                  <a:pt x="46681" y="-1163"/>
                  <a:pt x="59380" y="-5925"/>
                  <a:pt x="105418" y="22650"/>
                </a:cubicBezTo>
                <a:cubicBezTo>
                  <a:pt x="151456" y="51225"/>
                  <a:pt x="289568" y="124250"/>
                  <a:pt x="305443" y="175050"/>
                </a:cubicBezTo>
                <a:cubicBezTo>
                  <a:pt x="321318" y="225850"/>
                  <a:pt x="245118" y="324275"/>
                  <a:pt x="200668" y="327450"/>
                </a:cubicBezTo>
                <a:cubicBezTo>
                  <a:pt x="156218" y="330625"/>
                  <a:pt x="72081" y="240138"/>
                  <a:pt x="38743" y="194100"/>
                </a:cubicBezTo>
                <a:cubicBezTo>
                  <a:pt x="5405" y="148063"/>
                  <a:pt x="-2532" y="84562"/>
                  <a:pt x="643" y="51225"/>
                </a:cubicBezTo>
                <a:cubicBezTo>
                  <a:pt x="3818" y="17888"/>
                  <a:pt x="11755" y="8363"/>
                  <a:pt x="29218" y="3600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30" name="Freeform 29"/>
          <p:cNvSpPr/>
          <p:nvPr/>
        </p:nvSpPr>
        <p:spPr>
          <a:xfrm>
            <a:off x="4896093" y="2533798"/>
            <a:ext cx="287052" cy="232066"/>
          </a:xfrm>
          <a:custGeom>
            <a:avLst/>
            <a:gdLst>
              <a:gd name="connsiteX0" fmla="*/ 411102 w 765471"/>
              <a:gd name="connsiteY0" fmla="*/ 6178 h 618842"/>
              <a:gd name="connsiteX1" fmla="*/ 411102 w 765471"/>
              <a:gd name="connsiteY1" fmla="*/ 280498 h 618842"/>
              <a:gd name="connsiteX2" fmla="*/ 609222 w 765471"/>
              <a:gd name="connsiteY2" fmla="*/ 349078 h 618842"/>
              <a:gd name="connsiteX3" fmla="*/ 723522 w 765471"/>
              <a:gd name="connsiteY3" fmla="*/ 516718 h 618842"/>
              <a:gd name="connsiteX4" fmla="*/ 761622 w 765471"/>
              <a:gd name="connsiteY4" fmla="*/ 615778 h 618842"/>
              <a:gd name="connsiteX5" fmla="*/ 639702 w 765471"/>
              <a:gd name="connsiteY5" fmla="*/ 585298 h 618842"/>
              <a:gd name="connsiteX6" fmla="*/ 426342 w 765471"/>
              <a:gd name="connsiteY6" fmla="*/ 501478 h 618842"/>
              <a:gd name="connsiteX7" fmla="*/ 144402 w 765471"/>
              <a:gd name="connsiteY7" fmla="*/ 486238 h 618842"/>
              <a:gd name="connsiteX8" fmla="*/ 30102 w 765471"/>
              <a:gd name="connsiteY8" fmla="*/ 509098 h 618842"/>
              <a:gd name="connsiteX9" fmla="*/ 7242 w 765471"/>
              <a:gd name="connsiteY9" fmla="*/ 379558 h 618842"/>
              <a:gd name="connsiteX10" fmla="*/ 136782 w 765471"/>
              <a:gd name="connsiteY10" fmla="*/ 310978 h 618842"/>
              <a:gd name="connsiteX11" fmla="*/ 197742 w 765471"/>
              <a:gd name="connsiteY11" fmla="*/ 105238 h 618842"/>
              <a:gd name="connsiteX12" fmla="*/ 411102 w 765471"/>
              <a:gd name="connsiteY12" fmla="*/ 6178 h 618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65471" h="618842">
                <a:moveTo>
                  <a:pt x="411102" y="6178"/>
                </a:moveTo>
                <a:cubicBezTo>
                  <a:pt x="446662" y="35388"/>
                  <a:pt x="378082" y="223348"/>
                  <a:pt x="411102" y="280498"/>
                </a:cubicBezTo>
                <a:cubicBezTo>
                  <a:pt x="444122" y="337648"/>
                  <a:pt x="557152" y="309708"/>
                  <a:pt x="609222" y="349078"/>
                </a:cubicBezTo>
                <a:cubicBezTo>
                  <a:pt x="661292" y="388448"/>
                  <a:pt x="698122" y="472268"/>
                  <a:pt x="723522" y="516718"/>
                </a:cubicBezTo>
                <a:cubicBezTo>
                  <a:pt x="748922" y="561168"/>
                  <a:pt x="775592" y="604348"/>
                  <a:pt x="761622" y="615778"/>
                </a:cubicBezTo>
                <a:cubicBezTo>
                  <a:pt x="747652" y="627208"/>
                  <a:pt x="695582" y="604348"/>
                  <a:pt x="639702" y="585298"/>
                </a:cubicBezTo>
                <a:cubicBezTo>
                  <a:pt x="583822" y="566248"/>
                  <a:pt x="508892" y="517988"/>
                  <a:pt x="426342" y="501478"/>
                </a:cubicBezTo>
                <a:cubicBezTo>
                  <a:pt x="343792" y="484968"/>
                  <a:pt x="210442" y="484968"/>
                  <a:pt x="144402" y="486238"/>
                </a:cubicBezTo>
                <a:cubicBezTo>
                  <a:pt x="78362" y="487508"/>
                  <a:pt x="52962" y="526878"/>
                  <a:pt x="30102" y="509098"/>
                </a:cubicBezTo>
                <a:cubicBezTo>
                  <a:pt x="7242" y="491318"/>
                  <a:pt x="-10538" y="412578"/>
                  <a:pt x="7242" y="379558"/>
                </a:cubicBezTo>
                <a:cubicBezTo>
                  <a:pt x="25022" y="346538"/>
                  <a:pt x="105032" y="356698"/>
                  <a:pt x="136782" y="310978"/>
                </a:cubicBezTo>
                <a:cubicBezTo>
                  <a:pt x="168532" y="265258"/>
                  <a:pt x="150752" y="152228"/>
                  <a:pt x="197742" y="105238"/>
                </a:cubicBezTo>
                <a:cubicBezTo>
                  <a:pt x="244732" y="58248"/>
                  <a:pt x="375542" y="-23032"/>
                  <a:pt x="411102" y="6178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32" name="Freeform 31"/>
          <p:cNvSpPr/>
          <p:nvPr/>
        </p:nvSpPr>
        <p:spPr>
          <a:xfrm>
            <a:off x="4165230" y="3609677"/>
            <a:ext cx="51973" cy="61675"/>
          </a:xfrm>
          <a:custGeom>
            <a:avLst/>
            <a:gdLst>
              <a:gd name="connsiteX0" fmla="*/ 46496 w 138595"/>
              <a:gd name="connsiteY0" fmla="*/ 202 h 133713"/>
              <a:gd name="connsiteX1" fmla="*/ 2046 w 138595"/>
              <a:gd name="connsiteY1" fmla="*/ 70052 h 133713"/>
              <a:gd name="connsiteX2" fmla="*/ 109996 w 138595"/>
              <a:gd name="connsiteY2" fmla="*/ 133552 h 133713"/>
              <a:gd name="connsiteX3" fmla="*/ 135396 w 138595"/>
              <a:gd name="connsiteY3" fmla="*/ 51002 h 133713"/>
              <a:gd name="connsiteX4" fmla="*/ 46496 w 138595"/>
              <a:gd name="connsiteY4" fmla="*/ 202 h 13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595" h="133713">
                <a:moveTo>
                  <a:pt x="46496" y="202"/>
                </a:moveTo>
                <a:cubicBezTo>
                  <a:pt x="24271" y="3377"/>
                  <a:pt x="-8537" y="47827"/>
                  <a:pt x="2046" y="70052"/>
                </a:cubicBezTo>
                <a:cubicBezTo>
                  <a:pt x="12629" y="92277"/>
                  <a:pt x="87771" y="136727"/>
                  <a:pt x="109996" y="133552"/>
                </a:cubicBezTo>
                <a:cubicBezTo>
                  <a:pt x="132221" y="130377"/>
                  <a:pt x="144921" y="70052"/>
                  <a:pt x="135396" y="51002"/>
                </a:cubicBezTo>
                <a:cubicBezTo>
                  <a:pt x="125871" y="31952"/>
                  <a:pt x="68721" y="-2973"/>
                  <a:pt x="46496" y="202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98" name="Freeform 97"/>
          <p:cNvSpPr/>
          <p:nvPr/>
        </p:nvSpPr>
        <p:spPr>
          <a:xfrm rot="19424021">
            <a:off x="4242674" y="3671352"/>
            <a:ext cx="38516" cy="52983"/>
          </a:xfrm>
          <a:custGeom>
            <a:avLst/>
            <a:gdLst>
              <a:gd name="connsiteX0" fmla="*/ 46496 w 138595"/>
              <a:gd name="connsiteY0" fmla="*/ 202 h 133713"/>
              <a:gd name="connsiteX1" fmla="*/ 2046 w 138595"/>
              <a:gd name="connsiteY1" fmla="*/ 70052 h 133713"/>
              <a:gd name="connsiteX2" fmla="*/ 109996 w 138595"/>
              <a:gd name="connsiteY2" fmla="*/ 133552 h 133713"/>
              <a:gd name="connsiteX3" fmla="*/ 135396 w 138595"/>
              <a:gd name="connsiteY3" fmla="*/ 51002 h 133713"/>
              <a:gd name="connsiteX4" fmla="*/ 46496 w 138595"/>
              <a:gd name="connsiteY4" fmla="*/ 202 h 13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595" h="133713">
                <a:moveTo>
                  <a:pt x="46496" y="202"/>
                </a:moveTo>
                <a:cubicBezTo>
                  <a:pt x="24271" y="3377"/>
                  <a:pt x="-8537" y="47827"/>
                  <a:pt x="2046" y="70052"/>
                </a:cubicBezTo>
                <a:cubicBezTo>
                  <a:pt x="12629" y="92277"/>
                  <a:pt x="87771" y="136727"/>
                  <a:pt x="109996" y="133552"/>
                </a:cubicBezTo>
                <a:cubicBezTo>
                  <a:pt x="132221" y="130377"/>
                  <a:pt x="144921" y="70052"/>
                  <a:pt x="135396" y="51002"/>
                </a:cubicBezTo>
                <a:cubicBezTo>
                  <a:pt x="125871" y="31952"/>
                  <a:pt x="68721" y="-2973"/>
                  <a:pt x="46496" y="202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99" name="Freeform 98"/>
          <p:cNvSpPr/>
          <p:nvPr/>
        </p:nvSpPr>
        <p:spPr>
          <a:xfrm rot="12254004">
            <a:off x="4305917" y="3724334"/>
            <a:ext cx="35550" cy="35192"/>
          </a:xfrm>
          <a:custGeom>
            <a:avLst/>
            <a:gdLst>
              <a:gd name="connsiteX0" fmla="*/ 46496 w 138595"/>
              <a:gd name="connsiteY0" fmla="*/ 202 h 133713"/>
              <a:gd name="connsiteX1" fmla="*/ 2046 w 138595"/>
              <a:gd name="connsiteY1" fmla="*/ 70052 h 133713"/>
              <a:gd name="connsiteX2" fmla="*/ 109996 w 138595"/>
              <a:gd name="connsiteY2" fmla="*/ 133552 h 133713"/>
              <a:gd name="connsiteX3" fmla="*/ 135396 w 138595"/>
              <a:gd name="connsiteY3" fmla="*/ 51002 h 133713"/>
              <a:gd name="connsiteX4" fmla="*/ 46496 w 138595"/>
              <a:gd name="connsiteY4" fmla="*/ 202 h 13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595" h="133713">
                <a:moveTo>
                  <a:pt x="46496" y="202"/>
                </a:moveTo>
                <a:cubicBezTo>
                  <a:pt x="24271" y="3377"/>
                  <a:pt x="-8537" y="47827"/>
                  <a:pt x="2046" y="70052"/>
                </a:cubicBezTo>
                <a:cubicBezTo>
                  <a:pt x="12629" y="92277"/>
                  <a:pt x="87771" y="136727"/>
                  <a:pt x="109996" y="133552"/>
                </a:cubicBezTo>
                <a:cubicBezTo>
                  <a:pt x="132221" y="130377"/>
                  <a:pt x="144921" y="70052"/>
                  <a:pt x="135396" y="51002"/>
                </a:cubicBezTo>
                <a:cubicBezTo>
                  <a:pt x="125871" y="31952"/>
                  <a:pt x="68721" y="-2973"/>
                  <a:pt x="46496" y="202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103" name="Freeform 102"/>
          <p:cNvSpPr/>
          <p:nvPr/>
        </p:nvSpPr>
        <p:spPr>
          <a:xfrm rot="1937142">
            <a:off x="4725101" y="3933379"/>
            <a:ext cx="47685" cy="49583"/>
          </a:xfrm>
          <a:custGeom>
            <a:avLst/>
            <a:gdLst>
              <a:gd name="connsiteX0" fmla="*/ 46496 w 138595"/>
              <a:gd name="connsiteY0" fmla="*/ 202 h 133713"/>
              <a:gd name="connsiteX1" fmla="*/ 2046 w 138595"/>
              <a:gd name="connsiteY1" fmla="*/ 70052 h 133713"/>
              <a:gd name="connsiteX2" fmla="*/ 109996 w 138595"/>
              <a:gd name="connsiteY2" fmla="*/ 133552 h 133713"/>
              <a:gd name="connsiteX3" fmla="*/ 135396 w 138595"/>
              <a:gd name="connsiteY3" fmla="*/ 51002 h 133713"/>
              <a:gd name="connsiteX4" fmla="*/ 46496 w 138595"/>
              <a:gd name="connsiteY4" fmla="*/ 202 h 13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595" h="133713">
                <a:moveTo>
                  <a:pt x="46496" y="202"/>
                </a:moveTo>
                <a:cubicBezTo>
                  <a:pt x="24271" y="3377"/>
                  <a:pt x="-8537" y="47827"/>
                  <a:pt x="2046" y="70052"/>
                </a:cubicBezTo>
                <a:cubicBezTo>
                  <a:pt x="12629" y="92277"/>
                  <a:pt x="87771" y="136727"/>
                  <a:pt x="109996" y="133552"/>
                </a:cubicBezTo>
                <a:cubicBezTo>
                  <a:pt x="132221" y="130377"/>
                  <a:pt x="144921" y="70052"/>
                  <a:pt x="135396" y="51002"/>
                </a:cubicBezTo>
                <a:cubicBezTo>
                  <a:pt x="125871" y="31952"/>
                  <a:pt x="68721" y="-2973"/>
                  <a:pt x="46496" y="202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104" name="Freeform 103"/>
          <p:cNvSpPr/>
          <p:nvPr/>
        </p:nvSpPr>
        <p:spPr>
          <a:xfrm rot="21361163">
            <a:off x="4747703" y="4017154"/>
            <a:ext cx="38516" cy="52983"/>
          </a:xfrm>
          <a:custGeom>
            <a:avLst/>
            <a:gdLst>
              <a:gd name="connsiteX0" fmla="*/ 46496 w 138595"/>
              <a:gd name="connsiteY0" fmla="*/ 202 h 133713"/>
              <a:gd name="connsiteX1" fmla="*/ 2046 w 138595"/>
              <a:gd name="connsiteY1" fmla="*/ 70052 h 133713"/>
              <a:gd name="connsiteX2" fmla="*/ 109996 w 138595"/>
              <a:gd name="connsiteY2" fmla="*/ 133552 h 133713"/>
              <a:gd name="connsiteX3" fmla="*/ 135396 w 138595"/>
              <a:gd name="connsiteY3" fmla="*/ 51002 h 133713"/>
              <a:gd name="connsiteX4" fmla="*/ 46496 w 138595"/>
              <a:gd name="connsiteY4" fmla="*/ 202 h 13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595" h="133713">
                <a:moveTo>
                  <a:pt x="46496" y="202"/>
                </a:moveTo>
                <a:cubicBezTo>
                  <a:pt x="24271" y="3377"/>
                  <a:pt x="-8537" y="47827"/>
                  <a:pt x="2046" y="70052"/>
                </a:cubicBezTo>
                <a:cubicBezTo>
                  <a:pt x="12629" y="92277"/>
                  <a:pt x="87771" y="136727"/>
                  <a:pt x="109996" y="133552"/>
                </a:cubicBezTo>
                <a:cubicBezTo>
                  <a:pt x="132221" y="130377"/>
                  <a:pt x="144921" y="70052"/>
                  <a:pt x="135396" y="51002"/>
                </a:cubicBezTo>
                <a:cubicBezTo>
                  <a:pt x="125871" y="31952"/>
                  <a:pt x="68721" y="-2973"/>
                  <a:pt x="46496" y="202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105" name="Freeform 104"/>
          <p:cNvSpPr/>
          <p:nvPr/>
        </p:nvSpPr>
        <p:spPr>
          <a:xfrm rot="14191146">
            <a:off x="4765656" y="4112163"/>
            <a:ext cx="35550" cy="35192"/>
          </a:xfrm>
          <a:custGeom>
            <a:avLst/>
            <a:gdLst>
              <a:gd name="connsiteX0" fmla="*/ 46496 w 138595"/>
              <a:gd name="connsiteY0" fmla="*/ 202 h 133713"/>
              <a:gd name="connsiteX1" fmla="*/ 2046 w 138595"/>
              <a:gd name="connsiteY1" fmla="*/ 70052 h 133713"/>
              <a:gd name="connsiteX2" fmla="*/ 109996 w 138595"/>
              <a:gd name="connsiteY2" fmla="*/ 133552 h 133713"/>
              <a:gd name="connsiteX3" fmla="*/ 135396 w 138595"/>
              <a:gd name="connsiteY3" fmla="*/ 51002 h 133713"/>
              <a:gd name="connsiteX4" fmla="*/ 46496 w 138595"/>
              <a:gd name="connsiteY4" fmla="*/ 202 h 13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595" h="133713">
                <a:moveTo>
                  <a:pt x="46496" y="202"/>
                </a:moveTo>
                <a:cubicBezTo>
                  <a:pt x="24271" y="3377"/>
                  <a:pt x="-8537" y="47827"/>
                  <a:pt x="2046" y="70052"/>
                </a:cubicBezTo>
                <a:cubicBezTo>
                  <a:pt x="12629" y="92277"/>
                  <a:pt x="87771" y="136727"/>
                  <a:pt x="109996" y="133552"/>
                </a:cubicBezTo>
                <a:cubicBezTo>
                  <a:pt x="132221" y="130377"/>
                  <a:pt x="144921" y="70052"/>
                  <a:pt x="135396" y="51002"/>
                </a:cubicBezTo>
                <a:cubicBezTo>
                  <a:pt x="125871" y="31952"/>
                  <a:pt x="68721" y="-2973"/>
                  <a:pt x="46496" y="202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34" name="Freeform 33"/>
          <p:cNvSpPr/>
          <p:nvPr/>
        </p:nvSpPr>
        <p:spPr>
          <a:xfrm>
            <a:off x="7304019" y="783031"/>
            <a:ext cx="786073" cy="1132067"/>
          </a:xfrm>
          <a:custGeom>
            <a:avLst/>
            <a:gdLst>
              <a:gd name="connsiteX0" fmla="*/ 2096194 w 2096194"/>
              <a:gd name="connsiteY0" fmla="*/ 19797 h 3018844"/>
              <a:gd name="connsiteX1" fmla="*/ 1867594 w 2096194"/>
              <a:gd name="connsiteY1" fmla="*/ 19797 h 3018844"/>
              <a:gd name="connsiteX2" fmla="*/ 1799014 w 2096194"/>
              <a:gd name="connsiteY2" fmla="*/ 225537 h 3018844"/>
              <a:gd name="connsiteX3" fmla="*/ 1478974 w 2096194"/>
              <a:gd name="connsiteY3" fmla="*/ 248397 h 3018844"/>
              <a:gd name="connsiteX4" fmla="*/ 1570414 w 2096194"/>
              <a:gd name="connsiteY4" fmla="*/ 461757 h 3018844"/>
              <a:gd name="connsiteX5" fmla="*/ 1341814 w 2096194"/>
              <a:gd name="connsiteY5" fmla="*/ 545577 h 3018844"/>
              <a:gd name="connsiteX6" fmla="*/ 983674 w 2096194"/>
              <a:gd name="connsiteY6" fmla="*/ 1132317 h 3018844"/>
              <a:gd name="connsiteX7" fmla="*/ 732214 w 2096194"/>
              <a:gd name="connsiteY7" fmla="*/ 1444737 h 3018844"/>
              <a:gd name="connsiteX8" fmla="*/ 31174 w 2096194"/>
              <a:gd name="connsiteY8" fmla="*/ 1726677 h 3018844"/>
              <a:gd name="connsiteX9" fmla="*/ 153094 w 2096194"/>
              <a:gd name="connsiteY9" fmla="*/ 1894317 h 3018844"/>
              <a:gd name="connsiteX10" fmla="*/ 427414 w 2096194"/>
              <a:gd name="connsiteY10" fmla="*/ 1856217 h 3018844"/>
              <a:gd name="connsiteX11" fmla="*/ 244534 w 2096194"/>
              <a:gd name="connsiteY11" fmla="*/ 2122917 h 3018844"/>
              <a:gd name="connsiteX12" fmla="*/ 320734 w 2096194"/>
              <a:gd name="connsiteY12" fmla="*/ 2496297 h 3018844"/>
              <a:gd name="connsiteX13" fmla="*/ 549334 w 2096194"/>
              <a:gd name="connsiteY13" fmla="*/ 2519157 h 3018844"/>
              <a:gd name="connsiteX14" fmla="*/ 922714 w 2096194"/>
              <a:gd name="connsiteY14" fmla="*/ 2168637 h 3018844"/>
              <a:gd name="connsiteX15" fmla="*/ 1181794 w 2096194"/>
              <a:gd name="connsiteY15" fmla="*/ 2801097 h 3018844"/>
              <a:gd name="connsiteX16" fmla="*/ 1090354 w 2096194"/>
              <a:gd name="connsiteY16" fmla="*/ 2991597 h 3018844"/>
              <a:gd name="connsiteX17" fmla="*/ 1349434 w 2096194"/>
              <a:gd name="connsiteY17" fmla="*/ 2991597 h 3018844"/>
              <a:gd name="connsiteX18" fmla="*/ 1593274 w 2096194"/>
              <a:gd name="connsiteY18" fmla="*/ 2747757 h 3018844"/>
              <a:gd name="connsiteX19" fmla="*/ 1646614 w 2096194"/>
              <a:gd name="connsiteY19" fmla="*/ 2427717 h 3018844"/>
              <a:gd name="connsiteX20" fmla="*/ 1852354 w 2096194"/>
              <a:gd name="connsiteY20" fmla="*/ 2260077 h 3018844"/>
              <a:gd name="connsiteX21" fmla="*/ 1699954 w 2096194"/>
              <a:gd name="connsiteY21" fmla="*/ 2145777 h 3018844"/>
              <a:gd name="connsiteX22" fmla="*/ 1859974 w 2096194"/>
              <a:gd name="connsiteY22" fmla="*/ 2016237 h 3018844"/>
              <a:gd name="connsiteX23" fmla="*/ 1715194 w 2096194"/>
              <a:gd name="connsiteY23" fmla="*/ 1802877 h 3018844"/>
              <a:gd name="connsiteX24" fmla="*/ 1966654 w 2096194"/>
              <a:gd name="connsiteY24" fmla="*/ 1467597 h 3018844"/>
              <a:gd name="connsiteX25" fmla="*/ 2073334 w 2096194"/>
              <a:gd name="connsiteY25" fmla="*/ 1216137 h 301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096194" h="3018844">
                <a:moveTo>
                  <a:pt x="2096194" y="19797"/>
                </a:moveTo>
                <a:cubicBezTo>
                  <a:pt x="2006659" y="2652"/>
                  <a:pt x="1917124" y="-14493"/>
                  <a:pt x="1867594" y="19797"/>
                </a:cubicBezTo>
                <a:cubicBezTo>
                  <a:pt x="1818064" y="54087"/>
                  <a:pt x="1863784" y="187437"/>
                  <a:pt x="1799014" y="225537"/>
                </a:cubicBezTo>
                <a:cubicBezTo>
                  <a:pt x="1734244" y="263637"/>
                  <a:pt x="1517074" y="209027"/>
                  <a:pt x="1478974" y="248397"/>
                </a:cubicBezTo>
                <a:cubicBezTo>
                  <a:pt x="1440874" y="287767"/>
                  <a:pt x="1593274" y="412227"/>
                  <a:pt x="1570414" y="461757"/>
                </a:cubicBezTo>
                <a:cubicBezTo>
                  <a:pt x="1547554" y="511287"/>
                  <a:pt x="1439604" y="433817"/>
                  <a:pt x="1341814" y="545577"/>
                </a:cubicBezTo>
                <a:cubicBezTo>
                  <a:pt x="1244024" y="657337"/>
                  <a:pt x="1085274" y="982457"/>
                  <a:pt x="983674" y="1132317"/>
                </a:cubicBezTo>
                <a:cubicBezTo>
                  <a:pt x="882074" y="1282177"/>
                  <a:pt x="890964" y="1345677"/>
                  <a:pt x="732214" y="1444737"/>
                </a:cubicBezTo>
                <a:cubicBezTo>
                  <a:pt x="573464" y="1543797"/>
                  <a:pt x="127694" y="1651747"/>
                  <a:pt x="31174" y="1726677"/>
                </a:cubicBezTo>
                <a:cubicBezTo>
                  <a:pt x="-65346" y="1801607"/>
                  <a:pt x="87054" y="1872727"/>
                  <a:pt x="153094" y="1894317"/>
                </a:cubicBezTo>
                <a:cubicBezTo>
                  <a:pt x="219134" y="1915907"/>
                  <a:pt x="412174" y="1818117"/>
                  <a:pt x="427414" y="1856217"/>
                </a:cubicBezTo>
                <a:cubicBezTo>
                  <a:pt x="442654" y="1894317"/>
                  <a:pt x="262314" y="2016237"/>
                  <a:pt x="244534" y="2122917"/>
                </a:cubicBezTo>
                <a:cubicBezTo>
                  <a:pt x="226754" y="2229597"/>
                  <a:pt x="269934" y="2430257"/>
                  <a:pt x="320734" y="2496297"/>
                </a:cubicBezTo>
                <a:cubicBezTo>
                  <a:pt x="371534" y="2562337"/>
                  <a:pt x="449004" y="2573767"/>
                  <a:pt x="549334" y="2519157"/>
                </a:cubicBezTo>
                <a:cubicBezTo>
                  <a:pt x="649664" y="2464547"/>
                  <a:pt x="817304" y="2121647"/>
                  <a:pt x="922714" y="2168637"/>
                </a:cubicBezTo>
                <a:cubicBezTo>
                  <a:pt x="1028124" y="2215627"/>
                  <a:pt x="1153854" y="2663937"/>
                  <a:pt x="1181794" y="2801097"/>
                </a:cubicBezTo>
                <a:cubicBezTo>
                  <a:pt x="1209734" y="2938257"/>
                  <a:pt x="1062414" y="2959847"/>
                  <a:pt x="1090354" y="2991597"/>
                </a:cubicBezTo>
                <a:cubicBezTo>
                  <a:pt x="1118294" y="3023347"/>
                  <a:pt x="1265614" y="3032237"/>
                  <a:pt x="1349434" y="2991597"/>
                </a:cubicBezTo>
                <a:cubicBezTo>
                  <a:pt x="1433254" y="2950957"/>
                  <a:pt x="1543744" y="2841737"/>
                  <a:pt x="1593274" y="2747757"/>
                </a:cubicBezTo>
                <a:cubicBezTo>
                  <a:pt x="1642804" y="2653777"/>
                  <a:pt x="1603434" y="2508997"/>
                  <a:pt x="1646614" y="2427717"/>
                </a:cubicBezTo>
                <a:cubicBezTo>
                  <a:pt x="1689794" y="2346437"/>
                  <a:pt x="1843464" y="2307067"/>
                  <a:pt x="1852354" y="2260077"/>
                </a:cubicBezTo>
                <a:cubicBezTo>
                  <a:pt x="1861244" y="2213087"/>
                  <a:pt x="1698684" y="2186417"/>
                  <a:pt x="1699954" y="2145777"/>
                </a:cubicBezTo>
                <a:cubicBezTo>
                  <a:pt x="1701224" y="2105137"/>
                  <a:pt x="1857434" y="2073387"/>
                  <a:pt x="1859974" y="2016237"/>
                </a:cubicBezTo>
                <a:cubicBezTo>
                  <a:pt x="1862514" y="1959087"/>
                  <a:pt x="1697414" y="1894317"/>
                  <a:pt x="1715194" y="1802877"/>
                </a:cubicBezTo>
                <a:cubicBezTo>
                  <a:pt x="1732974" y="1711437"/>
                  <a:pt x="1906964" y="1565387"/>
                  <a:pt x="1966654" y="1467597"/>
                </a:cubicBezTo>
                <a:cubicBezTo>
                  <a:pt x="2026344" y="1369807"/>
                  <a:pt x="2055554" y="1256777"/>
                  <a:pt x="2073334" y="1216137"/>
                </a:cubicBezTo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35" name="Freeform 34"/>
          <p:cNvSpPr/>
          <p:nvPr/>
        </p:nvSpPr>
        <p:spPr>
          <a:xfrm>
            <a:off x="6609632" y="1890518"/>
            <a:ext cx="240595" cy="244347"/>
          </a:xfrm>
          <a:custGeom>
            <a:avLst/>
            <a:gdLst>
              <a:gd name="connsiteX0" fmla="*/ 633194 w 641587"/>
              <a:gd name="connsiteY0" fmla="*/ 198319 h 651591"/>
              <a:gd name="connsiteX1" fmla="*/ 556994 w 641587"/>
              <a:gd name="connsiteY1" fmla="*/ 457399 h 651591"/>
              <a:gd name="connsiteX2" fmla="*/ 526514 w 641587"/>
              <a:gd name="connsiteY2" fmla="*/ 602179 h 651591"/>
              <a:gd name="connsiteX3" fmla="*/ 137894 w 641587"/>
              <a:gd name="connsiteY3" fmla="*/ 647899 h 651591"/>
              <a:gd name="connsiteX4" fmla="*/ 734 w 641587"/>
              <a:gd name="connsiteY4" fmla="*/ 518359 h 651591"/>
              <a:gd name="connsiteX5" fmla="*/ 175994 w 641587"/>
              <a:gd name="connsiteY5" fmla="*/ 411679 h 651591"/>
              <a:gd name="connsiteX6" fmla="*/ 734 w 641587"/>
              <a:gd name="connsiteY6" fmla="*/ 289759 h 651591"/>
              <a:gd name="connsiteX7" fmla="*/ 122654 w 641587"/>
              <a:gd name="connsiteY7" fmla="*/ 160219 h 651591"/>
              <a:gd name="connsiteX8" fmla="*/ 343634 w 641587"/>
              <a:gd name="connsiteY8" fmla="*/ 167839 h 651591"/>
              <a:gd name="connsiteX9" fmla="*/ 336014 w 641587"/>
              <a:gd name="connsiteY9" fmla="*/ 199 h 651591"/>
              <a:gd name="connsiteX10" fmla="*/ 633194 w 641587"/>
              <a:gd name="connsiteY10" fmla="*/ 198319 h 651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1587" h="651591">
                <a:moveTo>
                  <a:pt x="633194" y="198319"/>
                </a:moveTo>
                <a:cubicBezTo>
                  <a:pt x="670024" y="274519"/>
                  <a:pt x="574774" y="390089"/>
                  <a:pt x="556994" y="457399"/>
                </a:cubicBezTo>
                <a:cubicBezTo>
                  <a:pt x="539214" y="524709"/>
                  <a:pt x="596364" y="570429"/>
                  <a:pt x="526514" y="602179"/>
                </a:cubicBezTo>
                <a:cubicBezTo>
                  <a:pt x="456664" y="633929"/>
                  <a:pt x="225524" y="661869"/>
                  <a:pt x="137894" y="647899"/>
                </a:cubicBezTo>
                <a:cubicBezTo>
                  <a:pt x="50264" y="633929"/>
                  <a:pt x="-5616" y="557729"/>
                  <a:pt x="734" y="518359"/>
                </a:cubicBezTo>
                <a:cubicBezTo>
                  <a:pt x="7084" y="478989"/>
                  <a:pt x="175994" y="449779"/>
                  <a:pt x="175994" y="411679"/>
                </a:cubicBezTo>
                <a:cubicBezTo>
                  <a:pt x="175994" y="373579"/>
                  <a:pt x="9624" y="331669"/>
                  <a:pt x="734" y="289759"/>
                </a:cubicBezTo>
                <a:cubicBezTo>
                  <a:pt x="-8156" y="247849"/>
                  <a:pt x="65504" y="180539"/>
                  <a:pt x="122654" y="160219"/>
                </a:cubicBezTo>
                <a:cubicBezTo>
                  <a:pt x="179804" y="139899"/>
                  <a:pt x="308074" y="194509"/>
                  <a:pt x="343634" y="167839"/>
                </a:cubicBezTo>
                <a:cubicBezTo>
                  <a:pt x="379194" y="141169"/>
                  <a:pt x="289024" y="-6151"/>
                  <a:pt x="336014" y="199"/>
                </a:cubicBezTo>
                <a:cubicBezTo>
                  <a:pt x="383004" y="6549"/>
                  <a:pt x="596364" y="122119"/>
                  <a:pt x="633194" y="198319"/>
                </a:cubicBezTo>
                <a:close/>
              </a:path>
            </a:pathLst>
          </a:cu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42" name="Freeform 41"/>
          <p:cNvSpPr/>
          <p:nvPr/>
        </p:nvSpPr>
        <p:spPr>
          <a:xfrm>
            <a:off x="6729917" y="1386835"/>
            <a:ext cx="87090" cy="95135"/>
          </a:xfrm>
          <a:custGeom>
            <a:avLst/>
            <a:gdLst>
              <a:gd name="connsiteX0" fmla="*/ 137172 w 232239"/>
              <a:gd name="connsiteY0" fmla="*/ 2232 h 253692"/>
              <a:gd name="connsiteX1" fmla="*/ 12 w 232239"/>
              <a:gd name="connsiteY1" fmla="*/ 131772 h 253692"/>
              <a:gd name="connsiteX2" fmla="*/ 129552 w 232239"/>
              <a:gd name="connsiteY2" fmla="*/ 253692 h 253692"/>
              <a:gd name="connsiteX3" fmla="*/ 205752 w 232239"/>
              <a:gd name="connsiteY3" fmla="*/ 230832 h 253692"/>
              <a:gd name="connsiteX4" fmla="*/ 228612 w 232239"/>
              <a:gd name="connsiteY4" fmla="*/ 63192 h 253692"/>
              <a:gd name="connsiteX5" fmla="*/ 137172 w 232239"/>
              <a:gd name="connsiteY5" fmla="*/ 2232 h 25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239" h="253692">
                <a:moveTo>
                  <a:pt x="137172" y="2232"/>
                </a:moveTo>
                <a:cubicBezTo>
                  <a:pt x="99072" y="13662"/>
                  <a:pt x="1282" y="89862"/>
                  <a:pt x="12" y="131772"/>
                </a:cubicBezTo>
                <a:cubicBezTo>
                  <a:pt x="-1258" y="173682"/>
                  <a:pt x="95262" y="237182"/>
                  <a:pt x="129552" y="253692"/>
                </a:cubicBezTo>
                <a:cubicBezTo>
                  <a:pt x="163842" y="270202"/>
                  <a:pt x="189242" y="262582"/>
                  <a:pt x="205752" y="230832"/>
                </a:cubicBezTo>
                <a:cubicBezTo>
                  <a:pt x="222262" y="199082"/>
                  <a:pt x="240042" y="101292"/>
                  <a:pt x="228612" y="63192"/>
                </a:cubicBezTo>
                <a:cubicBezTo>
                  <a:pt x="217182" y="25092"/>
                  <a:pt x="175272" y="-9198"/>
                  <a:pt x="137172" y="2232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43" name="Freeform 42"/>
          <p:cNvSpPr/>
          <p:nvPr/>
        </p:nvSpPr>
        <p:spPr>
          <a:xfrm>
            <a:off x="7037987" y="1500242"/>
            <a:ext cx="74880" cy="95819"/>
          </a:xfrm>
          <a:custGeom>
            <a:avLst/>
            <a:gdLst>
              <a:gd name="connsiteX0" fmla="*/ 70033 w 199680"/>
              <a:gd name="connsiteY0" fmla="*/ 4614 h 255516"/>
              <a:gd name="connsiteX1" fmla="*/ 1453 w 199680"/>
              <a:gd name="connsiteY1" fmla="*/ 149394 h 255516"/>
              <a:gd name="connsiteX2" fmla="*/ 31933 w 199680"/>
              <a:gd name="connsiteY2" fmla="*/ 248454 h 255516"/>
              <a:gd name="connsiteX3" fmla="*/ 130993 w 199680"/>
              <a:gd name="connsiteY3" fmla="*/ 233214 h 255516"/>
              <a:gd name="connsiteX4" fmla="*/ 199573 w 199680"/>
              <a:gd name="connsiteY4" fmla="*/ 118914 h 255516"/>
              <a:gd name="connsiteX5" fmla="*/ 115753 w 199680"/>
              <a:gd name="connsiteY5" fmla="*/ 111294 h 255516"/>
              <a:gd name="connsiteX6" fmla="*/ 123373 w 199680"/>
              <a:gd name="connsiteY6" fmla="*/ 42714 h 255516"/>
              <a:gd name="connsiteX7" fmla="*/ 70033 w 199680"/>
              <a:gd name="connsiteY7" fmla="*/ 4614 h 25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9680" h="255516">
                <a:moveTo>
                  <a:pt x="70033" y="4614"/>
                </a:moveTo>
                <a:cubicBezTo>
                  <a:pt x="49713" y="22394"/>
                  <a:pt x="7803" y="108754"/>
                  <a:pt x="1453" y="149394"/>
                </a:cubicBezTo>
                <a:cubicBezTo>
                  <a:pt x="-4897" y="190034"/>
                  <a:pt x="10343" y="234484"/>
                  <a:pt x="31933" y="248454"/>
                </a:cubicBezTo>
                <a:cubicBezTo>
                  <a:pt x="53523" y="262424"/>
                  <a:pt x="103053" y="254804"/>
                  <a:pt x="130993" y="233214"/>
                </a:cubicBezTo>
                <a:cubicBezTo>
                  <a:pt x="158933" y="211624"/>
                  <a:pt x="202113" y="139234"/>
                  <a:pt x="199573" y="118914"/>
                </a:cubicBezTo>
                <a:cubicBezTo>
                  <a:pt x="197033" y="98594"/>
                  <a:pt x="128453" y="123994"/>
                  <a:pt x="115753" y="111294"/>
                </a:cubicBezTo>
                <a:cubicBezTo>
                  <a:pt x="103053" y="98594"/>
                  <a:pt x="129723" y="60494"/>
                  <a:pt x="123373" y="42714"/>
                </a:cubicBezTo>
                <a:cubicBezTo>
                  <a:pt x="117023" y="24934"/>
                  <a:pt x="90353" y="-13166"/>
                  <a:pt x="70033" y="4614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44" name="Freeform 43"/>
          <p:cNvSpPr/>
          <p:nvPr/>
        </p:nvSpPr>
        <p:spPr>
          <a:xfrm>
            <a:off x="7243619" y="2984742"/>
            <a:ext cx="46048" cy="43627"/>
          </a:xfrm>
          <a:custGeom>
            <a:avLst/>
            <a:gdLst>
              <a:gd name="connsiteX0" fmla="*/ 47460 w 122795"/>
              <a:gd name="connsiteY0" fmla="*/ 728 h 116338"/>
              <a:gd name="connsiteX1" fmla="*/ 1740 w 122795"/>
              <a:gd name="connsiteY1" fmla="*/ 84548 h 116338"/>
              <a:gd name="connsiteX2" fmla="*/ 108420 w 122795"/>
              <a:gd name="connsiteY2" fmla="*/ 115028 h 116338"/>
              <a:gd name="connsiteX3" fmla="*/ 116040 w 122795"/>
              <a:gd name="connsiteY3" fmla="*/ 46448 h 116338"/>
              <a:gd name="connsiteX4" fmla="*/ 47460 w 122795"/>
              <a:gd name="connsiteY4" fmla="*/ 728 h 116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795" h="116338">
                <a:moveTo>
                  <a:pt x="47460" y="728"/>
                </a:moveTo>
                <a:cubicBezTo>
                  <a:pt x="28410" y="7078"/>
                  <a:pt x="-8420" y="65498"/>
                  <a:pt x="1740" y="84548"/>
                </a:cubicBezTo>
                <a:cubicBezTo>
                  <a:pt x="11900" y="103598"/>
                  <a:pt x="89370" y="121378"/>
                  <a:pt x="108420" y="115028"/>
                </a:cubicBezTo>
                <a:cubicBezTo>
                  <a:pt x="127470" y="108678"/>
                  <a:pt x="124930" y="61688"/>
                  <a:pt x="116040" y="46448"/>
                </a:cubicBezTo>
                <a:cubicBezTo>
                  <a:pt x="107150" y="31208"/>
                  <a:pt x="66510" y="-5622"/>
                  <a:pt x="47460" y="728"/>
                </a:cubicBezTo>
                <a:close/>
              </a:path>
            </a:pathLst>
          </a:cu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117" name="Freeform 116"/>
          <p:cNvSpPr/>
          <p:nvPr/>
        </p:nvSpPr>
        <p:spPr>
          <a:xfrm rot="735798">
            <a:off x="7299221" y="2924593"/>
            <a:ext cx="87090" cy="95135"/>
          </a:xfrm>
          <a:custGeom>
            <a:avLst/>
            <a:gdLst>
              <a:gd name="connsiteX0" fmla="*/ 137172 w 232239"/>
              <a:gd name="connsiteY0" fmla="*/ 2232 h 253692"/>
              <a:gd name="connsiteX1" fmla="*/ 12 w 232239"/>
              <a:gd name="connsiteY1" fmla="*/ 131772 h 253692"/>
              <a:gd name="connsiteX2" fmla="*/ 129552 w 232239"/>
              <a:gd name="connsiteY2" fmla="*/ 253692 h 253692"/>
              <a:gd name="connsiteX3" fmla="*/ 205752 w 232239"/>
              <a:gd name="connsiteY3" fmla="*/ 230832 h 253692"/>
              <a:gd name="connsiteX4" fmla="*/ 228612 w 232239"/>
              <a:gd name="connsiteY4" fmla="*/ 63192 h 253692"/>
              <a:gd name="connsiteX5" fmla="*/ 137172 w 232239"/>
              <a:gd name="connsiteY5" fmla="*/ 2232 h 25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2239" h="253692">
                <a:moveTo>
                  <a:pt x="137172" y="2232"/>
                </a:moveTo>
                <a:cubicBezTo>
                  <a:pt x="99072" y="13662"/>
                  <a:pt x="1282" y="89862"/>
                  <a:pt x="12" y="131772"/>
                </a:cubicBezTo>
                <a:cubicBezTo>
                  <a:pt x="-1258" y="173682"/>
                  <a:pt x="95262" y="237182"/>
                  <a:pt x="129552" y="253692"/>
                </a:cubicBezTo>
                <a:cubicBezTo>
                  <a:pt x="163842" y="270202"/>
                  <a:pt x="189242" y="262582"/>
                  <a:pt x="205752" y="230832"/>
                </a:cubicBezTo>
                <a:cubicBezTo>
                  <a:pt x="222262" y="199082"/>
                  <a:pt x="240042" y="101292"/>
                  <a:pt x="228612" y="63192"/>
                </a:cubicBezTo>
                <a:cubicBezTo>
                  <a:pt x="217182" y="25092"/>
                  <a:pt x="175272" y="-9198"/>
                  <a:pt x="137172" y="2232"/>
                </a:cubicBezTo>
                <a:close/>
              </a:path>
            </a:pathLst>
          </a:cu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46" name="Freeform 45"/>
          <p:cNvSpPr/>
          <p:nvPr/>
        </p:nvSpPr>
        <p:spPr>
          <a:xfrm>
            <a:off x="7487141" y="2684895"/>
            <a:ext cx="111758" cy="252886"/>
          </a:xfrm>
          <a:custGeom>
            <a:avLst/>
            <a:gdLst>
              <a:gd name="connsiteX0" fmla="*/ 198167 w 298020"/>
              <a:gd name="connsiteY0" fmla="*/ 219 h 674362"/>
              <a:gd name="connsiteX1" fmla="*/ 76247 w 298020"/>
              <a:gd name="connsiteY1" fmla="*/ 175479 h 674362"/>
              <a:gd name="connsiteX2" fmla="*/ 152447 w 298020"/>
              <a:gd name="connsiteY2" fmla="*/ 289779 h 674362"/>
              <a:gd name="connsiteX3" fmla="*/ 47 w 298020"/>
              <a:gd name="connsiteY3" fmla="*/ 312639 h 674362"/>
              <a:gd name="connsiteX4" fmla="*/ 137207 w 298020"/>
              <a:gd name="connsiteY4" fmla="*/ 670779 h 674362"/>
              <a:gd name="connsiteX5" fmla="*/ 243887 w 298020"/>
              <a:gd name="connsiteY5" fmla="*/ 480279 h 674362"/>
              <a:gd name="connsiteX6" fmla="*/ 297227 w 298020"/>
              <a:gd name="connsiteY6" fmla="*/ 213579 h 674362"/>
              <a:gd name="connsiteX7" fmla="*/ 198167 w 298020"/>
              <a:gd name="connsiteY7" fmla="*/ 219 h 674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8020" h="674362">
                <a:moveTo>
                  <a:pt x="198167" y="219"/>
                </a:moveTo>
                <a:cubicBezTo>
                  <a:pt x="161337" y="-6131"/>
                  <a:pt x="83867" y="127219"/>
                  <a:pt x="76247" y="175479"/>
                </a:cubicBezTo>
                <a:cubicBezTo>
                  <a:pt x="68627" y="223739"/>
                  <a:pt x="165147" y="266919"/>
                  <a:pt x="152447" y="289779"/>
                </a:cubicBezTo>
                <a:cubicBezTo>
                  <a:pt x="139747" y="312639"/>
                  <a:pt x="2587" y="249139"/>
                  <a:pt x="47" y="312639"/>
                </a:cubicBezTo>
                <a:cubicBezTo>
                  <a:pt x="-2493" y="376139"/>
                  <a:pt x="96567" y="642839"/>
                  <a:pt x="137207" y="670779"/>
                </a:cubicBezTo>
                <a:cubicBezTo>
                  <a:pt x="177847" y="698719"/>
                  <a:pt x="217217" y="556479"/>
                  <a:pt x="243887" y="480279"/>
                </a:cubicBezTo>
                <a:cubicBezTo>
                  <a:pt x="270557" y="404079"/>
                  <a:pt x="303577" y="289779"/>
                  <a:pt x="297227" y="213579"/>
                </a:cubicBezTo>
                <a:cubicBezTo>
                  <a:pt x="290877" y="137379"/>
                  <a:pt x="234997" y="6569"/>
                  <a:pt x="198167" y="219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49" name="Freeform 48"/>
          <p:cNvSpPr/>
          <p:nvPr/>
        </p:nvSpPr>
        <p:spPr>
          <a:xfrm>
            <a:off x="7636961" y="2930391"/>
            <a:ext cx="212075" cy="140349"/>
          </a:xfrm>
          <a:custGeom>
            <a:avLst/>
            <a:gdLst>
              <a:gd name="connsiteX0" fmla="*/ 499690 w 565534"/>
              <a:gd name="connsiteY0" fmla="*/ 885 h 374265"/>
              <a:gd name="connsiteX1" fmla="*/ 164410 w 565534"/>
              <a:gd name="connsiteY1" fmla="*/ 54225 h 374265"/>
              <a:gd name="connsiteX2" fmla="*/ 12010 w 565534"/>
              <a:gd name="connsiteY2" fmla="*/ 8505 h 374265"/>
              <a:gd name="connsiteX3" fmla="*/ 42490 w 565534"/>
              <a:gd name="connsiteY3" fmla="*/ 145665 h 374265"/>
              <a:gd name="connsiteX4" fmla="*/ 301570 w 565534"/>
              <a:gd name="connsiteY4" fmla="*/ 244725 h 374265"/>
              <a:gd name="connsiteX5" fmla="*/ 309190 w 565534"/>
              <a:gd name="connsiteY5" fmla="*/ 275205 h 374265"/>
              <a:gd name="connsiteX6" fmla="*/ 400630 w 565534"/>
              <a:gd name="connsiteY6" fmla="*/ 290445 h 374265"/>
              <a:gd name="connsiteX7" fmla="*/ 553030 w 565534"/>
              <a:gd name="connsiteY7" fmla="*/ 374265 h 374265"/>
              <a:gd name="connsiteX8" fmla="*/ 553030 w 565534"/>
              <a:gd name="connsiteY8" fmla="*/ 290445 h 374265"/>
              <a:gd name="connsiteX9" fmla="*/ 522550 w 565534"/>
              <a:gd name="connsiteY9" fmla="*/ 107565 h 374265"/>
              <a:gd name="connsiteX10" fmla="*/ 499690 w 565534"/>
              <a:gd name="connsiteY10" fmla="*/ 885 h 374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5534" h="374265">
                <a:moveTo>
                  <a:pt x="499690" y="885"/>
                </a:moveTo>
                <a:cubicBezTo>
                  <a:pt x="440000" y="-8005"/>
                  <a:pt x="245690" y="52955"/>
                  <a:pt x="164410" y="54225"/>
                </a:cubicBezTo>
                <a:cubicBezTo>
                  <a:pt x="83130" y="55495"/>
                  <a:pt x="32330" y="-6735"/>
                  <a:pt x="12010" y="8505"/>
                </a:cubicBezTo>
                <a:cubicBezTo>
                  <a:pt x="-8310" y="23745"/>
                  <a:pt x="-5770" y="106295"/>
                  <a:pt x="42490" y="145665"/>
                </a:cubicBezTo>
                <a:cubicBezTo>
                  <a:pt x="90750" y="185035"/>
                  <a:pt x="257120" y="223135"/>
                  <a:pt x="301570" y="244725"/>
                </a:cubicBezTo>
                <a:cubicBezTo>
                  <a:pt x="346020" y="266315"/>
                  <a:pt x="292680" y="267585"/>
                  <a:pt x="309190" y="275205"/>
                </a:cubicBezTo>
                <a:cubicBezTo>
                  <a:pt x="325700" y="282825"/>
                  <a:pt x="359990" y="273935"/>
                  <a:pt x="400630" y="290445"/>
                </a:cubicBezTo>
                <a:cubicBezTo>
                  <a:pt x="441270" y="306955"/>
                  <a:pt x="527630" y="374265"/>
                  <a:pt x="553030" y="374265"/>
                </a:cubicBezTo>
                <a:cubicBezTo>
                  <a:pt x="578430" y="374265"/>
                  <a:pt x="558110" y="334895"/>
                  <a:pt x="553030" y="290445"/>
                </a:cubicBezTo>
                <a:cubicBezTo>
                  <a:pt x="547950" y="245995"/>
                  <a:pt x="523820" y="154555"/>
                  <a:pt x="522550" y="107565"/>
                </a:cubicBezTo>
                <a:cubicBezTo>
                  <a:pt x="521280" y="60575"/>
                  <a:pt x="559380" y="9775"/>
                  <a:pt x="499690" y="885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15" name="Freeform 14"/>
          <p:cNvSpPr/>
          <p:nvPr/>
        </p:nvSpPr>
        <p:spPr>
          <a:xfrm>
            <a:off x="3858434" y="1800719"/>
            <a:ext cx="211091" cy="137383"/>
          </a:xfrm>
          <a:custGeom>
            <a:avLst/>
            <a:gdLst>
              <a:gd name="connsiteX0" fmla="*/ 165128 w 562908"/>
              <a:gd name="connsiteY0" fmla="*/ 24716 h 366355"/>
              <a:gd name="connsiteX1" fmla="*/ 46066 w 562908"/>
              <a:gd name="connsiteY1" fmla="*/ 258078 h 366355"/>
              <a:gd name="connsiteX2" fmla="*/ 822 w 562908"/>
              <a:gd name="connsiteY2" fmla="*/ 355709 h 366355"/>
              <a:gd name="connsiteX3" fmla="*/ 79403 w 562908"/>
              <a:gd name="connsiteY3" fmla="*/ 353328 h 366355"/>
              <a:gd name="connsiteX4" fmla="*/ 148460 w 562908"/>
              <a:gd name="connsiteY4" fmla="*/ 262841 h 366355"/>
              <a:gd name="connsiteX5" fmla="*/ 215135 w 562908"/>
              <a:gd name="connsiteY5" fmla="*/ 150922 h 366355"/>
              <a:gd name="connsiteX6" fmla="*/ 312766 w 562908"/>
              <a:gd name="connsiteY6" fmla="*/ 143778 h 366355"/>
              <a:gd name="connsiteX7" fmla="*/ 310385 w 562908"/>
              <a:gd name="connsiteY7" fmla="*/ 186641 h 366355"/>
              <a:gd name="connsiteX8" fmla="*/ 417541 w 562908"/>
              <a:gd name="connsiteY8" fmla="*/ 212834 h 366355"/>
              <a:gd name="connsiteX9" fmla="*/ 403253 w 562908"/>
              <a:gd name="connsiteY9" fmla="*/ 274747 h 366355"/>
              <a:gd name="connsiteX10" fmla="*/ 522316 w 562908"/>
              <a:gd name="connsiteY10" fmla="*/ 296178 h 366355"/>
              <a:gd name="connsiteX11" fmla="*/ 562797 w 562908"/>
              <a:gd name="connsiteY11" fmla="*/ 260459 h 366355"/>
              <a:gd name="connsiteX12" fmla="*/ 512791 w 562908"/>
              <a:gd name="connsiteY12" fmla="*/ 162828 h 366355"/>
              <a:gd name="connsiteX13" fmla="*/ 388966 w 562908"/>
              <a:gd name="connsiteY13" fmla="*/ 124728 h 366355"/>
              <a:gd name="connsiteX14" fmla="*/ 253235 w 562908"/>
              <a:gd name="connsiteY14" fmla="*/ 17572 h 366355"/>
              <a:gd name="connsiteX15" fmla="*/ 165128 w 562908"/>
              <a:gd name="connsiteY15" fmla="*/ 24716 h 366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62908" h="366355">
                <a:moveTo>
                  <a:pt x="165128" y="24716"/>
                </a:moveTo>
                <a:cubicBezTo>
                  <a:pt x="130600" y="64800"/>
                  <a:pt x="73450" y="202913"/>
                  <a:pt x="46066" y="258078"/>
                </a:cubicBezTo>
                <a:cubicBezTo>
                  <a:pt x="18682" y="313243"/>
                  <a:pt x="-4734" y="339834"/>
                  <a:pt x="822" y="355709"/>
                </a:cubicBezTo>
                <a:cubicBezTo>
                  <a:pt x="6378" y="371584"/>
                  <a:pt x="54797" y="368806"/>
                  <a:pt x="79403" y="353328"/>
                </a:cubicBezTo>
                <a:cubicBezTo>
                  <a:pt x="104009" y="337850"/>
                  <a:pt x="125838" y="296575"/>
                  <a:pt x="148460" y="262841"/>
                </a:cubicBezTo>
                <a:cubicBezTo>
                  <a:pt x="171082" y="229107"/>
                  <a:pt x="187751" y="170766"/>
                  <a:pt x="215135" y="150922"/>
                </a:cubicBezTo>
                <a:cubicBezTo>
                  <a:pt x="242519" y="131078"/>
                  <a:pt x="296891" y="137825"/>
                  <a:pt x="312766" y="143778"/>
                </a:cubicBezTo>
                <a:cubicBezTo>
                  <a:pt x="328641" y="149731"/>
                  <a:pt x="292923" y="175132"/>
                  <a:pt x="310385" y="186641"/>
                </a:cubicBezTo>
                <a:cubicBezTo>
                  <a:pt x="327847" y="198150"/>
                  <a:pt x="402063" y="198150"/>
                  <a:pt x="417541" y="212834"/>
                </a:cubicBezTo>
                <a:cubicBezTo>
                  <a:pt x="433019" y="227518"/>
                  <a:pt x="385791" y="260856"/>
                  <a:pt x="403253" y="274747"/>
                </a:cubicBezTo>
                <a:cubicBezTo>
                  <a:pt x="420715" y="288638"/>
                  <a:pt x="495725" y="298559"/>
                  <a:pt x="522316" y="296178"/>
                </a:cubicBezTo>
                <a:cubicBezTo>
                  <a:pt x="548907" y="293797"/>
                  <a:pt x="564384" y="282684"/>
                  <a:pt x="562797" y="260459"/>
                </a:cubicBezTo>
                <a:cubicBezTo>
                  <a:pt x="561210" y="238234"/>
                  <a:pt x="541763" y="185450"/>
                  <a:pt x="512791" y="162828"/>
                </a:cubicBezTo>
                <a:cubicBezTo>
                  <a:pt x="483819" y="140206"/>
                  <a:pt x="432225" y="148937"/>
                  <a:pt x="388966" y="124728"/>
                </a:cubicBezTo>
                <a:cubicBezTo>
                  <a:pt x="345707" y="100519"/>
                  <a:pt x="289748" y="33447"/>
                  <a:pt x="253235" y="17572"/>
                </a:cubicBezTo>
                <a:cubicBezTo>
                  <a:pt x="216723" y="1697"/>
                  <a:pt x="199656" y="-15368"/>
                  <a:pt x="165128" y="24716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53" name="Freeform 52"/>
          <p:cNvSpPr/>
          <p:nvPr/>
        </p:nvSpPr>
        <p:spPr>
          <a:xfrm>
            <a:off x="3271506" y="1284338"/>
            <a:ext cx="205553" cy="180248"/>
          </a:xfrm>
          <a:custGeom>
            <a:avLst/>
            <a:gdLst>
              <a:gd name="connsiteX0" fmla="*/ 351726 w 548142"/>
              <a:gd name="connsiteY0" fmla="*/ 6479 h 480661"/>
              <a:gd name="connsiteX1" fmla="*/ 42164 w 548142"/>
              <a:gd name="connsiteY1" fmla="*/ 89823 h 480661"/>
              <a:gd name="connsiteX2" fmla="*/ 32639 w 548142"/>
              <a:gd name="connsiteY2" fmla="*/ 177929 h 480661"/>
              <a:gd name="connsiteX3" fmla="*/ 1682 w 548142"/>
              <a:gd name="connsiteY3" fmla="*/ 208885 h 480661"/>
              <a:gd name="connsiteX4" fmla="*/ 89789 w 548142"/>
              <a:gd name="connsiteY4" fmla="*/ 246985 h 480661"/>
              <a:gd name="connsiteX5" fmla="*/ 154082 w 548142"/>
              <a:gd name="connsiteY5" fmla="*/ 304135 h 480661"/>
              <a:gd name="connsiteX6" fmla="*/ 223139 w 548142"/>
              <a:gd name="connsiteY6" fmla="*/ 316041 h 480661"/>
              <a:gd name="connsiteX7" fmla="*/ 254095 w 548142"/>
              <a:gd name="connsiteY7" fmla="*/ 380335 h 480661"/>
              <a:gd name="connsiteX8" fmla="*/ 311245 w 548142"/>
              <a:gd name="connsiteY8" fmla="*/ 408910 h 480661"/>
              <a:gd name="connsiteX9" fmla="*/ 368395 w 548142"/>
              <a:gd name="connsiteY9" fmla="*/ 480348 h 480661"/>
              <a:gd name="connsiteX10" fmla="*/ 454120 w 548142"/>
              <a:gd name="connsiteY10" fmla="*/ 377954 h 480661"/>
              <a:gd name="connsiteX11" fmla="*/ 516032 w 548142"/>
              <a:gd name="connsiteY11" fmla="*/ 361285 h 480661"/>
              <a:gd name="connsiteX12" fmla="*/ 520795 w 548142"/>
              <a:gd name="connsiteY12" fmla="*/ 246985 h 480661"/>
              <a:gd name="connsiteX13" fmla="*/ 546989 w 548142"/>
              <a:gd name="connsiteY13" fmla="*/ 185073 h 480661"/>
              <a:gd name="connsiteX14" fmla="*/ 477932 w 548142"/>
              <a:gd name="connsiteY14" fmla="*/ 96966 h 480661"/>
              <a:gd name="connsiteX15" fmla="*/ 408876 w 548142"/>
              <a:gd name="connsiteY15" fmla="*/ 16004 h 480661"/>
              <a:gd name="connsiteX16" fmla="*/ 351726 w 548142"/>
              <a:gd name="connsiteY16" fmla="*/ 6479 h 480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48142" h="480661">
                <a:moveTo>
                  <a:pt x="351726" y="6479"/>
                </a:moveTo>
                <a:cubicBezTo>
                  <a:pt x="290607" y="18782"/>
                  <a:pt x="95345" y="61248"/>
                  <a:pt x="42164" y="89823"/>
                </a:cubicBezTo>
                <a:cubicBezTo>
                  <a:pt x="-11017" y="118398"/>
                  <a:pt x="39386" y="158085"/>
                  <a:pt x="32639" y="177929"/>
                </a:cubicBezTo>
                <a:cubicBezTo>
                  <a:pt x="25892" y="197773"/>
                  <a:pt x="-7843" y="197376"/>
                  <a:pt x="1682" y="208885"/>
                </a:cubicBezTo>
                <a:cubicBezTo>
                  <a:pt x="11207" y="220394"/>
                  <a:pt x="64389" y="231110"/>
                  <a:pt x="89789" y="246985"/>
                </a:cubicBezTo>
                <a:cubicBezTo>
                  <a:pt x="115189" y="262860"/>
                  <a:pt x="131857" y="292626"/>
                  <a:pt x="154082" y="304135"/>
                </a:cubicBezTo>
                <a:cubicBezTo>
                  <a:pt x="176307" y="315644"/>
                  <a:pt x="206470" y="303341"/>
                  <a:pt x="223139" y="316041"/>
                </a:cubicBezTo>
                <a:cubicBezTo>
                  <a:pt x="239808" y="328741"/>
                  <a:pt x="239411" y="364857"/>
                  <a:pt x="254095" y="380335"/>
                </a:cubicBezTo>
                <a:cubicBezTo>
                  <a:pt x="268779" y="395813"/>
                  <a:pt x="292195" y="392241"/>
                  <a:pt x="311245" y="408910"/>
                </a:cubicBezTo>
                <a:cubicBezTo>
                  <a:pt x="330295" y="425579"/>
                  <a:pt x="344583" y="485507"/>
                  <a:pt x="368395" y="480348"/>
                </a:cubicBezTo>
                <a:cubicBezTo>
                  <a:pt x="392207" y="475189"/>
                  <a:pt x="429514" y="397798"/>
                  <a:pt x="454120" y="377954"/>
                </a:cubicBezTo>
                <a:cubicBezTo>
                  <a:pt x="478726" y="358110"/>
                  <a:pt x="504919" y="383113"/>
                  <a:pt x="516032" y="361285"/>
                </a:cubicBezTo>
                <a:cubicBezTo>
                  <a:pt x="527145" y="339457"/>
                  <a:pt x="515636" y="276354"/>
                  <a:pt x="520795" y="246985"/>
                </a:cubicBezTo>
                <a:cubicBezTo>
                  <a:pt x="525954" y="217616"/>
                  <a:pt x="554133" y="210076"/>
                  <a:pt x="546989" y="185073"/>
                </a:cubicBezTo>
                <a:cubicBezTo>
                  <a:pt x="539845" y="160070"/>
                  <a:pt x="500951" y="125144"/>
                  <a:pt x="477932" y="96966"/>
                </a:cubicBezTo>
                <a:cubicBezTo>
                  <a:pt x="454913" y="68788"/>
                  <a:pt x="431498" y="31482"/>
                  <a:pt x="408876" y="16004"/>
                </a:cubicBezTo>
                <a:cubicBezTo>
                  <a:pt x="386254" y="526"/>
                  <a:pt x="412845" y="-5824"/>
                  <a:pt x="351726" y="6479"/>
                </a:cubicBezTo>
                <a:close/>
              </a:path>
            </a:pathLst>
          </a:cu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6" name="Rechteck 5"/>
          <p:cNvSpPr/>
          <p:nvPr/>
        </p:nvSpPr>
        <p:spPr>
          <a:xfrm>
            <a:off x="9013746" y="177790"/>
            <a:ext cx="140409" cy="38014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110" name="Rechteck 5"/>
          <p:cNvSpPr/>
          <p:nvPr/>
        </p:nvSpPr>
        <p:spPr>
          <a:xfrm>
            <a:off x="1191" y="7097"/>
            <a:ext cx="9141619" cy="10626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116" name="object 50"/>
          <p:cNvSpPr/>
          <p:nvPr/>
        </p:nvSpPr>
        <p:spPr>
          <a:xfrm>
            <a:off x="2534020" y="2669066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60" name="Rectangle 9">
            <a:extLst>
              <a:ext uri="{FF2B5EF4-FFF2-40B4-BE49-F238E27FC236}">
                <a16:creationId xmlns:a16="http://schemas.microsoft.com/office/drawing/2014/main" id="{884255E2-B4E3-40BD-98FD-3018E799458D}"/>
              </a:ext>
            </a:extLst>
          </p:cNvPr>
          <p:cNvSpPr/>
          <p:nvPr/>
        </p:nvSpPr>
        <p:spPr>
          <a:xfrm>
            <a:off x="518326" y="4064687"/>
            <a:ext cx="2329633" cy="923589"/>
          </a:xfrm>
          <a:prstGeom prst="rect">
            <a:avLst/>
          </a:prstGeom>
          <a:solidFill>
            <a:srgbClr val="FBB900">
              <a:alpha val="8500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>
                <a:solidFill>
                  <a:srgbClr val="000C28"/>
                </a:solidFill>
              </a:rPr>
              <a:t>Additional Partner-Airlines NETWORK </a:t>
            </a:r>
            <a:r>
              <a:rPr lang="de-DE" sz="1200" b="1" err="1">
                <a:solidFill>
                  <a:srgbClr val="000C28"/>
                </a:solidFill>
              </a:rPr>
              <a:t>between</a:t>
            </a:r>
            <a:r>
              <a:rPr lang="de-DE" sz="1200" b="1">
                <a:solidFill>
                  <a:srgbClr val="000C28"/>
                </a:solidFill>
              </a:rPr>
              <a:t> FRANKFURT and </a:t>
            </a:r>
            <a:r>
              <a:rPr lang="de-DE" sz="1200" b="1" err="1">
                <a:solidFill>
                  <a:srgbClr val="000C28"/>
                </a:solidFill>
              </a:rPr>
              <a:t>many</a:t>
            </a:r>
            <a:r>
              <a:rPr lang="de-DE" sz="1200" b="1">
                <a:solidFill>
                  <a:srgbClr val="000C28"/>
                </a:solidFill>
              </a:rPr>
              <a:t> </a:t>
            </a:r>
            <a:r>
              <a:rPr lang="de-DE" sz="1200" b="1" err="1">
                <a:solidFill>
                  <a:srgbClr val="000C28"/>
                </a:solidFill>
              </a:rPr>
              <a:t>other</a:t>
            </a:r>
            <a:r>
              <a:rPr lang="de-DE" sz="1200" b="1">
                <a:solidFill>
                  <a:srgbClr val="000C28"/>
                </a:solidFill>
              </a:rPr>
              <a:t> EU-Gateways </a:t>
            </a:r>
          </a:p>
        </p:txBody>
      </p:sp>
      <p:sp>
        <p:nvSpPr>
          <p:cNvPr id="61" name="Textfeld 55">
            <a:extLst>
              <a:ext uri="{FF2B5EF4-FFF2-40B4-BE49-F238E27FC236}">
                <a16:creationId xmlns:a16="http://schemas.microsoft.com/office/drawing/2014/main" id="{4E8F1F77-4D64-4BD6-8B1D-7DEA136FC3EF}"/>
              </a:ext>
            </a:extLst>
          </p:cNvPr>
          <p:cNvSpPr txBox="1"/>
          <p:nvPr/>
        </p:nvSpPr>
        <p:spPr>
          <a:xfrm>
            <a:off x="1417703" y="2966635"/>
            <a:ext cx="10913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</a:rPr>
              <a:t>San Francisco</a:t>
            </a:r>
          </a:p>
        </p:txBody>
      </p:sp>
      <p:sp>
        <p:nvSpPr>
          <p:cNvPr id="62" name="Oval 60">
            <a:extLst>
              <a:ext uri="{FF2B5EF4-FFF2-40B4-BE49-F238E27FC236}">
                <a16:creationId xmlns:a16="http://schemas.microsoft.com/office/drawing/2014/main" id="{A87F29A5-8353-41C0-AD6B-174C8A0BC3A7}"/>
              </a:ext>
            </a:extLst>
          </p:cNvPr>
          <p:cNvSpPr/>
          <p:nvPr/>
        </p:nvSpPr>
        <p:spPr>
          <a:xfrm>
            <a:off x="2468066" y="3039516"/>
            <a:ext cx="40493" cy="4049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65" name="Textfeld 55">
            <a:extLst>
              <a:ext uri="{FF2B5EF4-FFF2-40B4-BE49-F238E27FC236}">
                <a16:creationId xmlns:a16="http://schemas.microsoft.com/office/drawing/2014/main" id="{DFBFC5DD-F050-45AD-A42B-BEFF766E2F00}"/>
              </a:ext>
            </a:extLst>
          </p:cNvPr>
          <p:cNvSpPr txBox="1"/>
          <p:nvPr/>
        </p:nvSpPr>
        <p:spPr>
          <a:xfrm>
            <a:off x="1969508" y="3224387"/>
            <a:ext cx="8383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rgbClr val="000C28"/>
                </a:solidFill>
                <a:latin typeface="Montserrat Bold" charset="0"/>
              </a:rPr>
              <a:t>Los Angeles</a:t>
            </a:r>
          </a:p>
        </p:txBody>
      </p:sp>
      <p:sp>
        <p:nvSpPr>
          <p:cNvPr id="66" name="Oval 79">
            <a:extLst>
              <a:ext uri="{FF2B5EF4-FFF2-40B4-BE49-F238E27FC236}">
                <a16:creationId xmlns:a16="http://schemas.microsoft.com/office/drawing/2014/main" id="{FA9F2CD2-DCC1-4FAE-A7DE-6F8B721B4A98}"/>
              </a:ext>
            </a:extLst>
          </p:cNvPr>
          <p:cNvSpPr/>
          <p:nvPr/>
        </p:nvSpPr>
        <p:spPr>
          <a:xfrm>
            <a:off x="2687288" y="3285617"/>
            <a:ext cx="40493" cy="4049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675"/>
          </a:p>
        </p:txBody>
      </p:sp>
      <p:sp>
        <p:nvSpPr>
          <p:cNvPr id="67" name="object 50">
            <a:extLst>
              <a:ext uri="{FF2B5EF4-FFF2-40B4-BE49-F238E27FC236}">
                <a16:creationId xmlns:a16="http://schemas.microsoft.com/office/drawing/2014/main" id="{EBED90AE-4828-4BF5-9FF4-422A90D6BCF3}"/>
              </a:ext>
            </a:extLst>
          </p:cNvPr>
          <p:cNvSpPr/>
          <p:nvPr/>
        </p:nvSpPr>
        <p:spPr>
          <a:xfrm>
            <a:off x="2876902" y="3113658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68" name="object 50">
            <a:extLst>
              <a:ext uri="{FF2B5EF4-FFF2-40B4-BE49-F238E27FC236}">
                <a16:creationId xmlns:a16="http://schemas.microsoft.com/office/drawing/2014/main" id="{FC0E6246-290A-4AB6-8BF6-E3D3914AF7A5}"/>
              </a:ext>
            </a:extLst>
          </p:cNvPr>
          <p:cNvSpPr/>
          <p:nvPr/>
        </p:nvSpPr>
        <p:spPr>
          <a:xfrm>
            <a:off x="2447316" y="3024316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69" name="object 50">
            <a:extLst>
              <a:ext uri="{FF2B5EF4-FFF2-40B4-BE49-F238E27FC236}">
                <a16:creationId xmlns:a16="http://schemas.microsoft.com/office/drawing/2014/main" id="{B4CC98A2-1205-4F36-BEBA-3C9E477C937E}"/>
              </a:ext>
            </a:extLst>
          </p:cNvPr>
          <p:cNvSpPr/>
          <p:nvPr/>
        </p:nvSpPr>
        <p:spPr>
          <a:xfrm>
            <a:off x="2676825" y="3285617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84914414-2BBD-4908-9502-7F9EB4D3337B}"/>
              </a:ext>
            </a:extLst>
          </p:cNvPr>
          <p:cNvSpPr txBox="1"/>
          <p:nvPr/>
        </p:nvSpPr>
        <p:spPr>
          <a:xfrm>
            <a:off x="4714149" y="2482532"/>
            <a:ext cx="68886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</a:rPr>
              <a:t>Halifax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1C6FA3EE-EC65-4CF5-8BB7-AA940FA3E11D}"/>
              </a:ext>
            </a:extLst>
          </p:cNvPr>
          <p:cNvSpPr txBox="1"/>
          <p:nvPr/>
        </p:nvSpPr>
        <p:spPr>
          <a:xfrm>
            <a:off x="3674174" y="2525267"/>
            <a:ext cx="6925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  <a:ea typeface="Montserrat Bold" charset="0"/>
                <a:cs typeface="Montserrat Bold" charset="0"/>
              </a:rPr>
              <a:t>Toronto</a:t>
            </a:r>
          </a:p>
        </p:txBody>
      </p:sp>
      <p:sp>
        <p:nvSpPr>
          <p:cNvPr id="76" name="object 50">
            <a:extLst>
              <a:ext uri="{FF2B5EF4-FFF2-40B4-BE49-F238E27FC236}">
                <a16:creationId xmlns:a16="http://schemas.microsoft.com/office/drawing/2014/main" id="{03DD28C8-2B55-4A20-9641-B98C27762175}"/>
              </a:ext>
            </a:extLst>
          </p:cNvPr>
          <p:cNvSpPr/>
          <p:nvPr/>
        </p:nvSpPr>
        <p:spPr>
          <a:xfrm>
            <a:off x="3965121" y="2684122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2826468A-2FFF-4195-B035-FBD022C4719A}"/>
              </a:ext>
            </a:extLst>
          </p:cNvPr>
          <p:cNvSpPr txBox="1"/>
          <p:nvPr/>
        </p:nvSpPr>
        <p:spPr>
          <a:xfrm>
            <a:off x="4271289" y="2935949"/>
            <a:ext cx="7589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  <a:ea typeface="Montserrat Bold" charset="0"/>
                <a:cs typeface="Montserrat Bold" charset="0"/>
              </a:rPr>
              <a:t> New York</a:t>
            </a:r>
          </a:p>
        </p:txBody>
      </p:sp>
      <p:sp>
        <p:nvSpPr>
          <p:cNvPr id="77" name="object 50">
            <a:extLst>
              <a:ext uri="{FF2B5EF4-FFF2-40B4-BE49-F238E27FC236}">
                <a16:creationId xmlns:a16="http://schemas.microsoft.com/office/drawing/2014/main" id="{39DBF59D-E3C3-4FAA-A92D-C328742EE220}"/>
              </a:ext>
            </a:extLst>
          </p:cNvPr>
          <p:cNvSpPr/>
          <p:nvPr/>
        </p:nvSpPr>
        <p:spPr>
          <a:xfrm>
            <a:off x="4900561" y="2661262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80" name="object 50">
            <a:extLst>
              <a:ext uri="{FF2B5EF4-FFF2-40B4-BE49-F238E27FC236}">
                <a16:creationId xmlns:a16="http://schemas.microsoft.com/office/drawing/2014/main" id="{B0B0532D-0F34-4ED1-9532-6CCC2EAA987D}"/>
              </a:ext>
            </a:extLst>
          </p:cNvPr>
          <p:cNvSpPr/>
          <p:nvPr/>
        </p:nvSpPr>
        <p:spPr>
          <a:xfrm>
            <a:off x="4357212" y="2973645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A1D64A61-8654-415D-996E-2AE80B20028E}"/>
              </a:ext>
            </a:extLst>
          </p:cNvPr>
          <p:cNvSpPr txBox="1"/>
          <p:nvPr/>
        </p:nvSpPr>
        <p:spPr>
          <a:xfrm>
            <a:off x="4476036" y="2734877"/>
            <a:ext cx="6637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</a:rPr>
              <a:t>Boston</a:t>
            </a:r>
          </a:p>
        </p:txBody>
      </p:sp>
      <p:sp>
        <p:nvSpPr>
          <p:cNvPr id="82" name="object 50">
            <a:extLst>
              <a:ext uri="{FF2B5EF4-FFF2-40B4-BE49-F238E27FC236}">
                <a16:creationId xmlns:a16="http://schemas.microsoft.com/office/drawing/2014/main" id="{E65CAB84-FD07-42B3-B371-488FFE790083}"/>
              </a:ext>
            </a:extLst>
          </p:cNvPr>
          <p:cNvSpPr/>
          <p:nvPr/>
        </p:nvSpPr>
        <p:spPr>
          <a:xfrm>
            <a:off x="4562031" y="2874607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B80EF6E3-55FF-45D1-9E29-DEB4F939A917}"/>
              </a:ext>
            </a:extLst>
          </p:cNvPr>
          <p:cNvSpPr txBox="1"/>
          <p:nvPr/>
        </p:nvSpPr>
        <p:spPr>
          <a:xfrm>
            <a:off x="2053428" y="2337742"/>
            <a:ext cx="8383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  <a:ea typeface="Montserrat Bold" charset="0"/>
                <a:cs typeface="Montserrat Bold" charset="0"/>
              </a:rPr>
              <a:t>Vancouver</a:t>
            </a:r>
          </a:p>
        </p:txBody>
      </p:sp>
      <p:sp>
        <p:nvSpPr>
          <p:cNvPr id="84" name="object 50">
            <a:extLst>
              <a:ext uri="{FF2B5EF4-FFF2-40B4-BE49-F238E27FC236}">
                <a16:creationId xmlns:a16="http://schemas.microsoft.com/office/drawing/2014/main" id="{7C3D10E9-ED76-4D38-89EC-546DD2524480}"/>
              </a:ext>
            </a:extLst>
          </p:cNvPr>
          <p:cNvSpPr/>
          <p:nvPr/>
        </p:nvSpPr>
        <p:spPr>
          <a:xfrm>
            <a:off x="2437421" y="2505946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2957E2E1-20C8-4CB6-BBD8-DB8581FC321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96646" flipV="1">
            <a:off x="7342064" y="1977453"/>
            <a:ext cx="223253" cy="181677"/>
          </a:xfrm>
          <a:prstGeom prst="rect">
            <a:avLst/>
          </a:prstGeom>
        </p:spPr>
      </p:pic>
      <p:pic>
        <p:nvPicPr>
          <p:cNvPr id="106" name="Grafik 105">
            <a:extLst>
              <a:ext uri="{FF2B5EF4-FFF2-40B4-BE49-F238E27FC236}">
                <a16:creationId xmlns:a16="http://schemas.microsoft.com/office/drawing/2014/main" id="{DC2D57CB-31C7-43C5-9F8A-7CA4FCA9A88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7473241" y="1898093"/>
            <a:ext cx="319027" cy="259616"/>
          </a:xfrm>
          <a:prstGeom prst="rect">
            <a:avLst/>
          </a:prstGeom>
        </p:spPr>
      </p:pic>
      <p:pic>
        <p:nvPicPr>
          <p:cNvPr id="108" name="Grafik 107">
            <a:extLst>
              <a:ext uri="{FF2B5EF4-FFF2-40B4-BE49-F238E27FC236}">
                <a16:creationId xmlns:a16="http://schemas.microsoft.com/office/drawing/2014/main" id="{5C43E16A-EEA1-4BE7-9884-B9E7FF0B5FA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838484" flipV="1">
            <a:off x="7597859" y="1969610"/>
            <a:ext cx="354489" cy="288474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id="{602F5DE6-7487-49B7-8D5D-0033E420510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166031" flipV="1">
            <a:off x="7646795" y="2150942"/>
            <a:ext cx="289007" cy="235186"/>
          </a:xfrm>
          <a:prstGeom prst="rect">
            <a:avLst/>
          </a:prstGeom>
        </p:spPr>
      </p:pic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F0A6CE87-07CB-4508-8068-5015440CEB2D}"/>
              </a:ext>
            </a:extLst>
          </p:cNvPr>
          <p:cNvGrpSpPr/>
          <p:nvPr/>
        </p:nvGrpSpPr>
        <p:grpSpPr>
          <a:xfrm>
            <a:off x="1191" y="4144960"/>
            <a:ext cx="323916" cy="742950"/>
            <a:chOff x="0" y="4144960"/>
            <a:chExt cx="324000" cy="742950"/>
          </a:xfrm>
          <a:solidFill>
            <a:schemeClr val="bg2"/>
          </a:solidFill>
        </p:grpSpPr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ECD4DDB8-7DD8-4B8F-805C-01CA2BD43C26}"/>
                </a:ext>
              </a:extLst>
            </p:cNvPr>
            <p:cNvSpPr/>
            <p:nvPr userDrawn="1"/>
          </p:nvSpPr>
          <p:spPr>
            <a:xfrm>
              <a:off x="0" y="4144960"/>
              <a:ext cx="323528" cy="7429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3599"/>
            </a:p>
          </p:txBody>
        </p:sp>
        <p:grpSp>
          <p:nvGrpSpPr>
            <p:cNvPr id="101" name="Gruppieren 100">
              <a:extLst>
                <a:ext uri="{FF2B5EF4-FFF2-40B4-BE49-F238E27FC236}">
                  <a16:creationId xmlns:a16="http://schemas.microsoft.com/office/drawing/2014/main" id="{EC9979F5-09D3-4E1F-820F-A9D1661E1926}"/>
                </a:ext>
              </a:extLst>
            </p:cNvPr>
            <p:cNvGrpSpPr/>
            <p:nvPr/>
          </p:nvGrpSpPr>
          <p:grpSpPr>
            <a:xfrm>
              <a:off x="0" y="4144960"/>
              <a:ext cx="324000" cy="742950"/>
              <a:chOff x="0" y="4154488"/>
              <a:chExt cx="324000" cy="742950"/>
            </a:xfrm>
            <a:grpFill/>
          </p:grpSpPr>
          <p:sp>
            <p:nvSpPr>
              <p:cNvPr id="111" name="Rechteck 110">
                <a:extLst>
                  <a:ext uri="{FF2B5EF4-FFF2-40B4-BE49-F238E27FC236}">
                    <a16:creationId xmlns:a16="http://schemas.microsoft.com/office/drawing/2014/main" id="{656DE907-9F2E-4680-9DFE-C755619982A6}"/>
                  </a:ext>
                </a:extLst>
              </p:cNvPr>
              <p:cNvSpPr/>
              <p:nvPr userDrawn="1"/>
            </p:nvSpPr>
            <p:spPr>
              <a:xfrm>
                <a:off x="0" y="41544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3599"/>
              </a:p>
            </p:txBody>
          </p:sp>
          <p:sp>
            <p:nvSpPr>
              <p:cNvPr id="112" name="Rechteck 111">
                <a:extLst>
                  <a:ext uri="{FF2B5EF4-FFF2-40B4-BE49-F238E27FC236}">
                    <a16:creationId xmlns:a16="http://schemas.microsoft.com/office/drawing/2014/main" id="{EDC29EFB-92CF-4871-B8DB-EA585B0946E4}"/>
                  </a:ext>
                </a:extLst>
              </p:cNvPr>
              <p:cNvSpPr/>
              <p:nvPr userDrawn="1"/>
            </p:nvSpPr>
            <p:spPr>
              <a:xfrm>
                <a:off x="0" y="43195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3599"/>
              </a:p>
            </p:txBody>
          </p:sp>
          <p:sp>
            <p:nvSpPr>
              <p:cNvPr id="118" name="Rechteck 117">
                <a:extLst>
                  <a:ext uri="{FF2B5EF4-FFF2-40B4-BE49-F238E27FC236}">
                    <a16:creationId xmlns:a16="http://schemas.microsoft.com/office/drawing/2014/main" id="{C6EA5046-612B-4846-8AF1-D8FD34BB6FBC}"/>
                  </a:ext>
                </a:extLst>
              </p:cNvPr>
              <p:cNvSpPr/>
              <p:nvPr userDrawn="1"/>
            </p:nvSpPr>
            <p:spPr>
              <a:xfrm>
                <a:off x="0" y="44846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3599"/>
              </a:p>
            </p:txBody>
          </p:sp>
          <p:sp>
            <p:nvSpPr>
              <p:cNvPr id="119" name="Rechteck 118">
                <a:extLst>
                  <a:ext uri="{FF2B5EF4-FFF2-40B4-BE49-F238E27FC236}">
                    <a16:creationId xmlns:a16="http://schemas.microsoft.com/office/drawing/2014/main" id="{DAE5A2B0-5830-4DB9-A73F-508BCC006927}"/>
                  </a:ext>
                </a:extLst>
              </p:cNvPr>
              <p:cNvSpPr/>
              <p:nvPr userDrawn="1"/>
            </p:nvSpPr>
            <p:spPr>
              <a:xfrm>
                <a:off x="0" y="46497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3599"/>
              </a:p>
            </p:txBody>
          </p:sp>
          <p:sp>
            <p:nvSpPr>
              <p:cNvPr id="120" name="Rechteck 119">
                <a:extLst>
                  <a:ext uri="{FF2B5EF4-FFF2-40B4-BE49-F238E27FC236}">
                    <a16:creationId xmlns:a16="http://schemas.microsoft.com/office/drawing/2014/main" id="{C8A22C15-4355-4603-870B-5A77039CF21E}"/>
                  </a:ext>
                </a:extLst>
              </p:cNvPr>
              <p:cNvSpPr/>
              <p:nvPr userDrawn="1"/>
            </p:nvSpPr>
            <p:spPr>
              <a:xfrm>
                <a:off x="0" y="4814888"/>
                <a:ext cx="324000" cy="8255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3599"/>
              </a:p>
            </p:txBody>
          </p:sp>
        </p:grpSp>
      </p:grpSp>
      <p:pic>
        <p:nvPicPr>
          <p:cNvPr id="121" name="Grafik 120">
            <a:extLst>
              <a:ext uri="{FF2B5EF4-FFF2-40B4-BE49-F238E27FC236}">
                <a16:creationId xmlns:a16="http://schemas.microsoft.com/office/drawing/2014/main" id="{B0FB99F9-75AE-42EE-9801-7E6B693CE5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4707" y="134830"/>
            <a:ext cx="1122023" cy="293237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7A5F5ECE-519C-CA0C-A111-CEF6BBE8FD3E}"/>
              </a:ext>
            </a:extLst>
          </p:cNvPr>
          <p:cNvSpPr txBox="1"/>
          <p:nvPr/>
        </p:nvSpPr>
        <p:spPr>
          <a:xfrm>
            <a:off x="394173" y="230480"/>
            <a:ext cx="534447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b="1" cap="all"/>
              <a:t>North American Gateways</a:t>
            </a:r>
            <a:endParaRPr lang="en-GB" sz="1400" cap="all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E0647B1-512D-7927-4BAE-D763A0963171}"/>
              </a:ext>
            </a:extLst>
          </p:cNvPr>
          <p:cNvGrpSpPr/>
          <p:nvPr/>
        </p:nvGrpSpPr>
        <p:grpSpPr>
          <a:xfrm>
            <a:off x="2565213" y="1831504"/>
            <a:ext cx="1086971" cy="399927"/>
            <a:chOff x="2926361" y="3990708"/>
            <a:chExt cx="1086971" cy="399927"/>
          </a:xfrm>
        </p:grpSpPr>
        <p:sp>
          <p:nvSpPr>
            <p:cNvPr id="17" name="Textfeld 46">
              <a:extLst>
                <a:ext uri="{FF2B5EF4-FFF2-40B4-BE49-F238E27FC236}">
                  <a16:creationId xmlns:a16="http://schemas.microsoft.com/office/drawing/2014/main" id="{5120CA7A-CC11-E498-9DA1-FFE2DBE752E4}"/>
                </a:ext>
              </a:extLst>
            </p:cNvPr>
            <p:cNvSpPr txBox="1"/>
            <p:nvPr/>
          </p:nvSpPr>
          <p:spPr>
            <a:xfrm>
              <a:off x="2926361" y="3990708"/>
              <a:ext cx="108697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>
                  <a:solidFill>
                    <a:srgbClr val="000C28"/>
                  </a:solidFill>
                  <a:latin typeface="Montserrat Bold" charset="0"/>
                  <a:ea typeface="Montserrat Bold" charset="0"/>
                  <a:cs typeface="Montserrat Bold" charset="0"/>
                </a:rPr>
                <a:t>Edmonton</a:t>
              </a:r>
            </a:p>
          </p:txBody>
        </p:sp>
        <p:sp>
          <p:nvSpPr>
            <p:cNvPr id="18" name="object 50">
              <a:extLst>
                <a:ext uri="{FF2B5EF4-FFF2-40B4-BE49-F238E27FC236}">
                  <a16:creationId xmlns:a16="http://schemas.microsoft.com/office/drawing/2014/main" id="{ADA7D130-6D33-F09F-2E83-11EBF6229BE3}"/>
                </a:ext>
              </a:extLst>
            </p:cNvPr>
            <p:cNvSpPr/>
            <p:nvPr/>
          </p:nvSpPr>
          <p:spPr>
            <a:xfrm>
              <a:off x="3029302" y="4311082"/>
              <a:ext cx="79588" cy="7955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75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09CF8AD2-4367-03DA-2874-7425113EF755}"/>
              </a:ext>
            </a:extLst>
          </p:cNvPr>
          <p:cNvSpPr/>
          <p:nvPr/>
        </p:nvSpPr>
        <p:spPr>
          <a:xfrm>
            <a:off x="4335083" y="2966635"/>
            <a:ext cx="588703" cy="2751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12648FBA-85F7-FAAB-82CD-31F3B239791B}"/>
              </a:ext>
            </a:extLst>
          </p:cNvPr>
          <p:cNvSpPr/>
          <p:nvPr/>
        </p:nvSpPr>
        <p:spPr>
          <a:xfrm>
            <a:off x="4307303" y="2949346"/>
            <a:ext cx="633052" cy="193787"/>
          </a:xfrm>
          <a:prstGeom prst="roundRect">
            <a:avLst/>
          </a:prstGeom>
          <a:noFill/>
          <a:ln w="19050" cmpd="sng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7" name="Table 28">
            <a:extLst>
              <a:ext uri="{FF2B5EF4-FFF2-40B4-BE49-F238E27FC236}">
                <a16:creationId xmlns:a16="http://schemas.microsoft.com/office/drawing/2014/main" id="{7AD2915D-1AAE-7FC5-C359-24B3FE8EFD6F}"/>
              </a:ext>
            </a:extLst>
          </p:cNvPr>
          <p:cNvGraphicFramePr>
            <a:graphicFrameLocks noGrp="1"/>
          </p:cNvGraphicFramePr>
          <p:nvPr/>
        </p:nvGraphicFramePr>
        <p:xfrm>
          <a:off x="5299521" y="3361133"/>
          <a:ext cx="2276225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6225">
                  <a:extLst>
                    <a:ext uri="{9D8B030D-6E8A-4147-A177-3AD203B41FA5}">
                      <a16:colId xmlns:a16="http://schemas.microsoft.com/office/drawing/2014/main" val="2531948754"/>
                    </a:ext>
                  </a:extLst>
                </a:gridCol>
              </a:tblGrid>
              <a:tr h="203838"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Year-Round Service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538721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rgbClr val="0070C0"/>
                          </a:solidFill>
                        </a:rPr>
                        <a:t>    New York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127275"/>
                  </a:ext>
                </a:extLst>
              </a:tr>
              <a:tr h="207207">
                <a:tc>
                  <a:txBody>
                    <a:bodyPr/>
                    <a:lstStyle/>
                    <a:p>
                      <a:r>
                        <a:rPr lang="en-US" sz="1000" dirty="0"/>
                        <a:t>    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Toronto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30842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/>
                        <a:t>    </a:t>
                      </a:r>
                      <a:r>
                        <a:rPr lang="en-US" sz="1000">
                          <a:solidFill>
                            <a:srgbClr val="0070C0"/>
                          </a:solidFill>
                        </a:rPr>
                        <a:t>Seattl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573870"/>
                  </a:ext>
                </a:extLst>
              </a:tr>
              <a:tr h="207207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    Miami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3993399"/>
                  </a:ext>
                </a:extLst>
              </a:tr>
            </a:tbl>
          </a:graphicData>
        </a:graphic>
      </p:graphicFrame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C1454061-1534-D350-A9B1-52077A63E631}"/>
              </a:ext>
            </a:extLst>
          </p:cNvPr>
          <p:cNvSpPr/>
          <p:nvPr/>
        </p:nvSpPr>
        <p:spPr>
          <a:xfrm>
            <a:off x="2480901" y="2620519"/>
            <a:ext cx="621042" cy="149144"/>
          </a:xfrm>
          <a:prstGeom prst="roundRect">
            <a:avLst/>
          </a:prstGeom>
          <a:noFill/>
          <a:ln w="19050" cmpd="sng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D411DEA1-786F-749F-2436-8A64BF280159}"/>
              </a:ext>
            </a:extLst>
          </p:cNvPr>
          <p:cNvSpPr/>
          <p:nvPr/>
        </p:nvSpPr>
        <p:spPr>
          <a:xfrm>
            <a:off x="3730303" y="2568574"/>
            <a:ext cx="560183" cy="235415"/>
          </a:xfrm>
          <a:prstGeom prst="roundRect">
            <a:avLst/>
          </a:prstGeom>
          <a:noFill/>
          <a:ln w="19050" cmpd="sng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4D324A0-5884-5508-A0E6-AFDAA9502512}"/>
              </a:ext>
            </a:extLst>
          </p:cNvPr>
          <p:cNvSpPr/>
          <p:nvPr/>
        </p:nvSpPr>
        <p:spPr>
          <a:xfrm>
            <a:off x="3912745" y="3480015"/>
            <a:ext cx="688863" cy="213349"/>
          </a:xfrm>
          <a:prstGeom prst="roundRect">
            <a:avLst/>
          </a:prstGeom>
          <a:noFill/>
          <a:ln w="19050" cmpd="sng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bject 50">
            <a:extLst>
              <a:ext uri="{FF2B5EF4-FFF2-40B4-BE49-F238E27FC236}">
                <a16:creationId xmlns:a16="http://schemas.microsoft.com/office/drawing/2014/main" id="{926F84B2-D80D-05C7-323E-9FA437E689C0}"/>
              </a:ext>
            </a:extLst>
          </p:cNvPr>
          <p:cNvSpPr/>
          <p:nvPr/>
        </p:nvSpPr>
        <p:spPr>
          <a:xfrm>
            <a:off x="5386339" y="3682419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24" name="object 50">
            <a:extLst>
              <a:ext uri="{FF2B5EF4-FFF2-40B4-BE49-F238E27FC236}">
                <a16:creationId xmlns:a16="http://schemas.microsoft.com/office/drawing/2014/main" id="{6C9F5B1A-E64F-A172-1859-60100E658892}"/>
              </a:ext>
            </a:extLst>
          </p:cNvPr>
          <p:cNvSpPr/>
          <p:nvPr/>
        </p:nvSpPr>
        <p:spPr>
          <a:xfrm>
            <a:off x="5386342" y="3943674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26" name="object 50">
            <a:extLst>
              <a:ext uri="{FF2B5EF4-FFF2-40B4-BE49-F238E27FC236}">
                <a16:creationId xmlns:a16="http://schemas.microsoft.com/office/drawing/2014/main" id="{5137FE29-57AF-7EC2-4236-47F55286AD8F}"/>
              </a:ext>
            </a:extLst>
          </p:cNvPr>
          <p:cNvSpPr/>
          <p:nvPr/>
        </p:nvSpPr>
        <p:spPr>
          <a:xfrm>
            <a:off x="5386341" y="4168648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29" name="object 50">
            <a:extLst>
              <a:ext uri="{FF2B5EF4-FFF2-40B4-BE49-F238E27FC236}">
                <a16:creationId xmlns:a16="http://schemas.microsoft.com/office/drawing/2014/main" id="{67F0AEB8-CA8F-7676-B97E-9067945991AB}"/>
              </a:ext>
            </a:extLst>
          </p:cNvPr>
          <p:cNvSpPr/>
          <p:nvPr/>
        </p:nvSpPr>
        <p:spPr>
          <a:xfrm>
            <a:off x="5386342" y="4429901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10" name="Textfeld 69">
            <a:extLst>
              <a:ext uri="{FF2B5EF4-FFF2-40B4-BE49-F238E27FC236}">
                <a16:creationId xmlns:a16="http://schemas.microsoft.com/office/drawing/2014/main" id="{67EBF70A-2A33-CBA2-E166-E48408BAE37E}"/>
              </a:ext>
            </a:extLst>
          </p:cNvPr>
          <p:cNvSpPr txBox="1"/>
          <p:nvPr/>
        </p:nvSpPr>
        <p:spPr>
          <a:xfrm>
            <a:off x="3940904" y="3462240"/>
            <a:ext cx="68886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solidFill>
                  <a:srgbClr val="000C28"/>
                </a:solidFill>
                <a:latin typeface="Montserrat Bold" charset="0"/>
              </a:rPr>
              <a:t>Miami</a:t>
            </a:r>
          </a:p>
        </p:txBody>
      </p:sp>
      <p:sp>
        <p:nvSpPr>
          <p:cNvPr id="13" name="object 50">
            <a:extLst>
              <a:ext uri="{FF2B5EF4-FFF2-40B4-BE49-F238E27FC236}">
                <a16:creationId xmlns:a16="http://schemas.microsoft.com/office/drawing/2014/main" id="{8C55F403-D34D-C8DA-B3B5-5D3B5FB38921}"/>
              </a:ext>
            </a:extLst>
          </p:cNvPr>
          <p:cNvSpPr/>
          <p:nvPr/>
        </p:nvSpPr>
        <p:spPr>
          <a:xfrm>
            <a:off x="3971653" y="3524858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14" name="Textfeld 69">
            <a:extLst>
              <a:ext uri="{FF2B5EF4-FFF2-40B4-BE49-F238E27FC236}">
                <a16:creationId xmlns:a16="http://schemas.microsoft.com/office/drawing/2014/main" id="{B094C915-5091-B1D1-8BB9-65EC5DE71860}"/>
              </a:ext>
            </a:extLst>
          </p:cNvPr>
          <p:cNvSpPr txBox="1"/>
          <p:nvPr/>
        </p:nvSpPr>
        <p:spPr>
          <a:xfrm>
            <a:off x="3233699" y="3440473"/>
            <a:ext cx="688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</a:rPr>
              <a:t>San Antonio</a:t>
            </a:r>
          </a:p>
        </p:txBody>
      </p:sp>
      <p:sp>
        <p:nvSpPr>
          <p:cNvPr id="31" name="object 50">
            <a:extLst>
              <a:ext uri="{FF2B5EF4-FFF2-40B4-BE49-F238E27FC236}">
                <a16:creationId xmlns:a16="http://schemas.microsoft.com/office/drawing/2014/main" id="{CF08F351-FC14-CADE-870E-FD1C294988E6}"/>
              </a:ext>
            </a:extLst>
          </p:cNvPr>
          <p:cNvSpPr/>
          <p:nvPr/>
        </p:nvSpPr>
        <p:spPr>
          <a:xfrm>
            <a:off x="3441882" y="3394234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33" name="object 50">
            <a:extLst>
              <a:ext uri="{FF2B5EF4-FFF2-40B4-BE49-F238E27FC236}">
                <a16:creationId xmlns:a16="http://schemas.microsoft.com/office/drawing/2014/main" id="{570084BA-A7A1-A0F4-C727-5127CA27011B}"/>
              </a:ext>
            </a:extLst>
          </p:cNvPr>
          <p:cNvSpPr/>
          <p:nvPr/>
        </p:nvSpPr>
        <p:spPr>
          <a:xfrm>
            <a:off x="2614569" y="1899272"/>
            <a:ext cx="79588" cy="795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75"/>
          </a:p>
        </p:txBody>
      </p:sp>
      <p:sp>
        <p:nvSpPr>
          <p:cNvPr id="40" name="Textfeld 50">
            <a:extLst>
              <a:ext uri="{FF2B5EF4-FFF2-40B4-BE49-F238E27FC236}">
                <a16:creationId xmlns:a16="http://schemas.microsoft.com/office/drawing/2014/main" id="{BCB134B9-65F5-4CC2-9CE7-4582CB4C945E}"/>
              </a:ext>
            </a:extLst>
          </p:cNvPr>
          <p:cNvSpPr txBox="1"/>
          <p:nvPr/>
        </p:nvSpPr>
        <p:spPr>
          <a:xfrm>
            <a:off x="2686615" y="2078408"/>
            <a:ext cx="9553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srgbClr val="000C28"/>
                </a:solidFill>
                <a:latin typeface="Montserrat Bold" charset="0"/>
                <a:ea typeface="Montserrat Bold" charset="0"/>
                <a:cs typeface="Montserrat Bold" charset="0"/>
              </a:rPr>
              <a:t>Calgary</a:t>
            </a:r>
          </a:p>
        </p:txBody>
      </p:sp>
    </p:spTree>
    <p:extLst>
      <p:ext uri="{BB962C8B-B14F-4D97-AF65-F5344CB8AC3E}">
        <p14:creationId xmlns:p14="http://schemas.microsoft.com/office/powerpoint/2010/main" val="185918918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B3AD2F-593F-2385-1CA1-A7191EC10E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Condor Vertriebspräsent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DBC200-2213-B28B-16D7-7A496A80E2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Page </a:t>
            </a:r>
            <a:fld id="{C1238E5F-BF35-42A5-A94E-68B816B46E96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B64B2E-207C-6085-D5F9-E6FF67A0B6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238" y="74534"/>
            <a:ext cx="4667250" cy="48006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552EFA6-9DE6-E1D6-0B24-D9EA115A90F4}"/>
              </a:ext>
            </a:extLst>
          </p:cNvPr>
          <p:cNvSpPr txBox="1"/>
          <p:nvPr/>
        </p:nvSpPr>
        <p:spPr>
          <a:xfrm>
            <a:off x="5601661" y="1011729"/>
            <a:ext cx="3219610" cy="41549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b="1" dirty="0"/>
              <a:t>HIGHLIGHTS:</a:t>
            </a:r>
          </a:p>
          <a:p>
            <a:pPr algn="l"/>
            <a:endParaRPr lang="en-U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50% growth for 2024! SAT, YYC, MIA the newest!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All A330 NEO operation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Business class grows +30%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Premium eco grows nearly 80%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dirty="0"/>
              <a:t>Economy grows 13%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0204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4753C48F-ED5B-EE2F-F06A-CC1DFBF0CA85}"/>
              </a:ext>
            </a:extLst>
          </p:cNvPr>
          <p:cNvSpPr>
            <a:spLocks noChangeAspect="1"/>
          </p:cNvSpPr>
          <p:nvPr/>
        </p:nvSpPr>
        <p:spPr bwMode="gray">
          <a:xfrm>
            <a:off x="503238" y="1058863"/>
            <a:ext cx="8640762" cy="1744661"/>
          </a:xfrm>
          <a:prstGeom prst="rect">
            <a:avLst/>
          </a:prstGeom>
          <a:gradFill>
            <a:gsLst>
              <a:gs pos="33000">
                <a:schemeClr val="bg1">
                  <a:lumMod val="95000"/>
                </a:schemeClr>
              </a:gs>
              <a:gs pos="0">
                <a:schemeClr val="bg1">
                  <a:lumMod val="95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59FABE5-8AA3-AD2E-7238-28C5C110B6CF}"/>
              </a:ext>
            </a:extLst>
          </p:cNvPr>
          <p:cNvSpPr>
            <a:spLocks noChangeAspect="1"/>
          </p:cNvSpPr>
          <p:nvPr/>
        </p:nvSpPr>
        <p:spPr bwMode="gray">
          <a:xfrm>
            <a:off x="503238" y="2851697"/>
            <a:ext cx="8640762" cy="1749181"/>
          </a:xfrm>
          <a:prstGeom prst="rect">
            <a:avLst/>
          </a:prstGeom>
          <a:gradFill>
            <a:gsLst>
              <a:gs pos="33000">
                <a:schemeClr val="bg1">
                  <a:lumMod val="95000"/>
                </a:schemeClr>
              </a:gs>
              <a:gs pos="0">
                <a:schemeClr val="bg1">
                  <a:lumMod val="95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A5F4BC-1EE9-3872-8A6B-95607EDECD0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3238" y="290513"/>
            <a:ext cx="6478587" cy="492443"/>
          </a:xfrm>
        </p:spPr>
        <p:txBody>
          <a:bodyPr/>
          <a:lstStyle/>
          <a:p>
            <a:r>
              <a:rPr lang="en-US"/>
              <a:t>New Short and Medium-Haul Fleet (A32Xneo)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7173371-46D2-F74C-A2B0-8CF5A609CBEE}"/>
              </a:ext>
            </a:extLst>
          </p:cNvPr>
          <p:cNvGrpSpPr/>
          <p:nvPr/>
        </p:nvGrpSpPr>
        <p:grpSpPr bwMode="gray">
          <a:xfrm>
            <a:off x="755655" y="1613157"/>
            <a:ext cx="1980000" cy="636072"/>
            <a:chOff x="755655" y="1315494"/>
            <a:chExt cx="1980000" cy="636072"/>
          </a:xfrm>
        </p:grpSpPr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71C87CC9-15C5-841D-7F75-0E489D5A2FF0}"/>
                </a:ext>
              </a:extLst>
            </p:cNvPr>
            <p:cNvSpPr txBox="1"/>
            <p:nvPr/>
          </p:nvSpPr>
          <p:spPr bwMode="gray">
            <a:xfrm>
              <a:off x="755655" y="1315494"/>
              <a:ext cx="1980000" cy="636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irbus A320neo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80 </a:t>
              </a:r>
              <a:r>
                <a:rPr lang="en-US" sz="1000" b="1">
                  <a:solidFill>
                    <a:srgbClr val="000000"/>
                  </a:solidFill>
                  <a:latin typeface="Arial" panose="020B0604020202020204"/>
                </a:rPr>
                <a:t>s</a:t>
              </a: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ats, </a:t>
              </a:r>
              <a:r>
                <a:rPr lang="en-US" sz="1000"/>
                <a:t>with up to</a:t>
              </a:r>
              <a:b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4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in Business Class</a:t>
              </a: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6E2228EC-4D8E-6401-1EAA-4C423CE5FD7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55655" y="1549710"/>
              <a:ext cx="1172205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8816E5F5-1BBF-2A67-1C91-2685B8DBF469}"/>
              </a:ext>
            </a:extLst>
          </p:cNvPr>
          <p:cNvGrpSpPr/>
          <p:nvPr/>
        </p:nvGrpSpPr>
        <p:grpSpPr bwMode="gray">
          <a:xfrm>
            <a:off x="755655" y="3408251"/>
            <a:ext cx="1980000" cy="636072"/>
            <a:chOff x="755655" y="3708174"/>
            <a:chExt cx="1980000" cy="636072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E4BD902C-6B65-FADB-6206-994B4A27DE6A}"/>
                </a:ext>
              </a:extLst>
            </p:cNvPr>
            <p:cNvSpPr txBox="1"/>
            <p:nvPr/>
          </p:nvSpPr>
          <p:spPr bwMode="gray">
            <a:xfrm>
              <a:off x="755655" y="3708174"/>
              <a:ext cx="1980000" cy="6360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irbus A321neo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33 seats, </a:t>
              </a:r>
              <a:r>
                <a:rPr lang="en-US" sz="1000"/>
                <a:t>with up to</a:t>
              </a:r>
              <a:b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4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in Business Class</a:t>
              </a:r>
            </a:p>
          </p:txBody>
        </p: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FA8FFFCD-47E6-827E-7F1D-CEEFE6F9BBE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55655" y="3942390"/>
              <a:ext cx="111600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9933845-84C5-1F4C-A098-6C46696F5D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all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dor Sales Presentatio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874DC1C-9B62-2B2D-425C-4D1E4C6020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all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TE </a:t>
            </a:r>
            <a:fld id="{C1238E5F-BF35-42A5-A94E-68B816B46E96}" type="slidenum">
              <a:rPr kumimoji="0" lang="en-US" sz="600" b="0" i="0" u="none" strike="noStrike" kern="1200" cap="all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600" b="0" i="0" u="none" strike="noStrike" kern="1200" cap="all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12EE441-0270-9A66-EEDA-0DD0F19C8B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874982" y="1403793"/>
            <a:ext cx="4765780" cy="10548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FE3CCA8-ECCE-9FFF-E55C-40F06E1562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423160" y="3198902"/>
            <a:ext cx="6217602" cy="1054771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A6AE8707-B158-344E-D69C-BA2B0213592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03238" y="4712495"/>
            <a:ext cx="2364581" cy="91280"/>
            <a:chOff x="503238" y="4712495"/>
            <a:chExt cx="2364581" cy="91280"/>
          </a:xfrm>
        </p:grpSpPr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C0658685-DA3E-42A7-230F-FF1445B2A1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2911" t="24928" r="21090" b="55600"/>
            <a:stretch/>
          </p:blipFill>
          <p:spPr bwMode="gray">
            <a:xfrm>
              <a:off x="503238" y="4712495"/>
              <a:ext cx="633413" cy="91280"/>
            </a:xfrm>
            <a:prstGeom prst="rect">
              <a:avLst/>
            </a:prstGeom>
          </p:spPr>
        </p:pic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72394B70-BD9D-2D5A-7289-7843622AD8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2911" t="44739" r="21090" b="35789"/>
            <a:stretch/>
          </p:blipFill>
          <p:spPr bwMode="gray">
            <a:xfrm>
              <a:off x="1368822" y="4712495"/>
              <a:ext cx="633413" cy="91280"/>
            </a:xfrm>
            <a:prstGeom prst="rect">
              <a:avLst/>
            </a:prstGeom>
          </p:spPr>
        </p:pic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3EE1BEC5-48E4-196F-00D6-90FBF3B51D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2911" t="63534" r="21090" b="16994"/>
            <a:stretch/>
          </p:blipFill>
          <p:spPr bwMode="gray">
            <a:xfrm>
              <a:off x="2234406" y="4712495"/>
              <a:ext cx="633413" cy="912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1268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9DEDEDC-B771-48BE-1425-E003F546B025}"/>
              </a:ext>
            </a:extLst>
          </p:cNvPr>
          <p:cNvGrpSpPr/>
          <p:nvPr/>
        </p:nvGrpSpPr>
        <p:grpSpPr>
          <a:xfrm>
            <a:off x="503238" y="4664150"/>
            <a:ext cx="8136000" cy="160048"/>
            <a:chOff x="503238" y="4664150"/>
            <a:chExt cx="8136000" cy="160048"/>
          </a:xfrm>
        </p:grpSpPr>
        <p:pic>
          <p:nvPicPr>
            <p:cNvPr id="20" name="Picture 2">
              <a:extLst>
                <a:ext uri="{FF2B5EF4-FFF2-40B4-BE49-F238E27FC236}">
                  <a16:creationId xmlns:a16="http://schemas.microsoft.com/office/drawing/2014/main" id="{88F5ED16-506C-E136-39AA-A5CDD06B96A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891" b="21890"/>
            <a:stretch/>
          </p:blipFill>
          <p:spPr bwMode="auto">
            <a:xfrm>
              <a:off x="503238" y="4664150"/>
              <a:ext cx="8136000" cy="1598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D708103F-A699-0200-D42A-ED9973C5D7F2}"/>
                </a:ext>
              </a:extLst>
            </p:cNvPr>
            <p:cNvSpPr txBox="1"/>
            <p:nvPr/>
          </p:nvSpPr>
          <p:spPr>
            <a:xfrm>
              <a:off x="682625" y="4709073"/>
              <a:ext cx="517525" cy="769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500"/>
                <a:t>Business Class</a:t>
              </a: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1C457772-8066-4B1B-9D6F-7E8D28EEA84E}"/>
                </a:ext>
              </a:extLst>
            </p:cNvPr>
            <p:cNvSpPr txBox="1"/>
            <p:nvPr/>
          </p:nvSpPr>
          <p:spPr>
            <a:xfrm>
              <a:off x="1368426" y="4709073"/>
              <a:ext cx="503230" cy="769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500"/>
                <a:t>Free middle seat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DFCFC679-09A4-4B09-BF81-6EC9A3098C5A}"/>
                </a:ext>
              </a:extLst>
            </p:cNvPr>
            <p:cNvSpPr txBox="1"/>
            <p:nvPr/>
          </p:nvSpPr>
          <p:spPr>
            <a:xfrm>
              <a:off x="3292473" y="4670310"/>
              <a:ext cx="746125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500"/>
                <a:t>Unaccompanied</a:t>
              </a:r>
              <a:br>
                <a:rPr lang="en-US" sz="500"/>
              </a:br>
              <a:r>
                <a:rPr lang="en-US" sz="500"/>
                <a:t>children*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5D6872CE-5DF8-4F00-832F-B6CA3D707B2E}"/>
                </a:ext>
              </a:extLst>
            </p:cNvPr>
            <p:cNvSpPr txBox="1"/>
            <p:nvPr/>
          </p:nvSpPr>
          <p:spPr>
            <a:xfrm>
              <a:off x="4130676" y="4709073"/>
              <a:ext cx="503230" cy="769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500"/>
                <a:t>Front cabin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A8DB1539-44C7-86E1-9FDA-C1287DCA8DF9}"/>
                </a:ext>
              </a:extLst>
            </p:cNvPr>
            <p:cNvSpPr txBox="1"/>
            <p:nvPr/>
          </p:nvSpPr>
          <p:spPr>
            <a:xfrm>
              <a:off x="4823676" y="4670310"/>
              <a:ext cx="879474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500"/>
                <a:t>Windows/aisle</a:t>
              </a:r>
              <a:br>
                <a:rPr lang="en-US" sz="500"/>
              </a:br>
              <a:r>
                <a:rPr lang="en-US" sz="500"/>
                <a:t>seats mid cabin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2BB7D7D7-2560-E612-5122-808427BF6214}"/>
                </a:ext>
              </a:extLst>
            </p:cNvPr>
            <p:cNvSpPr txBox="1"/>
            <p:nvPr/>
          </p:nvSpPr>
          <p:spPr>
            <a:xfrm>
              <a:off x="5834064" y="4670310"/>
              <a:ext cx="517525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500"/>
                <a:t>Middle seats</a:t>
              </a:r>
              <a:br>
                <a:rPr lang="en-US" sz="500"/>
              </a:br>
              <a:r>
                <a:rPr lang="en-US" sz="500"/>
                <a:t>mid cabin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B29ACA1B-1F02-A3AB-D7BD-B8704C01E87C}"/>
                </a:ext>
              </a:extLst>
            </p:cNvPr>
            <p:cNvSpPr txBox="1"/>
            <p:nvPr/>
          </p:nvSpPr>
          <p:spPr>
            <a:xfrm>
              <a:off x="6577014" y="4709073"/>
              <a:ext cx="468311" cy="769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500"/>
                <a:t> Rear cabin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FFC6C86F-8EC1-DEB5-6AE8-D55C8FDB7926}"/>
                </a:ext>
              </a:extLst>
            </p:cNvPr>
            <p:cNvSpPr txBox="1"/>
            <p:nvPr/>
          </p:nvSpPr>
          <p:spPr>
            <a:xfrm>
              <a:off x="7234239" y="4709073"/>
              <a:ext cx="578122" cy="769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500"/>
                <a:t>Unavailable</a:t>
              </a: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0E8F3FE3-146E-23BD-BBDC-DAB9E5F81243}"/>
                </a:ext>
              </a:extLst>
            </p:cNvPr>
            <p:cNvSpPr txBox="1"/>
            <p:nvPr/>
          </p:nvSpPr>
          <p:spPr>
            <a:xfrm>
              <a:off x="8025662" y="4709073"/>
              <a:ext cx="552449" cy="769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500"/>
                <a:t>Emergency exits</a:t>
              </a:r>
            </a:p>
          </p:txBody>
        </p:sp>
      </p:grpSp>
      <p:sp>
        <p:nvSpPr>
          <p:cNvPr id="19" name="Rechteck 18">
            <a:extLst>
              <a:ext uri="{FF2B5EF4-FFF2-40B4-BE49-F238E27FC236}">
                <a16:creationId xmlns:a16="http://schemas.microsoft.com/office/drawing/2014/main" id="{4753C48F-ED5B-EE2F-F06A-CC1DFBF0CA85}"/>
              </a:ext>
            </a:extLst>
          </p:cNvPr>
          <p:cNvSpPr>
            <a:spLocks noChangeAspect="1"/>
          </p:cNvSpPr>
          <p:nvPr/>
        </p:nvSpPr>
        <p:spPr bwMode="gray">
          <a:xfrm>
            <a:off x="503238" y="1057274"/>
            <a:ext cx="8640762" cy="3543603"/>
          </a:xfrm>
          <a:prstGeom prst="rect">
            <a:avLst/>
          </a:prstGeom>
          <a:gradFill>
            <a:gsLst>
              <a:gs pos="33000">
                <a:schemeClr val="bg1">
                  <a:lumMod val="95000"/>
                </a:schemeClr>
              </a:gs>
              <a:gs pos="0">
                <a:schemeClr val="bg1">
                  <a:lumMod val="95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A5F4BC-1EE9-3872-8A6B-95607EDECD0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Long-Haul Fleet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B30C31E7-C71B-C164-47D3-B60DE57D58D6}"/>
              </a:ext>
            </a:extLst>
          </p:cNvPr>
          <p:cNvGrpSpPr/>
          <p:nvPr/>
        </p:nvGrpSpPr>
        <p:grpSpPr bwMode="gray">
          <a:xfrm>
            <a:off x="755655" y="1315494"/>
            <a:ext cx="1980000" cy="928459"/>
            <a:chOff x="755655" y="1169301"/>
            <a:chExt cx="1980000" cy="928459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E4BD902C-6B65-FADB-6206-994B4A27DE6A}"/>
                </a:ext>
              </a:extLst>
            </p:cNvPr>
            <p:cNvSpPr txBox="1"/>
            <p:nvPr/>
          </p:nvSpPr>
          <p:spPr bwMode="gray">
            <a:xfrm>
              <a:off x="755655" y="1169301"/>
              <a:ext cx="1980000" cy="9284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irbus A330neo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10 </a:t>
              </a:r>
              <a:r>
                <a:rPr lang="en-US" sz="1000" b="1">
                  <a:solidFill>
                    <a:srgbClr val="000000"/>
                  </a:solidFill>
                  <a:latin typeface="Arial" panose="020B0604020202020204"/>
                </a:rPr>
                <a:t>s</a:t>
              </a: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ats, </a:t>
              </a:r>
              <a:r>
                <a:rPr lang="en-US" sz="1000"/>
                <a:t>with</a:t>
              </a:r>
              <a:br>
                <a:rPr lang="en-US" sz="1000"/>
              </a:b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4 </a:t>
              </a:r>
              <a:r>
                <a:rPr lang="en-US" sz="1000"/>
                <a:t>in Premium Economy Class</a:t>
              </a:r>
              <a:b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0 </a:t>
              </a:r>
              <a:r>
                <a:rPr lang="en-US" sz="1000"/>
                <a:t>in Business Class, including</a:t>
              </a:r>
              <a:b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Prime Seats</a:t>
              </a:r>
            </a:p>
          </p:txBody>
        </p: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FA8FFFCD-47E6-827E-7F1D-CEEFE6F9BBE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55655" y="1403517"/>
              <a:ext cx="111600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ußzeilenplatzhalter 21">
            <a:extLst>
              <a:ext uri="{FF2B5EF4-FFF2-40B4-BE49-F238E27FC236}">
                <a16:creationId xmlns:a16="http://schemas.microsoft.com/office/drawing/2014/main" id="{FF7CFD72-29E5-8369-D515-D7FA43724B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all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dor Sales Presentation</a:t>
            </a:r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23BBA18C-4E80-2335-F897-3A909AF8C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all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ITE </a:t>
            </a:r>
            <a:fld id="{C1238E5F-BF35-42A5-A94E-68B816B46E96}" type="slidenum">
              <a:rPr kumimoji="0" lang="en-US" sz="600" b="0" i="0" u="none" strike="noStrike" kern="1200" cap="all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600" b="0" i="0" u="none" strike="noStrike" kern="1200" cap="all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59EC5F91-2F5D-2397-CE82-5C17FEF92B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gray">
          <a:xfrm>
            <a:off x="1317217" y="2594795"/>
            <a:ext cx="7323546" cy="1225245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BABFA76-DDF4-73E7-9DCC-40D2B7485B44}"/>
              </a:ext>
            </a:extLst>
          </p:cNvPr>
          <p:cNvGrpSpPr>
            <a:grpSpLocks noChangeAspect="1"/>
          </p:cNvGrpSpPr>
          <p:nvPr/>
        </p:nvGrpSpPr>
        <p:grpSpPr bwMode="gray">
          <a:xfrm rot="357720">
            <a:off x="6216880" y="738635"/>
            <a:ext cx="1638347" cy="1638345"/>
            <a:chOff x="841828" y="2133600"/>
            <a:chExt cx="1923372" cy="1923370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776DAFCC-99BD-5A4A-713F-D005A62CA9AF}"/>
                </a:ext>
              </a:extLst>
            </p:cNvPr>
            <p:cNvSpPr/>
            <p:nvPr/>
          </p:nvSpPr>
          <p:spPr bwMode="gray">
            <a:xfrm>
              <a:off x="841828" y="2133600"/>
              <a:ext cx="1923372" cy="192337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14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ince March</a:t>
              </a:r>
              <a:br>
                <a:rPr lang="en-US" sz="12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rPr>
              </a:b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024:</a:t>
              </a:r>
            </a:p>
            <a:p>
              <a:pPr algn="ctr">
                <a:spcAft>
                  <a:spcPts val="1000"/>
                </a:spcAft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fficient </a:t>
              </a:r>
              <a:r>
                <a:rPr lang="en-US" sz="1000">
                  <a:solidFill>
                    <a:srgbClr val="000000"/>
                  </a:solidFill>
                  <a:latin typeface="Arial" panose="020B0604020202020204"/>
                </a:rPr>
                <a:t>all-A330neo</a:t>
              </a:r>
              <a:br>
                <a:rPr lang="en-US" sz="1000">
                  <a:latin typeface="Arial" panose="020B0604020202020204"/>
                </a:rPr>
              </a:b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leet on all Condor</a:t>
              </a:r>
              <a:br>
                <a:rPr lang="en-US" sz="10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/>
                </a:rPr>
              </a:b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ong-haul routes</a:t>
              </a:r>
              <a:r>
                <a:rPr lang="en-US" sz="1000">
                  <a:solidFill>
                    <a:srgbClr val="000000"/>
                  </a:solidFill>
                  <a:latin typeface="Arial" panose="020B0604020202020204"/>
                </a:rPr>
                <a:t> </a:t>
              </a:r>
              <a:endParaRPr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B27F0DB0-ED0C-8792-2912-2C8FD9B5839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458622" y="3041882"/>
              <a:ext cx="624114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4775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286C789E-1946-E32E-0AFA-6BEEA574D005}"/>
              </a:ext>
            </a:extLst>
          </p:cNvPr>
          <p:cNvGrpSpPr>
            <a:grpSpLocks noChangeAspect="1"/>
          </p:cNvGrpSpPr>
          <p:nvPr/>
        </p:nvGrpSpPr>
        <p:grpSpPr>
          <a:xfrm>
            <a:off x="1884990" y="812799"/>
            <a:ext cx="2178861" cy="3801484"/>
            <a:chOff x="1884990" y="812799"/>
            <a:chExt cx="2178861" cy="3801484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0D7F5D31-B64D-8D0E-5C82-D175AD5E244D}"/>
                </a:ext>
              </a:extLst>
            </p:cNvPr>
            <p:cNvSpPr/>
            <p:nvPr/>
          </p:nvSpPr>
          <p:spPr bwMode="gray">
            <a:xfrm>
              <a:off x="1885852" y="812799"/>
              <a:ext cx="2176052" cy="38014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36000" tIns="216000" rIns="36000" bIns="36000" anchor="t" anchorCtr="0"/>
            <a:lstStyle/>
            <a:p>
              <a:pPr algn="ctr"/>
              <a:r>
                <a:rPr lang="en-US" sz="1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conomy Class </a:t>
              </a:r>
            </a:p>
          </p:txBody>
        </p:sp>
        <p:pic>
          <p:nvPicPr>
            <p:cNvPr id="94" name="Grafik 93">
              <a:extLst>
                <a:ext uri="{FF2B5EF4-FFF2-40B4-BE49-F238E27FC236}">
                  <a16:creationId xmlns:a16="http://schemas.microsoft.com/office/drawing/2014/main" id="{F05D216B-B19C-1A37-73D8-C216789D13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4343" b="39777"/>
            <a:stretch/>
          </p:blipFill>
          <p:spPr bwMode="gray">
            <a:xfrm>
              <a:off x="1885852" y="3821153"/>
              <a:ext cx="2175189" cy="793128"/>
            </a:xfrm>
            <a:prstGeom prst="rect">
              <a:avLst/>
            </a:prstGeom>
          </p:spPr>
        </p:pic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9F64B80C-D642-FEF1-8514-AE411DCE991D}"/>
                </a:ext>
              </a:extLst>
            </p:cNvPr>
            <p:cNvCxnSpPr>
              <a:cxnSpLocks/>
            </p:cNvCxnSpPr>
            <p:nvPr/>
          </p:nvCxnSpPr>
          <p:spPr bwMode="gray">
            <a:xfrm rot="16200000">
              <a:off x="2973877" y="1123633"/>
              <a:ext cx="0" cy="445133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E882C187-D23A-1E35-B71D-8621D1D8CDC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884990" y="4614283"/>
              <a:ext cx="2176914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" name="Textfeld 207">
              <a:extLst>
                <a:ext uri="{FF2B5EF4-FFF2-40B4-BE49-F238E27FC236}">
                  <a16:creationId xmlns:a16="http://schemas.microsoft.com/office/drawing/2014/main" id="{5F9CC49E-61EA-A91A-1D4E-44D3619B2F0C}"/>
                </a:ext>
              </a:extLst>
            </p:cNvPr>
            <p:cNvSpPr txBox="1"/>
            <p:nvPr/>
          </p:nvSpPr>
          <p:spPr bwMode="gray">
            <a:xfrm>
              <a:off x="1885852" y="1495310"/>
              <a:ext cx="2176052" cy="1000274"/>
            </a:xfrm>
            <a:prstGeom prst="rect">
              <a:avLst/>
            </a:prstGeom>
            <a:noFill/>
          </p:spPr>
          <p:txBody>
            <a:bodyPr wrap="square" lIns="144000" tIns="0" rIns="144000" bIns="0" rtlCol="0" anchor="t" anchorCtr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1000"/>
                <a:t>Up to 30 in seat pitch </a:t>
              </a:r>
            </a:p>
            <a:p>
              <a:pPr algn="l">
                <a:spcAft>
                  <a:spcPts val="600"/>
                </a:spcAft>
              </a:pPr>
              <a:r>
                <a:rPr lang="en-US" sz="1000"/>
                <a:t>4-way adjustable headrests</a:t>
              </a:r>
            </a:p>
            <a:p>
              <a:pPr algn="l">
                <a:spcAft>
                  <a:spcPts val="600"/>
                </a:spcAft>
              </a:pPr>
              <a:r>
                <a:rPr lang="en-US" sz="1000"/>
                <a:t>8.5° tilting backrests</a:t>
              </a:r>
            </a:p>
            <a:p>
              <a:pPr algn="l">
                <a:spcAft>
                  <a:spcPts val="600"/>
                </a:spcAft>
              </a:pPr>
              <a:r>
                <a:rPr lang="en-US" sz="1000"/>
                <a:t>Larger hand luggage compartments</a:t>
              </a:r>
            </a:p>
          </p:txBody>
        </p:sp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172F7FE5-0552-B58B-7292-924003934615}"/>
                </a:ext>
              </a:extLst>
            </p:cNvPr>
            <p:cNvSpPr txBox="1"/>
            <p:nvPr/>
          </p:nvSpPr>
          <p:spPr bwMode="gray">
            <a:xfrm>
              <a:off x="1885852" y="2652122"/>
              <a:ext cx="2176052" cy="307777"/>
            </a:xfrm>
            <a:prstGeom prst="rect">
              <a:avLst/>
            </a:prstGeom>
            <a:noFill/>
          </p:spPr>
          <p:txBody>
            <a:bodyPr wrap="square" lIns="144000" tIns="0" rIns="144000" bIns="0" rtlCol="0" anchor="t" anchorCtr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1000"/>
                <a:t>Personal</a:t>
              </a:r>
              <a:br>
                <a:rPr lang="en-US" sz="1000"/>
              </a:br>
              <a:r>
                <a:rPr lang="en-US" sz="1000"/>
                <a:t>13.3-inch, in-seat 4K monitor</a:t>
              </a:r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1095D7F0-0E4A-D8AA-9F2B-0C813121223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885851" y="2573853"/>
              <a:ext cx="2178000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A63C318A-6954-273B-5C11-22E542DB053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885851" y="3403517"/>
              <a:ext cx="2178000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>
              <a:extLst>
                <a:ext uri="{FF2B5EF4-FFF2-40B4-BE49-F238E27FC236}">
                  <a16:creationId xmlns:a16="http://schemas.microsoft.com/office/drawing/2014/main" id="{9C82B902-289D-45A3-E145-B1D686636E3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885851" y="3038168"/>
              <a:ext cx="2178000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9F0216AF-CC12-834D-08F1-1CE0D22C8B8C}"/>
                </a:ext>
              </a:extLst>
            </p:cNvPr>
            <p:cNvGrpSpPr/>
            <p:nvPr/>
          </p:nvGrpSpPr>
          <p:grpSpPr>
            <a:xfrm>
              <a:off x="2890683" y="3158887"/>
              <a:ext cx="166390" cy="484663"/>
              <a:chOff x="2890683" y="3158887"/>
              <a:chExt cx="166390" cy="484663"/>
            </a:xfrm>
          </p:grpSpPr>
          <p:sp>
            <p:nvSpPr>
              <p:cNvPr id="2" name="Freihandform: Form 1">
                <a:extLst>
                  <a:ext uri="{FF2B5EF4-FFF2-40B4-BE49-F238E27FC236}">
                    <a16:creationId xmlns:a16="http://schemas.microsoft.com/office/drawing/2014/main" id="{DD97199C-6E7B-0FAF-E17F-6C2946E9621C}"/>
                  </a:ext>
                </a:extLst>
              </p:cNvPr>
              <p:cNvSpPr/>
              <p:nvPr/>
            </p:nvSpPr>
            <p:spPr bwMode="gray">
              <a:xfrm>
                <a:off x="2890683" y="3158887"/>
                <a:ext cx="166390" cy="123912"/>
              </a:xfrm>
              <a:custGeom>
                <a:avLst/>
                <a:gdLst>
                  <a:gd name="connsiteX0" fmla="*/ 0 w 58578"/>
                  <a:gd name="connsiteY0" fmla="*/ 26384 h 43624"/>
                  <a:gd name="connsiteX1" fmla="*/ 17812 w 58578"/>
                  <a:gd name="connsiteY1" fmla="*/ 43624 h 43624"/>
                  <a:gd name="connsiteX2" fmla="*/ 58579 w 58578"/>
                  <a:gd name="connsiteY2" fmla="*/ 0 h 43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578" h="43624">
                    <a:moveTo>
                      <a:pt x="0" y="26384"/>
                    </a:moveTo>
                    <a:lnTo>
                      <a:pt x="17812" y="43624"/>
                    </a:lnTo>
                    <a:lnTo>
                      <a:pt x="58579" y="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000"/>
              </a:p>
            </p:txBody>
          </p:sp>
          <p:sp>
            <p:nvSpPr>
              <p:cNvPr id="10" name="Freihandform: Form 9">
                <a:extLst>
                  <a:ext uri="{FF2B5EF4-FFF2-40B4-BE49-F238E27FC236}">
                    <a16:creationId xmlns:a16="http://schemas.microsoft.com/office/drawing/2014/main" id="{6938B761-FCC2-8151-47E9-056DA211E58B}"/>
                  </a:ext>
                </a:extLst>
              </p:cNvPr>
              <p:cNvSpPr/>
              <p:nvPr/>
            </p:nvSpPr>
            <p:spPr bwMode="gray">
              <a:xfrm>
                <a:off x="2890683" y="3519638"/>
                <a:ext cx="166390" cy="123912"/>
              </a:xfrm>
              <a:custGeom>
                <a:avLst/>
                <a:gdLst>
                  <a:gd name="connsiteX0" fmla="*/ 0 w 58578"/>
                  <a:gd name="connsiteY0" fmla="*/ 26384 h 43624"/>
                  <a:gd name="connsiteX1" fmla="*/ 17812 w 58578"/>
                  <a:gd name="connsiteY1" fmla="*/ 43624 h 43624"/>
                  <a:gd name="connsiteX2" fmla="*/ 58579 w 58578"/>
                  <a:gd name="connsiteY2" fmla="*/ 0 h 43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578" h="43624">
                    <a:moveTo>
                      <a:pt x="0" y="26384"/>
                    </a:moveTo>
                    <a:lnTo>
                      <a:pt x="17812" y="43624"/>
                    </a:lnTo>
                    <a:lnTo>
                      <a:pt x="58579" y="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000"/>
              </a:p>
            </p:txBody>
          </p:sp>
        </p:grp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3B826615-FE6A-7756-BE63-E63C7275917C}"/>
              </a:ext>
            </a:extLst>
          </p:cNvPr>
          <p:cNvGrpSpPr>
            <a:grpSpLocks noChangeAspect="1"/>
          </p:cNvGrpSpPr>
          <p:nvPr/>
        </p:nvGrpSpPr>
        <p:grpSpPr>
          <a:xfrm>
            <a:off x="4171433" y="812799"/>
            <a:ext cx="2178000" cy="3801484"/>
            <a:chOff x="4171433" y="812799"/>
            <a:chExt cx="2178000" cy="3801484"/>
          </a:xfrm>
        </p:grpSpPr>
        <p:sp>
          <p:nvSpPr>
            <p:cNvPr id="270" name="Rechteck 269">
              <a:extLst>
                <a:ext uri="{FF2B5EF4-FFF2-40B4-BE49-F238E27FC236}">
                  <a16:creationId xmlns:a16="http://schemas.microsoft.com/office/drawing/2014/main" id="{4DE9A74C-8EC5-D428-8032-94B505AA46A6}"/>
                </a:ext>
              </a:extLst>
            </p:cNvPr>
            <p:cNvSpPr/>
            <p:nvPr/>
          </p:nvSpPr>
          <p:spPr bwMode="gray">
            <a:xfrm>
              <a:off x="4173381" y="812799"/>
              <a:ext cx="2176052" cy="38014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36000" tIns="216000" rIns="36000" bIns="36000" anchor="t" anchorCtr="0"/>
            <a:lstStyle/>
            <a:p>
              <a:pPr algn="ctr"/>
              <a:r>
                <a:rPr lang="en-US" sz="1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mium Economy Class</a:t>
              </a:r>
            </a:p>
          </p:txBody>
        </p:sp>
        <p:pic>
          <p:nvPicPr>
            <p:cNvPr id="96" name="Grafik 95">
              <a:extLst>
                <a:ext uri="{FF2B5EF4-FFF2-40B4-BE49-F238E27FC236}">
                  <a16:creationId xmlns:a16="http://schemas.microsoft.com/office/drawing/2014/main" id="{64F16829-1C1F-DCA9-548C-58C706093E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2929" b="22929"/>
            <a:stretch/>
          </p:blipFill>
          <p:spPr bwMode="gray">
            <a:xfrm>
              <a:off x="4173381" y="3821152"/>
              <a:ext cx="2175189" cy="793128"/>
            </a:xfrm>
            <a:prstGeom prst="rect">
              <a:avLst/>
            </a:prstGeom>
          </p:spPr>
        </p:pic>
        <p:cxnSp>
          <p:nvCxnSpPr>
            <p:cNvPr id="272" name="Gerader Verbinder 271">
              <a:extLst>
                <a:ext uri="{FF2B5EF4-FFF2-40B4-BE49-F238E27FC236}">
                  <a16:creationId xmlns:a16="http://schemas.microsoft.com/office/drawing/2014/main" id="{F1BF5355-85A9-ACE2-8625-282157317EBB}"/>
                </a:ext>
              </a:extLst>
            </p:cNvPr>
            <p:cNvCxnSpPr>
              <a:cxnSpLocks/>
            </p:cNvCxnSpPr>
            <p:nvPr/>
          </p:nvCxnSpPr>
          <p:spPr bwMode="gray">
            <a:xfrm rot="16200000">
              <a:off x="5261406" y="1123633"/>
              <a:ext cx="0" cy="445133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2E751BB6-0AD5-A959-55CC-068594817D91}"/>
                </a:ext>
              </a:extLst>
            </p:cNvPr>
            <p:cNvSpPr txBox="1"/>
            <p:nvPr/>
          </p:nvSpPr>
          <p:spPr bwMode="gray">
            <a:xfrm>
              <a:off x="4173381" y="2652122"/>
              <a:ext cx="2176052" cy="307777"/>
            </a:xfrm>
            <a:prstGeom prst="rect">
              <a:avLst/>
            </a:prstGeom>
            <a:noFill/>
          </p:spPr>
          <p:txBody>
            <a:bodyPr wrap="square" lIns="144000" tIns="0" rIns="144000" bIns="0" rtlCol="0" anchor="t" anchorCtr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1000"/>
                <a:t>Personal</a:t>
              </a:r>
              <a:br>
                <a:rPr lang="en-US" sz="1000"/>
              </a:br>
              <a:r>
                <a:rPr lang="en-US" sz="1000"/>
                <a:t>13.3-inch, in-seat 4K monitor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5C79719A-71E0-8553-4FAD-0D9B44D04435}"/>
                </a:ext>
              </a:extLst>
            </p:cNvPr>
            <p:cNvSpPr txBox="1"/>
            <p:nvPr/>
          </p:nvSpPr>
          <p:spPr bwMode="gray">
            <a:xfrm>
              <a:off x="4173381" y="1495310"/>
              <a:ext cx="2176052" cy="1000274"/>
            </a:xfrm>
            <a:prstGeom prst="rect">
              <a:avLst/>
            </a:prstGeom>
            <a:noFill/>
          </p:spPr>
          <p:txBody>
            <a:bodyPr wrap="square" lIns="144000" tIns="0" rIns="144000" bIns="0" rtlCol="0" anchor="t" anchorCtr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1000"/>
                <a:t>35 in seat pitch</a:t>
              </a:r>
            </a:p>
            <a:p>
              <a:pPr algn="l">
                <a:spcAft>
                  <a:spcPts val="600"/>
                </a:spcAft>
              </a:pPr>
              <a:r>
                <a:rPr lang="en-US" sz="1000"/>
                <a:t>6-way adjustable headrests</a:t>
              </a:r>
            </a:p>
            <a:p>
              <a:pPr algn="l">
                <a:spcAft>
                  <a:spcPts val="600"/>
                </a:spcAft>
              </a:pPr>
              <a:r>
                <a:rPr lang="en-US" sz="1000"/>
                <a:t>12° tilting backrest with</a:t>
              </a:r>
              <a:br>
                <a:rPr lang="en-US" sz="1000"/>
              </a:br>
              <a:r>
                <a:rPr lang="en-US" sz="1000"/>
                <a:t>memory foam</a:t>
              </a:r>
            </a:p>
            <a:p>
              <a:pPr algn="l">
                <a:spcAft>
                  <a:spcPts val="600"/>
                </a:spcAft>
              </a:pPr>
              <a:r>
                <a:rPr lang="en-US" sz="1000"/>
                <a:t>Personal adjustable footrest</a:t>
              </a:r>
            </a:p>
          </p:txBody>
        </p: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1A7A6787-D278-4691-DD59-8C667F0C89A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171433" y="2573853"/>
              <a:ext cx="2178000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B8CD5501-F950-742D-A753-014B6817728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171433" y="3403517"/>
              <a:ext cx="2178000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>
              <a:extLst>
                <a:ext uri="{FF2B5EF4-FFF2-40B4-BE49-F238E27FC236}">
                  <a16:creationId xmlns:a16="http://schemas.microsoft.com/office/drawing/2014/main" id="{1AF94CEB-AA7A-EDA1-21CB-8AF94846238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171433" y="3038168"/>
              <a:ext cx="2178000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Gerader Verbinder 272">
              <a:extLst>
                <a:ext uri="{FF2B5EF4-FFF2-40B4-BE49-F238E27FC236}">
                  <a16:creationId xmlns:a16="http://schemas.microsoft.com/office/drawing/2014/main" id="{F2756FE2-EA40-5767-9BAA-AC8B340BA8A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172519" y="4614283"/>
              <a:ext cx="2176914" cy="0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9FB00DCE-BE13-DE6B-1244-CFEFEFAA999F}"/>
                </a:ext>
              </a:extLst>
            </p:cNvPr>
            <p:cNvGrpSpPr/>
            <p:nvPr/>
          </p:nvGrpSpPr>
          <p:grpSpPr>
            <a:xfrm>
              <a:off x="5177238" y="3158887"/>
              <a:ext cx="166390" cy="484663"/>
              <a:chOff x="2890683" y="3158887"/>
              <a:chExt cx="166390" cy="484663"/>
            </a:xfrm>
          </p:grpSpPr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DAFE3AED-FF17-D9C5-49A4-9E06A4D2FA95}"/>
                  </a:ext>
                </a:extLst>
              </p:cNvPr>
              <p:cNvSpPr/>
              <p:nvPr/>
            </p:nvSpPr>
            <p:spPr bwMode="gray">
              <a:xfrm>
                <a:off x="2890683" y="3158887"/>
                <a:ext cx="166390" cy="123912"/>
              </a:xfrm>
              <a:custGeom>
                <a:avLst/>
                <a:gdLst>
                  <a:gd name="connsiteX0" fmla="*/ 0 w 58578"/>
                  <a:gd name="connsiteY0" fmla="*/ 26384 h 43624"/>
                  <a:gd name="connsiteX1" fmla="*/ 17812 w 58578"/>
                  <a:gd name="connsiteY1" fmla="*/ 43624 h 43624"/>
                  <a:gd name="connsiteX2" fmla="*/ 58579 w 58578"/>
                  <a:gd name="connsiteY2" fmla="*/ 0 h 43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578" h="43624">
                    <a:moveTo>
                      <a:pt x="0" y="26384"/>
                    </a:moveTo>
                    <a:lnTo>
                      <a:pt x="17812" y="43624"/>
                    </a:lnTo>
                    <a:lnTo>
                      <a:pt x="58579" y="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000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6BBE1451-3316-B7DB-7F0C-0656213FF16A}"/>
                  </a:ext>
                </a:extLst>
              </p:cNvPr>
              <p:cNvSpPr/>
              <p:nvPr/>
            </p:nvSpPr>
            <p:spPr bwMode="gray">
              <a:xfrm>
                <a:off x="2890683" y="3519638"/>
                <a:ext cx="166390" cy="123912"/>
              </a:xfrm>
              <a:custGeom>
                <a:avLst/>
                <a:gdLst>
                  <a:gd name="connsiteX0" fmla="*/ 0 w 58578"/>
                  <a:gd name="connsiteY0" fmla="*/ 26384 h 43624"/>
                  <a:gd name="connsiteX1" fmla="*/ 17812 w 58578"/>
                  <a:gd name="connsiteY1" fmla="*/ 43624 h 43624"/>
                  <a:gd name="connsiteX2" fmla="*/ 58579 w 58578"/>
                  <a:gd name="connsiteY2" fmla="*/ 0 h 43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578" h="43624">
                    <a:moveTo>
                      <a:pt x="0" y="26384"/>
                    </a:moveTo>
                    <a:lnTo>
                      <a:pt x="17812" y="43624"/>
                    </a:lnTo>
                    <a:lnTo>
                      <a:pt x="58579" y="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000"/>
              </a:p>
            </p:txBody>
          </p:sp>
        </p:grp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A38001A6-9450-6066-8E00-A3287ED95EBB}"/>
              </a:ext>
            </a:extLst>
          </p:cNvPr>
          <p:cNvGrpSpPr>
            <a:grpSpLocks noChangeAspect="1"/>
          </p:cNvGrpSpPr>
          <p:nvPr/>
        </p:nvGrpSpPr>
        <p:grpSpPr>
          <a:xfrm>
            <a:off x="6458963" y="812799"/>
            <a:ext cx="2181800" cy="3801484"/>
            <a:chOff x="6458963" y="812799"/>
            <a:chExt cx="2181800" cy="3801484"/>
          </a:xfrm>
        </p:grpSpPr>
        <p:sp>
          <p:nvSpPr>
            <p:cNvPr id="244" name="Rechteck 243">
              <a:extLst>
                <a:ext uri="{FF2B5EF4-FFF2-40B4-BE49-F238E27FC236}">
                  <a16:creationId xmlns:a16="http://schemas.microsoft.com/office/drawing/2014/main" id="{098593D2-4B05-8135-AD87-6E5CD17D1898}"/>
                </a:ext>
              </a:extLst>
            </p:cNvPr>
            <p:cNvSpPr/>
            <p:nvPr/>
          </p:nvSpPr>
          <p:spPr bwMode="gray">
            <a:xfrm>
              <a:off x="6460911" y="812799"/>
              <a:ext cx="2176052" cy="38014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36000" tIns="216000" rIns="36000" bIns="36000" anchor="t" anchorCtr="0"/>
            <a:lstStyle/>
            <a:p>
              <a:pPr algn="ctr"/>
              <a:r>
                <a:rPr lang="en-US" sz="1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siness Class</a:t>
              </a:r>
            </a:p>
          </p:txBody>
        </p:sp>
        <p:pic>
          <p:nvPicPr>
            <p:cNvPr id="95" name="Grafik 94">
              <a:extLst>
                <a:ext uri="{FF2B5EF4-FFF2-40B4-BE49-F238E27FC236}">
                  <a16:creationId xmlns:a16="http://schemas.microsoft.com/office/drawing/2014/main" id="{90BBC3AA-8640-A07F-20AA-F85D7C4C38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545" b="34343"/>
            <a:stretch/>
          </p:blipFill>
          <p:spPr bwMode="gray">
            <a:xfrm>
              <a:off x="6460911" y="3821151"/>
              <a:ext cx="2179852" cy="793129"/>
            </a:xfrm>
            <a:prstGeom prst="rect">
              <a:avLst/>
            </a:prstGeom>
          </p:spPr>
        </p:pic>
        <p:cxnSp>
          <p:nvCxnSpPr>
            <p:cNvPr id="246" name="Gerader Verbinder 245">
              <a:extLst>
                <a:ext uri="{FF2B5EF4-FFF2-40B4-BE49-F238E27FC236}">
                  <a16:creationId xmlns:a16="http://schemas.microsoft.com/office/drawing/2014/main" id="{25DC79EE-E8C6-840E-B110-DDBAB5B3B52E}"/>
                </a:ext>
              </a:extLst>
            </p:cNvPr>
            <p:cNvCxnSpPr>
              <a:cxnSpLocks/>
            </p:cNvCxnSpPr>
            <p:nvPr/>
          </p:nvCxnSpPr>
          <p:spPr bwMode="gray">
            <a:xfrm rot="16200000">
              <a:off x="7548936" y="1123633"/>
              <a:ext cx="0" cy="445133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4165ADFD-3E1B-51A5-B49D-1ECE004AE957}"/>
                </a:ext>
              </a:extLst>
            </p:cNvPr>
            <p:cNvSpPr txBox="1"/>
            <p:nvPr/>
          </p:nvSpPr>
          <p:spPr bwMode="gray">
            <a:xfrm>
              <a:off x="6460911" y="2652122"/>
              <a:ext cx="2176052" cy="307777"/>
            </a:xfrm>
            <a:prstGeom prst="rect">
              <a:avLst/>
            </a:prstGeom>
            <a:noFill/>
          </p:spPr>
          <p:txBody>
            <a:bodyPr wrap="square" lIns="144000" tIns="0" rIns="144000" bIns="0" rtlCol="0" anchor="t" anchorCtr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1000"/>
                <a:t>17.3” 4K monitor – 24” monitor in prime, pajamas, snack basket </a:t>
              </a:r>
              <a:r>
                <a:rPr lang="en-US" sz="1000" err="1"/>
                <a:t>etc</a:t>
              </a:r>
              <a:endParaRPr lang="en-US" sz="1000"/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2B16FF95-3428-9B97-83C5-0D56022D1323}"/>
                </a:ext>
              </a:extLst>
            </p:cNvPr>
            <p:cNvSpPr txBox="1"/>
            <p:nvPr/>
          </p:nvSpPr>
          <p:spPr bwMode="gray">
            <a:xfrm>
              <a:off x="6460911" y="1495310"/>
              <a:ext cx="2176052" cy="1000274"/>
            </a:xfrm>
            <a:prstGeom prst="rect">
              <a:avLst/>
            </a:prstGeom>
            <a:noFill/>
          </p:spPr>
          <p:txBody>
            <a:bodyPr wrap="square" lIns="144000" tIns="0" rIns="0" bIns="0" rtlCol="0" anchor="t" anchorCtr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1000" spc="-20"/>
                <a:t>Fully lie flat bed with 79 in</a:t>
              </a:r>
              <a:br>
                <a:rPr lang="en-US" sz="1000" spc="-20"/>
              </a:br>
              <a:r>
                <a:rPr lang="en-US" sz="1000" spc="-20"/>
                <a:t>recline position</a:t>
              </a:r>
            </a:p>
            <a:p>
              <a:pPr algn="l">
                <a:spcAft>
                  <a:spcPts val="600"/>
                </a:spcAft>
              </a:pPr>
              <a:r>
                <a:rPr lang="en-US" sz="1000"/>
                <a:t>6-way adjustable headrests</a:t>
              </a:r>
            </a:p>
            <a:p>
              <a:pPr algn="l">
                <a:spcAft>
                  <a:spcPts val="600"/>
                </a:spcAft>
              </a:pPr>
              <a:r>
                <a:rPr lang="en-US" sz="1000"/>
                <a:t>1-2-1 Each seat has access to aisle</a:t>
              </a:r>
            </a:p>
            <a:p>
              <a:pPr algn="l">
                <a:spcAft>
                  <a:spcPts val="600"/>
                </a:spcAft>
              </a:pPr>
              <a:r>
                <a:rPr lang="en-US" sz="1000"/>
                <a:t>Small and stylish cocktail table</a:t>
              </a:r>
            </a:p>
          </p:txBody>
        </p: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E6EFB899-1663-C52E-0BE1-6BDD6171B7B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458963" y="2573853"/>
              <a:ext cx="2178000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21E9BA82-7F89-B4A6-B293-01C745E96E2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458963" y="3403517"/>
              <a:ext cx="2178000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54CC5679-3C81-41C9-78CB-4D4FEE2EC8A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458963" y="3038168"/>
              <a:ext cx="2178000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Gerader Verbinder 246">
              <a:extLst>
                <a:ext uri="{FF2B5EF4-FFF2-40B4-BE49-F238E27FC236}">
                  <a16:creationId xmlns:a16="http://schemas.microsoft.com/office/drawing/2014/main" id="{FC479D46-9ECB-42DE-7195-0DDD0864C2F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460049" y="4614283"/>
              <a:ext cx="2176914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F0032E6D-7F17-EBA6-BD5D-9805786D18C2}"/>
                </a:ext>
              </a:extLst>
            </p:cNvPr>
            <p:cNvGrpSpPr/>
            <p:nvPr/>
          </p:nvGrpSpPr>
          <p:grpSpPr>
            <a:xfrm>
              <a:off x="7465742" y="3158887"/>
              <a:ext cx="166390" cy="484663"/>
              <a:chOff x="2890683" y="3158887"/>
              <a:chExt cx="166390" cy="484663"/>
            </a:xfrm>
          </p:grpSpPr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3A0A8975-831F-3929-503C-850FDE609B91}"/>
                  </a:ext>
                </a:extLst>
              </p:cNvPr>
              <p:cNvSpPr/>
              <p:nvPr/>
            </p:nvSpPr>
            <p:spPr bwMode="gray">
              <a:xfrm>
                <a:off x="2890683" y="3158887"/>
                <a:ext cx="166390" cy="123912"/>
              </a:xfrm>
              <a:custGeom>
                <a:avLst/>
                <a:gdLst>
                  <a:gd name="connsiteX0" fmla="*/ 0 w 58578"/>
                  <a:gd name="connsiteY0" fmla="*/ 26384 h 43624"/>
                  <a:gd name="connsiteX1" fmla="*/ 17812 w 58578"/>
                  <a:gd name="connsiteY1" fmla="*/ 43624 h 43624"/>
                  <a:gd name="connsiteX2" fmla="*/ 58579 w 58578"/>
                  <a:gd name="connsiteY2" fmla="*/ 0 h 43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578" h="43624">
                    <a:moveTo>
                      <a:pt x="0" y="26384"/>
                    </a:moveTo>
                    <a:lnTo>
                      <a:pt x="17812" y="43624"/>
                    </a:lnTo>
                    <a:lnTo>
                      <a:pt x="58579" y="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000"/>
              </a:p>
            </p:txBody>
          </p:sp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CE09B696-A71F-C584-2D60-4FCBC353EEA3}"/>
                  </a:ext>
                </a:extLst>
              </p:cNvPr>
              <p:cNvSpPr/>
              <p:nvPr/>
            </p:nvSpPr>
            <p:spPr bwMode="gray">
              <a:xfrm>
                <a:off x="2890683" y="3519638"/>
                <a:ext cx="166390" cy="123912"/>
              </a:xfrm>
              <a:custGeom>
                <a:avLst/>
                <a:gdLst>
                  <a:gd name="connsiteX0" fmla="*/ 0 w 58578"/>
                  <a:gd name="connsiteY0" fmla="*/ 26384 h 43624"/>
                  <a:gd name="connsiteX1" fmla="*/ 17812 w 58578"/>
                  <a:gd name="connsiteY1" fmla="*/ 43624 h 43624"/>
                  <a:gd name="connsiteX2" fmla="*/ 58579 w 58578"/>
                  <a:gd name="connsiteY2" fmla="*/ 0 h 43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578" h="43624">
                    <a:moveTo>
                      <a:pt x="0" y="26384"/>
                    </a:moveTo>
                    <a:lnTo>
                      <a:pt x="17812" y="43624"/>
                    </a:lnTo>
                    <a:lnTo>
                      <a:pt x="58579" y="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000"/>
              </a:p>
            </p:txBody>
          </p:sp>
        </p:grpSp>
      </p:grp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15B08BC-69FD-3C0D-E51C-339AC1E009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Condor Sales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CF1B834-2D59-48BA-997E-BB7937ED8E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r>
              <a:rPr lang="en-US"/>
              <a:t>Page </a:t>
            </a:r>
            <a:fld id="{C1238E5F-BF35-42A5-A94E-68B816B46E96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200" name="Rechteck 199">
            <a:extLst>
              <a:ext uri="{FF2B5EF4-FFF2-40B4-BE49-F238E27FC236}">
                <a16:creationId xmlns:a16="http://schemas.microsoft.com/office/drawing/2014/main" id="{462C0765-3A06-B4C8-1EF2-AE40C1A138AC}"/>
              </a:ext>
            </a:extLst>
          </p:cNvPr>
          <p:cNvSpPr/>
          <p:nvPr/>
        </p:nvSpPr>
        <p:spPr bwMode="gray">
          <a:xfrm>
            <a:off x="0" y="0"/>
            <a:ext cx="9144000" cy="8067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139343C-8750-690C-7393-2990839547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03238" y="290513"/>
            <a:ext cx="6478587" cy="492443"/>
          </a:xfrm>
        </p:spPr>
        <p:txBody>
          <a:bodyPr/>
          <a:lstStyle/>
          <a:p>
            <a:r>
              <a:rPr lang="en-US"/>
              <a:t>Long-Haul Product:</a:t>
            </a:r>
            <a:br>
              <a:rPr lang="en-US"/>
            </a:br>
            <a:r>
              <a:rPr lang="en-US" b="0"/>
              <a:t>Special Features of the A330neo Cabin</a:t>
            </a:r>
          </a:p>
        </p:txBody>
      </p:sp>
      <p:cxnSp>
        <p:nvCxnSpPr>
          <p:cNvPr id="9" name="Gerade Verbindung 9">
            <a:extLst>
              <a:ext uri="{FF2B5EF4-FFF2-40B4-BE49-F238E27FC236}">
                <a16:creationId xmlns:a16="http://schemas.microsoft.com/office/drawing/2014/main" id="{C52F1140-1F9C-1B31-E751-5BD866733427}"/>
              </a:ext>
            </a:extLst>
          </p:cNvPr>
          <p:cNvCxnSpPr>
            <a:cxnSpLocks/>
          </p:cNvCxnSpPr>
          <p:nvPr/>
        </p:nvCxnSpPr>
        <p:spPr bwMode="gray">
          <a:xfrm>
            <a:off x="507037" y="812800"/>
            <a:ext cx="8132964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1" name="Grafik 200">
            <a:extLst>
              <a:ext uri="{FF2B5EF4-FFF2-40B4-BE49-F238E27FC236}">
                <a16:creationId xmlns:a16="http://schemas.microsoft.com/office/drawing/2014/main" id="{D1FD36A4-2223-DFFD-377F-AE0A03C9A83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7343774" y="286141"/>
            <a:ext cx="1297421" cy="219146"/>
          </a:xfrm>
          <a:prstGeom prst="rect">
            <a:avLst/>
          </a:prstGeom>
        </p:spPr>
      </p:pic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BEB25C9F-6AED-73AC-B0B0-0D59F4BAE5F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03238" y="1882643"/>
            <a:ext cx="1377237" cy="1906920"/>
            <a:chOff x="503238" y="1882643"/>
            <a:chExt cx="1377237" cy="1906920"/>
          </a:xfrm>
        </p:grpSpPr>
        <p:grpSp>
          <p:nvGrpSpPr>
            <p:cNvPr id="223" name="Gruppieren 222">
              <a:extLst>
                <a:ext uri="{FF2B5EF4-FFF2-40B4-BE49-F238E27FC236}">
                  <a16:creationId xmlns:a16="http://schemas.microsoft.com/office/drawing/2014/main" id="{24F459DB-EF3C-AD71-2F3F-4FAFB377F48D}"/>
                </a:ext>
              </a:extLst>
            </p:cNvPr>
            <p:cNvGrpSpPr/>
            <p:nvPr/>
          </p:nvGrpSpPr>
          <p:grpSpPr bwMode="gray">
            <a:xfrm>
              <a:off x="503238" y="1882643"/>
              <a:ext cx="1269237" cy="216000"/>
              <a:chOff x="503238" y="2378878"/>
              <a:chExt cx="1269237" cy="216000"/>
            </a:xfrm>
          </p:grpSpPr>
          <p:pic>
            <p:nvPicPr>
              <p:cNvPr id="88" name="Grafik 87">
                <a:extLst>
                  <a:ext uri="{FF2B5EF4-FFF2-40B4-BE49-F238E27FC236}">
                    <a16:creationId xmlns:a16="http://schemas.microsoft.com/office/drawing/2014/main" id="{22EAD6F4-1CCE-1E70-338D-7858F23E9B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 bwMode="gray">
              <a:xfrm>
                <a:off x="509538" y="2378878"/>
                <a:ext cx="216000" cy="216000"/>
              </a:xfrm>
              <a:prstGeom prst="rect">
                <a:avLst/>
              </a:prstGeom>
            </p:spPr>
          </p:pic>
          <p:sp>
            <p:nvSpPr>
              <p:cNvPr id="132" name="Textfeld 131">
                <a:extLst>
                  <a:ext uri="{FF2B5EF4-FFF2-40B4-BE49-F238E27FC236}">
                    <a16:creationId xmlns:a16="http://schemas.microsoft.com/office/drawing/2014/main" id="{A9791246-13C1-0922-B89A-6BC24319E7A1}"/>
                  </a:ext>
                </a:extLst>
              </p:cNvPr>
              <p:cNvSpPr txBox="1"/>
              <p:nvPr/>
            </p:nvSpPr>
            <p:spPr bwMode="gray">
              <a:xfrm>
                <a:off x="503238" y="2412585"/>
                <a:ext cx="1269237" cy="153888"/>
              </a:xfrm>
              <a:prstGeom prst="rect">
                <a:avLst/>
              </a:prstGeom>
              <a:noFill/>
            </p:spPr>
            <p:txBody>
              <a:bodyPr wrap="square" lIns="288000" tIns="0" rIns="0" bIns="0" rtlCol="0">
                <a:sp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000"/>
                  <a:t>Seat comfort</a:t>
                </a:r>
              </a:p>
            </p:txBody>
          </p:sp>
        </p:grpSp>
        <p:cxnSp>
          <p:nvCxnSpPr>
            <p:cNvPr id="234" name="Gerader Verbinder 233">
              <a:extLst>
                <a:ext uri="{FF2B5EF4-FFF2-40B4-BE49-F238E27FC236}">
                  <a16:creationId xmlns:a16="http://schemas.microsoft.com/office/drawing/2014/main" id="{F6607737-4A6D-841D-596B-BA82716B4BB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3238" y="2573853"/>
              <a:ext cx="1377237" cy="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8467A157-6BCF-ED92-02BE-C51B4996A72F}"/>
                </a:ext>
              </a:extLst>
            </p:cNvPr>
            <p:cNvGrpSpPr/>
            <p:nvPr/>
          </p:nvGrpSpPr>
          <p:grpSpPr bwMode="gray">
            <a:xfrm>
              <a:off x="503238" y="2652122"/>
              <a:ext cx="1269237" cy="307777"/>
              <a:chOff x="503238" y="2887768"/>
              <a:chExt cx="1269237" cy="307777"/>
            </a:xfrm>
          </p:grpSpPr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48A067F1-67A0-6612-218E-737E094B6F9D}"/>
                  </a:ext>
                </a:extLst>
              </p:cNvPr>
              <p:cNvSpPr txBox="1"/>
              <p:nvPr/>
            </p:nvSpPr>
            <p:spPr bwMode="gray">
              <a:xfrm>
                <a:off x="503238" y="2887768"/>
                <a:ext cx="1269237" cy="307777"/>
              </a:xfrm>
              <a:prstGeom prst="rect">
                <a:avLst/>
              </a:prstGeom>
              <a:noFill/>
            </p:spPr>
            <p:txBody>
              <a:bodyPr wrap="square" lIns="288000" tIns="0" rIns="0" bIns="0" rtlCol="0">
                <a:sp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000"/>
                  <a:t>Inflight entertainment</a:t>
                </a:r>
              </a:p>
            </p:txBody>
          </p:sp>
          <p:pic>
            <p:nvPicPr>
              <p:cNvPr id="140" name="Grafik 139">
                <a:extLst>
                  <a:ext uri="{FF2B5EF4-FFF2-40B4-BE49-F238E27FC236}">
                    <a16:creationId xmlns:a16="http://schemas.microsoft.com/office/drawing/2014/main" id="{DD1EB7D7-FE3D-A51C-0ACE-F34B16ACAB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 bwMode="gray">
              <a:xfrm>
                <a:off x="509538" y="2933656"/>
                <a:ext cx="216000" cy="216000"/>
              </a:xfrm>
              <a:prstGeom prst="rect">
                <a:avLst/>
              </a:prstGeom>
            </p:spPr>
          </p:pic>
        </p:grp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AC0765E4-629F-9985-937E-480E0CC002E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3238" y="3038168"/>
              <a:ext cx="1377237" cy="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EF25AAF5-056C-4835-BBE5-45E29B97246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3238" y="3403517"/>
              <a:ext cx="1377237" cy="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3" name="Gruppieren 82">
              <a:extLst>
                <a:ext uri="{FF2B5EF4-FFF2-40B4-BE49-F238E27FC236}">
                  <a16:creationId xmlns:a16="http://schemas.microsoft.com/office/drawing/2014/main" id="{94088C9D-FA02-2934-40A3-996F65398C7B}"/>
                </a:ext>
              </a:extLst>
            </p:cNvPr>
            <p:cNvGrpSpPr/>
            <p:nvPr/>
          </p:nvGrpSpPr>
          <p:grpSpPr bwMode="gray">
            <a:xfrm>
              <a:off x="503238" y="3481786"/>
              <a:ext cx="1318128" cy="307777"/>
              <a:chOff x="503238" y="4069112"/>
              <a:chExt cx="1318128" cy="307777"/>
            </a:xfrm>
          </p:grpSpPr>
          <p:sp>
            <p:nvSpPr>
              <p:cNvPr id="52" name="Textfeld 51">
                <a:extLst>
                  <a:ext uri="{FF2B5EF4-FFF2-40B4-BE49-F238E27FC236}">
                    <a16:creationId xmlns:a16="http://schemas.microsoft.com/office/drawing/2014/main" id="{D91AFC53-B5F6-17FB-AA9F-13919D58302F}"/>
                  </a:ext>
                </a:extLst>
              </p:cNvPr>
              <p:cNvSpPr txBox="1"/>
              <p:nvPr/>
            </p:nvSpPr>
            <p:spPr bwMode="gray">
              <a:xfrm>
                <a:off x="503238" y="4069112"/>
                <a:ext cx="1318128" cy="307777"/>
              </a:xfrm>
              <a:prstGeom prst="rect">
                <a:avLst/>
              </a:prstGeom>
              <a:noFill/>
            </p:spPr>
            <p:txBody>
              <a:bodyPr wrap="square" lIns="288000" tIns="0" rIns="0" bIns="0" rtlCol="0">
                <a:sp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000"/>
                  <a:t>Mobile </a:t>
                </a:r>
                <a:br>
                  <a:rPr lang="en-US" sz="1000"/>
                </a:br>
                <a:r>
                  <a:rPr lang="en-US" sz="1000"/>
                  <a:t>device holder</a:t>
                </a:r>
              </a:p>
            </p:txBody>
          </p:sp>
          <p:pic>
            <p:nvPicPr>
              <p:cNvPr id="81" name="Grafik 80">
                <a:extLst>
                  <a:ext uri="{FF2B5EF4-FFF2-40B4-BE49-F238E27FC236}">
                    <a16:creationId xmlns:a16="http://schemas.microsoft.com/office/drawing/2014/main" id="{2CC87B33-52A5-2A34-38B7-D781EF1F87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 bwMode="gray">
              <a:xfrm>
                <a:off x="509538" y="4115000"/>
                <a:ext cx="216000" cy="216000"/>
              </a:xfrm>
              <a:prstGeom prst="rect">
                <a:avLst/>
              </a:prstGeom>
            </p:spPr>
          </p:pic>
        </p:grpSp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0FC06CF8-7CA9-8421-F953-60D9C2CE8600}"/>
                </a:ext>
              </a:extLst>
            </p:cNvPr>
            <p:cNvGrpSpPr/>
            <p:nvPr/>
          </p:nvGrpSpPr>
          <p:grpSpPr bwMode="gray">
            <a:xfrm>
              <a:off x="503238" y="3066954"/>
              <a:ext cx="1269237" cy="307777"/>
              <a:chOff x="503238" y="3470796"/>
              <a:chExt cx="1269237" cy="307777"/>
            </a:xfrm>
          </p:grpSpPr>
          <p:sp>
            <p:nvSpPr>
              <p:cNvPr id="43" name="Textfeld 42">
                <a:extLst>
                  <a:ext uri="{FF2B5EF4-FFF2-40B4-BE49-F238E27FC236}">
                    <a16:creationId xmlns:a16="http://schemas.microsoft.com/office/drawing/2014/main" id="{01D5447C-B9E1-DFBE-A87A-C9E2748B6762}"/>
                  </a:ext>
                </a:extLst>
              </p:cNvPr>
              <p:cNvSpPr txBox="1"/>
              <p:nvPr/>
            </p:nvSpPr>
            <p:spPr bwMode="gray">
              <a:xfrm>
                <a:off x="503238" y="3470796"/>
                <a:ext cx="1269237" cy="307777"/>
              </a:xfrm>
              <a:prstGeom prst="rect">
                <a:avLst/>
              </a:prstGeom>
              <a:noFill/>
            </p:spPr>
            <p:txBody>
              <a:bodyPr wrap="square" lIns="288000" tIns="0" rIns="0" bIns="0" rtlCol="0">
                <a:spAutoFit/>
              </a:bodyPr>
              <a:lstStyle/>
              <a:p>
                <a:pPr algn="l">
                  <a:spcAft>
                    <a:spcPts val="600"/>
                  </a:spcAft>
                </a:pPr>
                <a:r>
                  <a:rPr lang="en-US" sz="1000"/>
                  <a:t>USB-A und</a:t>
                </a:r>
                <a:br>
                  <a:rPr lang="en-US" sz="1000"/>
                </a:br>
                <a:r>
                  <a:rPr lang="en-US" sz="1000"/>
                  <a:t>USB-C ports</a:t>
                </a:r>
              </a:p>
            </p:txBody>
          </p:sp>
          <p:pic>
            <p:nvPicPr>
              <p:cNvPr id="86" name="Grafik 85">
                <a:extLst>
                  <a:ext uri="{FF2B5EF4-FFF2-40B4-BE49-F238E27FC236}">
                    <a16:creationId xmlns:a16="http://schemas.microsoft.com/office/drawing/2014/main" id="{D9FBB0B0-3B87-48FB-1251-CD134E03F4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 bwMode="gray">
              <a:xfrm>
                <a:off x="509538" y="3516684"/>
                <a:ext cx="216000" cy="216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92434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75E-6 -0.03472 L -3.75E-6 1.85185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5B48664E-3D3F-F168-77AB-9534D918C7B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600409" y="1556856"/>
            <a:ext cx="4034674" cy="27504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56CB4C7B-DCEB-BC83-B43B-D6016F8E9A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08917" y="1556970"/>
            <a:ext cx="4034507" cy="275028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D899076-D56E-759D-A4E5-4B11D08434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gray">
          <a:xfrm>
            <a:off x="7343774" y="286141"/>
            <a:ext cx="1297421" cy="21914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047A1A6B-2C8C-383A-33C0-16F0C81FC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Fleet: Airbus A330neo</a:t>
            </a:r>
            <a:br>
              <a:rPr lang="en-US"/>
            </a:br>
            <a:r>
              <a:rPr lang="en-US" b="0"/>
              <a:t>Economy Class</a:t>
            </a:r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99535333-3796-B725-8DA5-4E596EDEA7BA}"/>
              </a:ext>
            </a:extLst>
          </p:cNvPr>
          <p:cNvCxnSpPr>
            <a:cxnSpLocks/>
          </p:cNvCxnSpPr>
          <p:nvPr/>
        </p:nvCxnSpPr>
        <p:spPr bwMode="gray">
          <a:xfrm>
            <a:off x="507037" y="812800"/>
            <a:ext cx="8132964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6823D7-7CF6-E353-3299-9E8B1B3068F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dor Sales Presentatio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7062E3-B689-4673-D926-448A5DDA8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C1238E5F-BF35-42A5-A94E-68B816B46E96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19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9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ppcolschidx val=&quot;0&quot;/&gt;&lt;m_rgb r=&quot;a8&quot; g=&quot;9f&quot; b=&quot;7b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DOR MASTER">
  <a:themeElements>
    <a:clrScheme name="Condor">
      <a:dk1>
        <a:srgbClr val="000000"/>
      </a:dk1>
      <a:lt1>
        <a:srgbClr val="FFFFFF"/>
      </a:lt1>
      <a:dk2>
        <a:srgbClr val="54504C"/>
      </a:dk2>
      <a:lt2>
        <a:srgbClr val="006BAC"/>
      </a:lt2>
      <a:accent1>
        <a:srgbClr val="00934E"/>
      </a:accent1>
      <a:accent2>
        <a:srgbClr val="F39B20"/>
      </a:accent2>
      <a:accent3>
        <a:srgbClr val="C8B283"/>
      </a:accent3>
      <a:accent4>
        <a:srgbClr val="E01D14"/>
      </a:accent4>
      <a:accent5>
        <a:srgbClr val="0A3450"/>
      </a:accent5>
      <a:accent6>
        <a:srgbClr val="8D837E"/>
      </a:accent6>
      <a:hlink>
        <a:srgbClr val="006BAC"/>
      </a:hlink>
      <a:folHlink>
        <a:srgbClr val="D5E2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ndor_2022_PPTX_Vorlage_16zu9.pptx" id="{2C4BA70D-53BA-4FF1-B9EE-994C0845891D}" vid="{FFE3CE79-AFC4-4C37-AABA-E2B9242C565F}"/>
    </a:ext>
  </a:extLst>
</a:theme>
</file>

<file path=ppt/theme/theme2.xml><?xml version="1.0" encoding="utf-8"?>
<a:theme xmlns:a="http://schemas.openxmlformats.org/drawingml/2006/main" name="Larissa">
  <a:themeElements>
    <a:clrScheme name="Condor">
      <a:dk1>
        <a:srgbClr val="000000"/>
      </a:dk1>
      <a:lt1>
        <a:srgbClr val="FFFFFF"/>
      </a:lt1>
      <a:dk2>
        <a:srgbClr val="54504C"/>
      </a:dk2>
      <a:lt2>
        <a:srgbClr val="006BAC"/>
      </a:lt2>
      <a:accent1>
        <a:srgbClr val="00934E"/>
      </a:accent1>
      <a:accent2>
        <a:srgbClr val="F39B20"/>
      </a:accent2>
      <a:accent3>
        <a:srgbClr val="C8B283"/>
      </a:accent3>
      <a:accent4>
        <a:srgbClr val="E01D14"/>
      </a:accent4>
      <a:accent5>
        <a:srgbClr val="0A3450"/>
      </a:accent5>
      <a:accent6>
        <a:srgbClr val="8D837E"/>
      </a:accent6>
      <a:hlink>
        <a:srgbClr val="006BAC"/>
      </a:hlink>
      <a:folHlink>
        <a:srgbClr val="D5E2EF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0" indent="0" algn="l">
          <a:defRPr sz="1000" noProof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Thomas Cook Colours">
      <a:dk1>
        <a:srgbClr val="1A171B"/>
      </a:dk1>
      <a:lt1>
        <a:srgbClr val="FFFFFF"/>
      </a:lt1>
      <a:dk2>
        <a:srgbClr val="6C6F70"/>
      </a:dk2>
      <a:lt2>
        <a:srgbClr val="CCCCCC"/>
      </a:lt2>
      <a:accent1>
        <a:srgbClr val="F8AC00"/>
      </a:accent1>
      <a:accent2>
        <a:srgbClr val="FFE864"/>
      </a:accent2>
      <a:accent3>
        <a:srgbClr val="B7B640"/>
      </a:accent3>
      <a:accent4>
        <a:srgbClr val="CBDDB5"/>
      </a:accent4>
      <a:accent5>
        <a:srgbClr val="87AF9B"/>
      </a:accent5>
      <a:accent6>
        <a:srgbClr val="CFE3E6"/>
      </a:accent6>
      <a:hlink>
        <a:srgbClr val="838095"/>
      </a:hlink>
      <a:folHlink>
        <a:srgbClr val="87A0A3"/>
      </a:folHlink>
    </a:clrScheme>
    <a:fontScheme name="Thomas Cook Group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4B1A06471DF84E8C139E227D048BC5" ma:contentTypeVersion="16" ma:contentTypeDescription="Create a new document." ma:contentTypeScope="" ma:versionID="37c16b315b7eb52cfed2ecd832738661">
  <xsd:schema xmlns:xsd="http://www.w3.org/2001/XMLSchema" xmlns:xs="http://www.w3.org/2001/XMLSchema" xmlns:p="http://schemas.microsoft.com/office/2006/metadata/properties" xmlns:ns2="04d3d873-427b-47f5-99b3-e6b5db51b61a" xmlns:ns3="c73c887e-d1d6-4fd8-a526-6ff18782a0ce" targetNamespace="http://schemas.microsoft.com/office/2006/metadata/properties" ma:root="true" ma:fieldsID="bef7495216767a9b568326d8baedb958" ns2:_="" ns3:_="">
    <xsd:import namespace="04d3d873-427b-47f5-99b3-e6b5db51b61a"/>
    <xsd:import namespace="c73c887e-d1d6-4fd8-a526-6ff18782a0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d3d873-427b-47f5-99b3-e6b5db51b6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fb5227bf-5c36-41a0-865e-6bfe317ec33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3c887e-d1d6-4fd8-a526-6ff18782a0c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d293813c-c31a-4a40-97a3-cbcad8dedad2}" ma:internalName="TaxCatchAll" ma:showField="CatchAllData" ma:web="c73c887e-d1d6-4fd8-a526-6ff18782a0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73c887e-d1d6-4fd8-a526-6ff18782a0ce" xsi:nil="true"/>
    <lcf76f155ced4ddcb4097134ff3c332f xmlns="04d3d873-427b-47f5-99b3-e6b5db51b61a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AEC5F28-C535-4728-83FF-D7D2FA9ED1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d3d873-427b-47f5-99b3-e6b5db51b61a"/>
    <ds:schemaRef ds:uri="c73c887e-d1d6-4fd8-a526-6ff18782a0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04CE689-23F8-4870-BA5F-5428FD95080B}">
  <ds:schemaRefs>
    <ds:schemaRef ds:uri="04d3d873-427b-47f5-99b3-e6b5db51b61a"/>
    <ds:schemaRef ds:uri="7c3f6363-5a5e-4fc6-b6b8-10f37758a4ac"/>
    <ds:schemaRef ds:uri="c73c887e-d1d6-4fd8-a526-6ff18782a0c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9C01069-1A4B-4A8A-B0CB-4CA2F7248F0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ndor_2022_PPTX_Vorlage_16zu9</Template>
  <TotalTime>0</TotalTime>
  <Words>1374</Words>
  <Application>Microsoft Office PowerPoint</Application>
  <PresentationFormat>On-screen Show (16:9)</PresentationFormat>
  <Paragraphs>254</Paragraphs>
  <Slides>24</Slides>
  <Notes>4</Notes>
  <HiddenSlides>0</HiddenSlides>
  <MMClips>1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Arial</vt:lpstr>
      <vt:lpstr>Calibri</vt:lpstr>
      <vt:lpstr>Helvetica Neue LT</vt:lpstr>
      <vt:lpstr>Helvetica Neue LT Heavy</vt:lpstr>
      <vt:lpstr>Montserrat Bold</vt:lpstr>
      <vt:lpstr>Montserrat Light</vt:lpstr>
      <vt:lpstr>Open Sans Light</vt:lpstr>
      <vt:lpstr>Open Sans Regular</vt:lpstr>
      <vt:lpstr>Wingdings</vt:lpstr>
      <vt:lpstr>CONDOR MASTER</vt:lpstr>
      <vt:lpstr>think-cell Folie</vt:lpstr>
      <vt:lpstr>Condor NA Team</vt:lpstr>
      <vt:lpstr>PowerPoint Presentation</vt:lpstr>
      <vt:lpstr>PowerPoint Presentation</vt:lpstr>
      <vt:lpstr>PowerPoint Presentation</vt:lpstr>
      <vt:lpstr>PowerPoint Presentation</vt:lpstr>
      <vt:lpstr>New Short and Medium-Haul Fleet (A32Xneo)</vt:lpstr>
      <vt:lpstr>Long-Haul Fleet</vt:lpstr>
      <vt:lpstr>Long-Haul Product: Special Features of the A330neo Cabin</vt:lpstr>
      <vt:lpstr>Our Fleet: Airbus A330neo Economy Class</vt:lpstr>
      <vt:lpstr>Our Fleet: Airbus A330neo Premium Economy Class</vt:lpstr>
      <vt:lpstr>PowerPoint Presentation</vt:lpstr>
      <vt:lpstr>PowerPoint Presentation</vt:lpstr>
      <vt:lpstr>PowerPoint Presentation</vt:lpstr>
      <vt:lpstr>Product: Lounge access in North America</vt:lpstr>
      <vt:lpstr>Lounge access in Germany</vt:lpstr>
      <vt:lpstr>Sustainability  Part of our Mission </vt:lpstr>
      <vt:lpstr>Our Flight Destinations</vt:lpstr>
      <vt:lpstr>Gateways at a glance:   Top European destinations beyond FRA from North America</vt:lpstr>
      <vt:lpstr>Fly beyond Frankfurt</vt:lpstr>
      <vt:lpstr>Our Interline Partners Worldwide/Partner Airlines</vt:lpstr>
      <vt:lpstr>Pricing Competitive Analysis – published prices pulled on February 2024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dor Sales-Presentation PENDING</dc:title>
  <dc:creator>Sebastian Flügge</dc:creator>
  <cp:lastModifiedBy>Cirillo, Christian</cp:lastModifiedBy>
  <cp:revision>11</cp:revision>
  <cp:lastPrinted>2022-04-07T14:33:06Z</cp:lastPrinted>
  <dcterms:created xsi:type="dcterms:W3CDTF">2022-04-07T14:34:06Z</dcterms:created>
  <dcterms:modified xsi:type="dcterms:W3CDTF">2024-08-19T14:4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4B1A06471DF84E8C139E227D048BC5</vt:lpwstr>
  </property>
  <property fmtid="{D5CDD505-2E9C-101B-9397-08002B2CF9AE}" pid="3" name="MediaServiceImageTags">
    <vt:lpwstr/>
  </property>
  <property fmtid="{D5CDD505-2E9C-101B-9397-08002B2CF9AE}" pid="4" name="MSIP_Label_2eb40b50-f4cb-4481-ab4d-f94845da5ef0_Enabled">
    <vt:lpwstr>true</vt:lpwstr>
  </property>
  <property fmtid="{D5CDD505-2E9C-101B-9397-08002B2CF9AE}" pid="5" name="MSIP_Label_2eb40b50-f4cb-4481-ab4d-f94845da5ef0_SetDate">
    <vt:lpwstr>2024-07-19T12:14:36Z</vt:lpwstr>
  </property>
  <property fmtid="{D5CDD505-2E9C-101B-9397-08002B2CF9AE}" pid="6" name="MSIP_Label_2eb40b50-f4cb-4481-ab4d-f94845da5ef0_Method">
    <vt:lpwstr>Standard</vt:lpwstr>
  </property>
  <property fmtid="{D5CDD505-2E9C-101B-9397-08002B2CF9AE}" pid="7" name="MSIP_Label_2eb40b50-f4cb-4481-ab4d-f94845da5ef0_Name">
    <vt:lpwstr>Interne Verwendung</vt:lpwstr>
  </property>
  <property fmtid="{D5CDD505-2E9C-101B-9397-08002B2CF9AE}" pid="8" name="MSIP_Label_2eb40b50-f4cb-4481-ab4d-f94845da5ef0_SiteId">
    <vt:lpwstr>f9682e7f-8f06-4cc7-971d-8fbcaf12e24a</vt:lpwstr>
  </property>
  <property fmtid="{D5CDD505-2E9C-101B-9397-08002B2CF9AE}" pid="9" name="MSIP_Label_2eb40b50-f4cb-4481-ab4d-f94845da5ef0_ActionId">
    <vt:lpwstr>ecbedcad-7249-44de-b6d3-f3d300233aa7</vt:lpwstr>
  </property>
  <property fmtid="{D5CDD505-2E9C-101B-9397-08002B2CF9AE}" pid="10" name="MSIP_Label_2eb40b50-f4cb-4481-ab4d-f94845da5ef0_ContentBits">
    <vt:lpwstr>2</vt:lpwstr>
  </property>
  <property fmtid="{D5CDD505-2E9C-101B-9397-08002B2CF9AE}" pid="11" name="ClassificationContentMarkingFooterLocations">
    <vt:lpwstr>CONDOR MASTER:4</vt:lpwstr>
  </property>
  <property fmtid="{D5CDD505-2E9C-101B-9397-08002B2CF9AE}" pid="12" name="ClassificationContentMarkingFooterText">
    <vt:lpwstr>security class: internal</vt:lpwstr>
  </property>
</Properties>
</file>